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heme/themeOverride1.xml" ContentType="application/vnd.openxmlformats-officedocument.themeOverr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heme/themeOverride2.xml" ContentType="application/vnd.openxmlformats-officedocument.themeOverride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Default Extension="gif" ContentType="image/gif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71" r:id="rId1"/>
  </p:sldMasterIdLst>
  <p:notesMasterIdLst>
    <p:notesMasterId r:id="rId11"/>
  </p:notesMasterIdLst>
  <p:handoutMasterIdLst>
    <p:handoutMasterId r:id="rId12"/>
  </p:handoutMasterIdLst>
  <p:sldIdLst>
    <p:sldId id="329" r:id="rId2"/>
    <p:sldId id="385" r:id="rId3"/>
    <p:sldId id="386" r:id="rId4"/>
    <p:sldId id="387" r:id="rId5"/>
    <p:sldId id="323" r:id="rId6"/>
    <p:sldId id="325" r:id="rId7"/>
    <p:sldId id="388" r:id="rId8"/>
    <p:sldId id="389" r:id="rId9"/>
    <p:sldId id="390" r:id="rId10"/>
  </p:sldIdLst>
  <p:sldSz cx="9144000" cy="6858000" type="screen4x3"/>
  <p:notesSz cx="6794500" cy="9931400"/>
  <p:custDataLst>
    <p:tags r:id="rId1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88BA41"/>
    <a:srgbClr val="850057"/>
    <a:srgbClr val="382658"/>
    <a:srgbClr val="588BA3"/>
    <a:srgbClr val="939598"/>
    <a:srgbClr val="FFCF01"/>
    <a:srgbClr val="003F60"/>
    <a:srgbClr val="005882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59" autoAdjust="0"/>
    <p:restoredTop sz="94762" autoAdjust="0"/>
  </p:normalViewPr>
  <p:slideViewPr>
    <p:cSldViewPr snapToGrid="0">
      <p:cViewPr varScale="1">
        <p:scale>
          <a:sx n="90" d="100"/>
          <a:sy n="90" d="100"/>
        </p:scale>
        <p:origin x="-786" y="-108"/>
      </p:cViewPr>
      <p:guideLst>
        <p:guide orient="horz" pos="2142"/>
        <p:guide orient="horz" pos="286"/>
        <p:guide orient="horz" pos="894"/>
        <p:guide orient="horz" pos="3890"/>
        <p:guide orient="horz" pos="4235"/>
        <p:guide orient="horz" pos="206"/>
        <p:guide pos="2885"/>
        <p:guide pos="222"/>
        <p:guide pos="510"/>
        <p:guide pos="898"/>
        <p:guide pos="4867"/>
        <p:guide pos="5246"/>
        <p:guide pos="55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bneubauer\AppData\Local\Temp\notes327EC1\Revenue%20FY12%20AEE_20120413.xls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bneubauer\AppData\Local\Temp\notes327EC1\~5404471.xls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27083333333333293"/>
          <c:y val="0.15972222222222443"/>
          <c:w val="0.43333333333333302"/>
          <c:h val="0.72222222222222199"/>
        </c:manualLayout>
      </c:layout>
      <c:pieChart>
        <c:varyColors val="1"/>
        <c:ser>
          <c:idx val="0"/>
          <c:order val="0"/>
          <c:dPt>
            <c:idx val="0"/>
            <c:spPr>
              <a:solidFill>
                <a:srgbClr val="636466"/>
              </a:solidFill>
            </c:spPr>
          </c:dPt>
          <c:dPt>
            <c:idx val="1"/>
            <c:spPr>
              <a:solidFill>
                <a:srgbClr val="939598"/>
              </a:solidFill>
            </c:spPr>
          </c:dPt>
          <c:dPt>
            <c:idx val="2"/>
            <c:spPr>
              <a:solidFill>
                <a:srgbClr val="005885"/>
              </a:solidFill>
            </c:spPr>
          </c:dPt>
          <c:dPt>
            <c:idx val="3"/>
            <c:spPr>
              <a:solidFill>
                <a:srgbClr val="850057"/>
              </a:solidFill>
            </c:spPr>
          </c:dPt>
          <c:dPt>
            <c:idx val="4"/>
            <c:spPr>
              <a:solidFill>
                <a:srgbClr val="382658"/>
              </a:solidFill>
            </c:spPr>
          </c:dPt>
          <c:dLbls>
            <c:dLbl>
              <c:idx val="0"/>
              <c:layout>
                <c:manualLayout>
                  <c:x val="-9.9118547681540208E-3"/>
                  <c:y val="1.6903980752406129E-2"/>
                </c:manualLayout>
              </c:layout>
              <c:tx>
                <c:rich>
                  <a:bodyPr/>
                  <a:lstStyle/>
                  <a:p>
                    <a:pPr>
                      <a:defRPr sz="1400" b="1">
                        <a:solidFill>
                          <a:srgbClr val="636466"/>
                        </a:solidFill>
                        <a:latin typeface="+mn-lt"/>
                      </a:defRPr>
                    </a:pPr>
                    <a:r>
                      <a:rPr lang="en-US" dirty="0"/>
                      <a:t>  </a:t>
                    </a:r>
                    <a:r>
                      <a:rPr lang="en-US" dirty="0" smtClean="0"/>
                      <a:t>Financial </a:t>
                    </a:r>
                    <a:r>
                      <a:rPr lang="en-US" dirty="0"/>
                      <a:t>Services
6%</a:t>
                    </a:r>
                  </a:p>
                </c:rich>
              </c:tx>
              <c:spPr/>
              <c:dLblPos val="bestFit"/>
              <c:showVal val="1"/>
              <c:showCatName val="1"/>
              <c:separator>
</c:separator>
            </c:dLbl>
            <c:dLbl>
              <c:idx val="1"/>
              <c:layout/>
              <c:tx>
                <c:rich>
                  <a:bodyPr/>
                  <a:lstStyle/>
                  <a:p>
                    <a:pPr>
                      <a:defRPr sz="1400" b="1">
                        <a:solidFill>
                          <a:srgbClr val="939598"/>
                        </a:solidFill>
                        <a:latin typeface="+mn-lt"/>
                      </a:defRPr>
                    </a:pPr>
                    <a:r>
                      <a:rPr lang="en-US" dirty="0"/>
                      <a:t>    </a:t>
                    </a:r>
                    <a:r>
                      <a:rPr lang="en-US" dirty="0" smtClean="0"/>
                      <a:t>Technology Consumer Utilities</a:t>
                    </a:r>
                    <a:r>
                      <a:rPr lang="en-US" dirty="0"/>
                      <a:t>
23%</a:t>
                    </a:r>
                  </a:p>
                </c:rich>
              </c:tx>
              <c:spPr/>
              <c:showVal val="1"/>
              <c:showCatName val="1"/>
              <c:separator>
</c:separator>
            </c:dLbl>
            <c:dLbl>
              <c:idx val="2"/>
              <c:layout>
                <c:manualLayout>
                  <c:x val="9.4817255430787964E-2"/>
                  <c:y val="-6.0185185185185147E-2"/>
                </c:manualLayout>
              </c:layout>
              <c:tx>
                <c:rich>
                  <a:bodyPr/>
                  <a:lstStyle/>
                  <a:p>
                    <a:pPr>
                      <a:defRPr sz="1400" b="1">
                        <a:solidFill>
                          <a:srgbClr val="005885"/>
                        </a:solidFill>
                        <a:latin typeface="+mn-lt"/>
                      </a:defRPr>
                    </a:pPr>
                    <a:r>
                      <a:rPr lang="en-US" dirty="0" smtClean="0"/>
                      <a:t>   Manu-</a:t>
                    </a:r>
                    <a:r>
                      <a:rPr lang="en-US" dirty="0" err="1" smtClean="0"/>
                      <a:t>facturing</a:t>
                    </a:r>
                    <a:r>
                      <a:rPr lang="en-US" dirty="0"/>
                      <a:t>
31%</a:t>
                    </a:r>
                  </a:p>
                </c:rich>
              </c:tx>
              <c:spPr/>
              <c:dLblPos val="bestFit"/>
              <c:showVal val="1"/>
              <c:showCatName val="1"/>
              <c:separator>
</c:separator>
            </c:dLbl>
            <c:dLbl>
              <c:idx val="3"/>
              <c:spPr/>
              <c:txPr>
                <a:bodyPr/>
                <a:lstStyle/>
                <a:p>
                  <a:pPr>
                    <a:defRPr sz="1400" b="1">
                      <a:solidFill>
                        <a:srgbClr val="850057"/>
                      </a:solidFill>
                      <a:latin typeface="+mn-lt"/>
                    </a:defRPr>
                  </a:pPr>
                  <a:endParaRPr lang="en-US"/>
                </a:p>
              </c:txPr>
            </c:dLbl>
            <c:dLbl>
              <c:idx val="4"/>
              <c:layout>
                <c:manualLayout>
                  <c:x val="9.9895013123361652E-3"/>
                  <c:y val="7.5963473315836874E-2"/>
                </c:manualLayout>
              </c:layout>
              <c:tx>
                <c:rich>
                  <a:bodyPr/>
                  <a:lstStyle/>
                  <a:p>
                    <a:pPr>
                      <a:defRPr sz="1400" b="1">
                        <a:solidFill>
                          <a:srgbClr val="382658"/>
                        </a:solidFill>
                        <a:latin typeface="+mn-lt"/>
                      </a:defRPr>
                    </a:pPr>
                    <a:r>
                      <a:rPr lang="en-US" dirty="0" smtClean="0"/>
                      <a:t>Health </a:t>
                    </a:r>
                    <a:r>
                      <a:rPr lang="en-US" dirty="0"/>
                      <a:t>Services
27%</a:t>
                    </a:r>
                  </a:p>
                </c:rich>
              </c:tx>
              <c:spPr/>
              <c:dLblPos val="bestFit"/>
              <c:showVal val="1"/>
              <c:showCatName val="1"/>
              <c:separator>
</c:separator>
            </c:dLbl>
            <c:txPr>
              <a:bodyPr/>
              <a:lstStyle/>
              <a:p>
                <a:pPr>
                  <a:defRPr sz="1400" b="1">
                    <a:latin typeface="+mn-lt"/>
                  </a:defRPr>
                </a:pPr>
                <a:endParaRPr lang="en-US"/>
              </a:p>
            </c:txPr>
            <c:showVal val="1"/>
            <c:showCatName val="1"/>
            <c:separator>
</c:separator>
          </c:dLbls>
          <c:cat>
            <c:strRef>
              <c:f>Sheet2!$A$21:$A$25</c:f>
              <c:strCache>
                <c:ptCount val="5"/>
                <c:pt idx="0">
                  <c:v>    Financial Services</c:v>
                </c:pt>
                <c:pt idx="1">
                  <c:v>    Technology, Consumer, Utilities</c:v>
                </c:pt>
                <c:pt idx="2">
                  <c:v>    Manufacturing</c:v>
                </c:pt>
                <c:pt idx="3">
                  <c:v>    Public &amp; Defense</c:v>
                </c:pt>
                <c:pt idx="4">
                  <c:v>    Health Services</c:v>
                </c:pt>
              </c:strCache>
            </c:strRef>
          </c:cat>
          <c:val>
            <c:numRef>
              <c:f>Sheet2!$B$21:$B$25</c:f>
              <c:numCache>
                <c:formatCode>0%</c:formatCode>
                <c:ptCount val="5"/>
                <c:pt idx="0">
                  <c:v>6.3007289457247193E-2</c:v>
                </c:pt>
                <c:pt idx="1">
                  <c:v>0.23217479237139504</c:v>
                </c:pt>
                <c:pt idx="2">
                  <c:v>0.30573312160411475</c:v>
                </c:pt>
                <c:pt idx="3">
                  <c:v>0.13058746473710706</c:v>
                </c:pt>
                <c:pt idx="4">
                  <c:v>0.26849733183013774</c:v>
                </c:pt>
              </c:numCache>
            </c:numRef>
          </c:val>
        </c:ser>
        <c:dLbls>
          <c:showCatName val="1"/>
          <c:showPercent val="1"/>
        </c:dLbls>
        <c:firstSliceAng val="0"/>
      </c:pieChart>
      <c:spPr>
        <a:noFill/>
        <a:ln w="25400">
          <a:noFill/>
        </a:ln>
      </c:spPr>
    </c:plotArea>
    <c:plotVisOnly val="1"/>
    <c:dispBlanksAs val="zero"/>
  </c:chart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33194444444444843"/>
          <c:y val="0.21990740740741072"/>
          <c:w val="0.3361111111111113"/>
          <c:h val="0.56018518518518523"/>
        </c:manualLayout>
      </c:layout>
      <c:pieChart>
        <c:varyColors val="1"/>
        <c:ser>
          <c:idx val="0"/>
          <c:order val="0"/>
          <c:dPt>
            <c:idx val="0"/>
            <c:spPr>
              <a:solidFill>
                <a:srgbClr val="382658"/>
              </a:solidFill>
            </c:spPr>
          </c:dPt>
          <c:dPt>
            <c:idx val="1"/>
            <c:spPr>
              <a:solidFill>
                <a:srgbClr val="FF0000"/>
              </a:solidFill>
            </c:spPr>
          </c:dPt>
          <c:dPt>
            <c:idx val="2"/>
            <c:spPr>
              <a:solidFill>
                <a:srgbClr val="939598"/>
              </a:solidFill>
            </c:spPr>
          </c:dPt>
          <c:dLbls>
            <c:dLbl>
              <c:idx val="0"/>
              <c:layout>
                <c:manualLayout>
                  <c:x val="-8.1529377408435764E-3"/>
                  <c:y val="6.5779573608824429E-2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rgbClr val="382658"/>
                      </a:solidFill>
                    </a:defRPr>
                  </a:pPr>
                  <a:endParaRPr lang="en-US"/>
                </a:p>
              </c:txPr>
              <c:dLblPos val="bestFit"/>
              <c:showCatName val="1"/>
              <c:showPercent val="1"/>
            </c:dLbl>
            <c:dLbl>
              <c:idx val="1"/>
              <c:delete val="1"/>
            </c:dLbl>
            <c:dLbl>
              <c:idx val="2"/>
              <c:layout>
                <c:manualLayout>
                  <c:x val="3.208907805056415E-2"/>
                  <c:y val="-4.1703218671057057E-2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rgbClr val="939598"/>
                      </a:solidFill>
                    </a:defRPr>
                  </a:pPr>
                  <a:endParaRPr lang="en-US"/>
                </a:p>
              </c:txPr>
              <c:dLblPos val="bestFit"/>
              <c:showCatName val="1"/>
              <c:showPercent val="1"/>
            </c:dLbl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CatName val="1"/>
            <c:showPercent val="1"/>
            <c:showLeaderLines val="1"/>
          </c:dLbls>
          <c:cat>
            <c:strRef>
              <c:f>Sheet2!$A$5:$A$7</c:f>
              <c:strCache>
                <c:ptCount val="3"/>
                <c:pt idx="0">
                  <c:v>Consulting &amp; System-integration</c:v>
                </c:pt>
                <c:pt idx="2">
                  <c:v>Outsourcing</c:v>
                </c:pt>
              </c:strCache>
            </c:strRef>
          </c:cat>
          <c:val>
            <c:numRef>
              <c:f>Sheet2!$B$5:$B$7</c:f>
              <c:numCache>
                <c:formatCode>General</c:formatCode>
                <c:ptCount val="3"/>
                <c:pt idx="0" formatCode="0%">
                  <c:v>0.67606775899479665</c:v>
                </c:pt>
                <c:pt idx="2" formatCode="0%">
                  <c:v>0.31606229553200743</c:v>
                </c:pt>
              </c:numCache>
            </c:numRef>
          </c:val>
        </c:ser>
        <c:dLbls>
          <c:showCatName val="1"/>
          <c:showPercent val="1"/>
        </c:dLbls>
        <c:firstSliceAng val="0"/>
      </c:pieChart>
      <c:spPr>
        <a:noFill/>
        <a:ln w="25400">
          <a:noFill/>
        </a:ln>
      </c:spPr>
    </c:plotArea>
    <c:plotVisOnly val="1"/>
    <c:dispBlanksAs val="zero"/>
  </c:chart>
  <c:externalData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image" Target="../media/image55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10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880294CB-E5E6-4805-BF61-911CF4E43B30}" type="datetimeFigureOut">
              <a:rPr lang="en-US"/>
              <a:pPr>
                <a:defRPr/>
              </a:pPr>
              <a:t>12/12/201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2925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100" y="9432925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71AD047C-D740-4F20-89A4-FC483B0D6A9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6888"/>
          </a:xfrm>
          <a:prstGeom prst="rect">
            <a:avLst/>
          </a:prstGeom>
        </p:spPr>
        <p:txBody>
          <a:bodyPr vert="horz" lIns="92226" tIns="46113" rIns="92226" bIns="46113" rtlCol="0"/>
          <a:lstStyle>
            <a:lvl1pPr algn="l" eaLnBrk="0" hangingPunct="0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100" y="0"/>
            <a:ext cx="2944813" cy="496888"/>
          </a:xfrm>
          <a:prstGeom prst="rect">
            <a:avLst/>
          </a:prstGeom>
        </p:spPr>
        <p:txBody>
          <a:bodyPr vert="horz" lIns="92226" tIns="46113" rIns="92226" bIns="46113" rtlCol="0"/>
          <a:lstStyle>
            <a:lvl1pPr algn="r" eaLnBrk="0" hangingPunct="0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C69C3E9B-FC18-4E96-8F2F-517C7DC34944}" type="datetimeFigureOut">
              <a:rPr lang="en-US"/>
              <a:pPr>
                <a:defRPr/>
              </a:pPr>
              <a:t>12/12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26" tIns="46113" rIns="92226" bIns="46113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8050"/>
            <a:ext cx="5435600" cy="4468813"/>
          </a:xfrm>
          <a:prstGeom prst="rect">
            <a:avLst/>
          </a:prstGeom>
        </p:spPr>
        <p:txBody>
          <a:bodyPr vert="horz" lIns="92226" tIns="46113" rIns="92226" bIns="46113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2925"/>
            <a:ext cx="2944813" cy="496888"/>
          </a:xfrm>
          <a:prstGeom prst="rect">
            <a:avLst/>
          </a:prstGeom>
        </p:spPr>
        <p:txBody>
          <a:bodyPr vert="horz" lIns="92226" tIns="46113" rIns="92226" bIns="46113" rtlCol="0" anchor="b"/>
          <a:lstStyle>
            <a:lvl1pPr algn="l" eaLnBrk="0" hangingPunct="0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100" y="9432925"/>
            <a:ext cx="2944813" cy="496888"/>
          </a:xfrm>
          <a:prstGeom prst="rect">
            <a:avLst/>
          </a:prstGeom>
        </p:spPr>
        <p:txBody>
          <a:bodyPr vert="horz" lIns="92226" tIns="46113" rIns="92226" bIns="46113" rtlCol="0" anchor="b"/>
          <a:lstStyle>
            <a:lvl1pPr algn="r" eaLnBrk="0" hangingPunct="0">
              <a:defRPr sz="1200"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3B7BDF94-59AB-45F3-9EE9-9BEFCC186AB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cs-CZ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smtClean="0"/>
              <a:t> 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2336" tIns="46168" rIns="92336" bIns="4616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smtClean="0"/>
              <a:t> </a:t>
            </a:r>
          </a:p>
        </p:txBody>
      </p:sp>
      <p:sp>
        <p:nvSpPr>
          <p:cNvPr id="54276" name="Slide Number Placeholder 3"/>
          <p:cNvSpPr txBox="1">
            <a:spLocks noGrp="1"/>
          </p:cNvSpPr>
          <p:nvPr/>
        </p:nvSpPr>
        <p:spPr bwMode="auto">
          <a:xfrm>
            <a:off x="3848100" y="943451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618" tIns="45812" rIns="91618" bIns="45812" anchor="b"/>
          <a:lstStyle/>
          <a:p>
            <a:pPr algn="r" defTabSz="911225" eaLnBrk="0" hangingPunct="0"/>
            <a:fld id="{A22E965A-6DF5-48C2-84E1-6F4FAB881227}" type="slidenum">
              <a:rPr lang="en-US" sz="1200"/>
              <a:pPr algn="r" defTabSz="911225" eaLnBrk="0" hangingPunct="0"/>
              <a:t>5</a:t>
            </a:fld>
            <a:endParaRPr lang="en-US" sz="12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 </a:t>
            </a: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smtClean="0"/>
              <a:t> 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oleObject" Target="../embeddings/oleObject1.bin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Section and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6018" name="think-cell Slide" r:id="rId11" imgW="360" imgH="360" progId="">
              <p:embed/>
            </p:oleObj>
          </a:graphicData>
        </a:graphic>
      </p:graphicFrame>
      <p:pic>
        <p:nvPicPr>
          <p:cNvPr id="5" name="Grafik 13" descr="Erste Seite Hand_Baum_0-1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2" cstate="email">
            <a:grayscl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oup 7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352425" y="327025"/>
            <a:ext cx="977900" cy="544513"/>
            <a:chOff x="0" y="0"/>
            <a:chExt cx="616" cy="343"/>
          </a:xfrm>
        </p:grpSpPr>
        <p:sp>
          <p:nvSpPr>
            <p:cNvPr id="7" name="Freeform 3"/>
            <p:cNvSpPr>
              <a:spLocks/>
            </p:cNvSpPr>
            <p:nvPr/>
          </p:nvSpPr>
          <p:spPr bwMode="auto">
            <a:xfrm>
              <a:off x="0" y="0"/>
              <a:ext cx="616" cy="343"/>
            </a:xfrm>
            <a:custGeom>
              <a:avLst/>
              <a:gdLst>
                <a:gd name="T0" fmla="*/ 523 w 21600"/>
                <a:gd name="T1" fmla="*/ 343 h 21600"/>
                <a:gd name="T2" fmla="*/ 616 w 21600"/>
                <a:gd name="T3" fmla="*/ 252 h 21600"/>
                <a:gd name="T4" fmla="*/ 616 w 21600"/>
                <a:gd name="T5" fmla="*/ 0 h 21600"/>
                <a:gd name="T6" fmla="*/ 93 w 21600"/>
                <a:gd name="T7" fmla="*/ 0 h 21600"/>
                <a:gd name="T8" fmla="*/ 0 w 21600"/>
                <a:gd name="T9" fmla="*/ 92 h 21600"/>
                <a:gd name="T10" fmla="*/ 0 w 21600"/>
                <a:gd name="T11" fmla="*/ 343 h 21600"/>
                <a:gd name="T12" fmla="*/ 523 w 21600"/>
                <a:gd name="T13" fmla="*/ 343 h 21600"/>
                <a:gd name="T14" fmla="*/ 523 w 21600"/>
                <a:gd name="T15" fmla="*/ 343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600"/>
                <a:gd name="T25" fmla="*/ 0 h 21600"/>
                <a:gd name="T26" fmla="*/ 21600 w 21600"/>
                <a:gd name="T27" fmla="*/ 21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18330" y="21600"/>
                  </a:moveTo>
                  <a:lnTo>
                    <a:pt x="21600" y="15845"/>
                  </a:lnTo>
                  <a:lnTo>
                    <a:pt x="21600" y="0"/>
                  </a:lnTo>
                  <a:lnTo>
                    <a:pt x="3270" y="0"/>
                  </a:lnTo>
                  <a:lnTo>
                    <a:pt x="0" y="5823"/>
                  </a:lnTo>
                  <a:lnTo>
                    <a:pt x="0" y="21600"/>
                  </a:lnTo>
                  <a:lnTo>
                    <a:pt x="18330" y="21600"/>
                  </a:lnTo>
                  <a:close/>
                  <a:moveTo>
                    <a:pt x="18330" y="21600"/>
                  </a:moveTo>
                </a:path>
              </a:pathLst>
            </a:custGeom>
            <a:solidFill>
              <a:srgbClr val="EE2525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8" name="Freeform 4"/>
            <p:cNvSpPr>
              <a:spLocks/>
            </p:cNvSpPr>
            <p:nvPr/>
          </p:nvSpPr>
          <p:spPr bwMode="auto">
            <a:xfrm>
              <a:off x="75" y="90"/>
              <a:ext cx="150" cy="166"/>
            </a:xfrm>
            <a:custGeom>
              <a:avLst/>
              <a:gdLst>
                <a:gd name="T0" fmla="*/ 124 w 21600"/>
                <a:gd name="T1" fmla="*/ 110 h 21600"/>
                <a:gd name="T2" fmla="*/ 123 w 21600"/>
                <a:gd name="T3" fmla="*/ 111 h 21600"/>
                <a:gd name="T4" fmla="*/ 83 w 21600"/>
                <a:gd name="T5" fmla="*/ 129 h 21600"/>
                <a:gd name="T6" fmla="*/ 55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3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3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2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4 w 21600"/>
                <a:gd name="T33" fmla="*/ 110 h 21600"/>
                <a:gd name="T34" fmla="*/ 124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7908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5877" y="15951"/>
                    <a:pt x="14585" y="16782"/>
                    <a:pt x="12000" y="16782"/>
                  </a:cubicBezTo>
                  <a:cubicBezTo>
                    <a:pt x="10338" y="16782"/>
                    <a:pt x="9046" y="16283"/>
                    <a:pt x="7938" y="15452"/>
                  </a:cubicBezTo>
                  <a:cubicBezTo>
                    <a:pt x="6646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000" y="4652"/>
                  </a:cubicBezTo>
                  <a:cubicBezTo>
                    <a:pt x="14215" y="4652"/>
                    <a:pt x="15692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015" y="1329"/>
                    <a:pt x="16431" y="0"/>
                    <a:pt x="12000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477" y="16948"/>
                    <a:pt x="4062" y="18942"/>
                  </a:cubicBezTo>
                  <a:cubicBezTo>
                    <a:pt x="6092" y="20603"/>
                    <a:pt x="8862" y="21600"/>
                    <a:pt x="11815" y="21600"/>
                  </a:cubicBezTo>
                  <a:cubicBezTo>
                    <a:pt x="16246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7908" y="14289"/>
                  </a:lnTo>
                  <a:close/>
                  <a:moveTo>
                    <a:pt x="17908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386" y="90"/>
              <a:ext cx="150" cy="166"/>
            </a:xfrm>
            <a:custGeom>
              <a:avLst/>
              <a:gdLst>
                <a:gd name="T0" fmla="*/ 126 w 21600"/>
                <a:gd name="T1" fmla="*/ 110 h 21600"/>
                <a:gd name="T2" fmla="*/ 123 w 21600"/>
                <a:gd name="T3" fmla="*/ 111 h 21600"/>
                <a:gd name="T4" fmla="*/ 85 w 21600"/>
                <a:gd name="T5" fmla="*/ 129 h 21600"/>
                <a:gd name="T6" fmla="*/ 56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5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5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3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6 w 21600"/>
                <a:gd name="T33" fmla="*/ 110 h 21600"/>
                <a:gd name="T34" fmla="*/ 126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8092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6062" y="15951"/>
                    <a:pt x="14585" y="16782"/>
                    <a:pt x="12185" y="16782"/>
                  </a:cubicBezTo>
                  <a:cubicBezTo>
                    <a:pt x="10523" y="16782"/>
                    <a:pt x="9046" y="16283"/>
                    <a:pt x="8123" y="15452"/>
                  </a:cubicBezTo>
                  <a:cubicBezTo>
                    <a:pt x="6831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185" y="4652"/>
                  </a:cubicBezTo>
                  <a:cubicBezTo>
                    <a:pt x="14215" y="4652"/>
                    <a:pt x="15877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200" y="1329"/>
                    <a:pt x="16431" y="0"/>
                    <a:pt x="12185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662" y="16948"/>
                    <a:pt x="4062" y="18942"/>
                  </a:cubicBezTo>
                  <a:cubicBezTo>
                    <a:pt x="6092" y="20603"/>
                    <a:pt x="8862" y="21600"/>
                    <a:pt x="12000" y="21600"/>
                  </a:cubicBezTo>
                  <a:cubicBezTo>
                    <a:pt x="16431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8092" y="14289"/>
                  </a:lnTo>
                  <a:close/>
                  <a:moveTo>
                    <a:pt x="18092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239" y="90"/>
              <a:ext cx="129" cy="164"/>
            </a:xfrm>
            <a:custGeom>
              <a:avLst/>
              <a:gdLst>
                <a:gd name="T0" fmla="*/ 129 w 21600"/>
                <a:gd name="T1" fmla="*/ 113 h 21600"/>
                <a:gd name="T2" fmla="*/ 80 w 21600"/>
                <a:gd name="T3" fmla="*/ 65 h 21600"/>
                <a:gd name="T4" fmla="*/ 74 w 21600"/>
                <a:gd name="T5" fmla="*/ 64 h 21600"/>
                <a:gd name="T6" fmla="*/ 46 w 21600"/>
                <a:gd name="T7" fmla="*/ 47 h 21600"/>
                <a:gd name="T8" fmla="*/ 46 w 21600"/>
                <a:gd name="T9" fmla="*/ 46 h 21600"/>
                <a:gd name="T10" fmla="*/ 64 w 21600"/>
                <a:gd name="T11" fmla="*/ 36 h 21600"/>
                <a:gd name="T12" fmla="*/ 95 w 21600"/>
                <a:gd name="T13" fmla="*/ 44 h 21600"/>
                <a:gd name="T14" fmla="*/ 98 w 21600"/>
                <a:gd name="T15" fmla="*/ 47 h 21600"/>
                <a:gd name="T16" fmla="*/ 125 w 21600"/>
                <a:gd name="T17" fmla="*/ 22 h 21600"/>
                <a:gd name="T18" fmla="*/ 124 w 21600"/>
                <a:gd name="T19" fmla="*/ 20 h 21600"/>
                <a:gd name="T20" fmla="*/ 120 w 21600"/>
                <a:gd name="T21" fmla="*/ 18 h 21600"/>
                <a:gd name="T22" fmla="*/ 64 w 21600"/>
                <a:gd name="T23" fmla="*/ 0 h 21600"/>
                <a:gd name="T24" fmla="*/ 8 w 21600"/>
                <a:gd name="T25" fmla="*/ 50 h 21600"/>
                <a:gd name="T26" fmla="*/ 43 w 21600"/>
                <a:gd name="T27" fmla="*/ 94 h 21600"/>
                <a:gd name="T28" fmla="*/ 50 w 21600"/>
                <a:gd name="T29" fmla="*/ 97 h 21600"/>
                <a:gd name="T30" fmla="*/ 60 w 21600"/>
                <a:gd name="T31" fmla="*/ 99 h 21600"/>
                <a:gd name="T32" fmla="*/ 89 w 21600"/>
                <a:gd name="T33" fmla="*/ 117 h 21600"/>
                <a:gd name="T34" fmla="*/ 70 w 21600"/>
                <a:gd name="T35" fmla="*/ 130 h 21600"/>
                <a:gd name="T36" fmla="*/ 31 w 21600"/>
                <a:gd name="T37" fmla="*/ 116 h 21600"/>
                <a:gd name="T38" fmla="*/ 26 w 21600"/>
                <a:gd name="T39" fmla="*/ 112 h 21600"/>
                <a:gd name="T40" fmla="*/ 0 w 21600"/>
                <a:gd name="T41" fmla="*/ 137 h 21600"/>
                <a:gd name="T42" fmla="*/ 1 w 21600"/>
                <a:gd name="T43" fmla="*/ 139 h 21600"/>
                <a:gd name="T44" fmla="*/ 5 w 21600"/>
                <a:gd name="T45" fmla="*/ 141 h 21600"/>
                <a:gd name="T46" fmla="*/ 69 w 21600"/>
                <a:gd name="T47" fmla="*/ 164 h 21600"/>
                <a:gd name="T48" fmla="*/ 129 w 21600"/>
                <a:gd name="T49" fmla="*/ 114 h 21600"/>
                <a:gd name="T50" fmla="*/ 129 w 21600"/>
                <a:gd name="T51" fmla="*/ 113 h 21600"/>
                <a:gd name="T52" fmla="*/ 129 w 21600"/>
                <a:gd name="T53" fmla="*/ 113 h 216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1600"/>
                <a:gd name="T82" fmla="*/ 0 h 21600"/>
                <a:gd name="T83" fmla="*/ 21600 w 21600"/>
                <a:gd name="T84" fmla="*/ 21600 h 216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1600" h="21600">
                  <a:moveTo>
                    <a:pt x="21600" y="14902"/>
                  </a:moveTo>
                  <a:cubicBezTo>
                    <a:pt x="21600" y="11386"/>
                    <a:pt x="18606" y="9712"/>
                    <a:pt x="13473" y="8540"/>
                  </a:cubicBezTo>
                  <a:cubicBezTo>
                    <a:pt x="13259" y="8540"/>
                    <a:pt x="12618" y="8372"/>
                    <a:pt x="12404" y="8372"/>
                  </a:cubicBezTo>
                  <a:cubicBezTo>
                    <a:pt x="8341" y="7535"/>
                    <a:pt x="7699" y="7200"/>
                    <a:pt x="7699" y="6195"/>
                  </a:cubicBezTo>
                  <a:cubicBezTo>
                    <a:pt x="7699" y="6028"/>
                    <a:pt x="7699" y="6028"/>
                    <a:pt x="7699" y="6028"/>
                  </a:cubicBezTo>
                  <a:cubicBezTo>
                    <a:pt x="7699" y="5358"/>
                    <a:pt x="8554" y="4688"/>
                    <a:pt x="10693" y="4688"/>
                  </a:cubicBezTo>
                  <a:cubicBezTo>
                    <a:pt x="12190" y="4688"/>
                    <a:pt x="13901" y="5023"/>
                    <a:pt x="15826" y="5860"/>
                  </a:cubicBezTo>
                  <a:cubicBezTo>
                    <a:pt x="16040" y="6028"/>
                    <a:pt x="16253" y="6028"/>
                    <a:pt x="16467" y="6195"/>
                  </a:cubicBezTo>
                  <a:cubicBezTo>
                    <a:pt x="20958" y="2847"/>
                    <a:pt x="20958" y="2847"/>
                    <a:pt x="20958" y="2847"/>
                  </a:cubicBezTo>
                  <a:cubicBezTo>
                    <a:pt x="20745" y="2679"/>
                    <a:pt x="20745" y="2679"/>
                    <a:pt x="20745" y="2679"/>
                  </a:cubicBezTo>
                  <a:cubicBezTo>
                    <a:pt x="20531" y="2512"/>
                    <a:pt x="20317" y="2512"/>
                    <a:pt x="20103" y="2344"/>
                  </a:cubicBezTo>
                  <a:cubicBezTo>
                    <a:pt x="17537" y="837"/>
                    <a:pt x="14329" y="0"/>
                    <a:pt x="10693" y="0"/>
                  </a:cubicBezTo>
                  <a:cubicBezTo>
                    <a:pt x="5133" y="0"/>
                    <a:pt x="1283" y="2512"/>
                    <a:pt x="1283" y="6530"/>
                  </a:cubicBezTo>
                  <a:cubicBezTo>
                    <a:pt x="1069" y="10047"/>
                    <a:pt x="3636" y="11553"/>
                    <a:pt x="7271" y="12391"/>
                  </a:cubicBezTo>
                  <a:cubicBezTo>
                    <a:pt x="7699" y="12558"/>
                    <a:pt x="7913" y="12558"/>
                    <a:pt x="8341" y="12726"/>
                  </a:cubicBezTo>
                  <a:cubicBezTo>
                    <a:pt x="8768" y="12893"/>
                    <a:pt x="9410" y="12893"/>
                    <a:pt x="10051" y="13060"/>
                  </a:cubicBezTo>
                  <a:cubicBezTo>
                    <a:pt x="14543" y="14065"/>
                    <a:pt x="14970" y="14400"/>
                    <a:pt x="14970" y="15405"/>
                  </a:cubicBezTo>
                  <a:cubicBezTo>
                    <a:pt x="14970" y="16409"/>
                    <a:pt x="13901" y="17079"/>
                    <a:pt x="11762" y="17079"/>
                  </a:cubicBezTo>
                  <a:cubicBezTo>
                    <a:pt x="9196" y="17079"/>
                    <a:pt x="7057" y="16409"/>
                    <a:pt x="5133" y="15237"/>
                  </a:cubicBezTo>
                  <a:cubicBezTo>
                    <a:pt x="4919" y="15070"/>
                    <a:pt x="4705" y="14902"/>
                    <a:pt x="4277" y="14735"/>
                  </a:cubicBezTo>
                  <a:cubicBezTo>
                    <a:pt x="0" y="18084"/>
                    <a:pt x="0" y="18084"/>
                    <a:pt x="0" y="18084"/>
                  </a:cubicBezTo>
                  <a:cubicBezTo>
                    <a:pt x="214" y="18251"/>
                    <a:pt x="214" y="18251"/>
                    <a:pt x="214" y="18251"/>
                  </a:cubicBezTo>
                  <a:cubicBezTo>
                    <a:pt x="428" y="18419"/>
                    <a:pt x="642" y="18419"/>
                    <a:pt x="855" y="18586"/>
                  </a:cubicBezTo>
                  <a:cubicBezTo>
                    <a:pt x="3850" y="20595"/>
                    <a:pt x="7699" y="21600"/>
                    <a:pt x="11549" y="21600"/>
                  </a:cubicBezTo>
                  <a:cubicBezTo>
                    <a:pt x="17323" y="21600"/>
                    <a:pt x="21600" y="19256"/>
                    <a:pt x="21600" y="15070"/>
                  </a:cubicBezTo>
                  <a:lnTo>
                    <a:pt x="21600" y="14902"/>
                  </a:lnTo>
                  <a:close/>
                  <a:moveTo>
                    <a:pt x="21600" y="14902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11" name="Text Box 66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66713" y="6575425"/>
            <a:ext cx="3808412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820738" eaLnBrk="0" hangingPunct="0">
              <a:spcBef>
                <a:spcPct val="50000"/>
              </a:spcBef>
              <a:defRPr/>
            </a:pPr>
            <a:r>
              <a:rPr lang="en-US" sz="1100" dirty="0">
                <a:solidFill>
                  <a:srgbClr val="FFFFFF"/>
                </a:solidFill>
                <a:ea typeface="MS PGothic" pitchFamily="34" charset="-128"/>
                <a:cs typeface="+mn-cs"/>
              </a:rPr>
              <a:t>CSC Proprietary and Confidential</a:t>
            </a:r>
          </a:p>
        </p:txBody>
      </p:sp>
      <p:sp>
        <p:nvSpPr>
          <p:cNvPr id="12" name="Text Box 115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8426450" y="6599238"/>
            <a:ext cx="36512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BFCEAE03-DD49-4FEA-BF12-0A293907127E}" type="slidenum">
              <a:rPr lang="en-US" sz="1000">
                <a:solidFill>
                  <a:srgbClr val="FFFFFF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‹#›</a:t>
            </a:fld>
            <a:r>
              <a:rPr lang="en-US" sz="1000" dirty="0">
                <a:solidFill>
                  <a:srgbClr val="FFFFFF"/>
                </a:solidFill>
                <a:ea typeface="MS PGothic" pitchFamily="34" charset="-128"/>
                <a:cs typeface="+mn-cs"/>
              </a:rPr>
              <a:t>    </a:t>
            </a:r>
          </a:p>
        </p:txBody>
      </p:sp>
      <p:sp>
        <p:nvSpPr>
          <p:cNvPr id="13" name="Text Box 115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564313" y="6599238"/>
            <a:ext cx="182880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03C7D0F0-10D5-4191-B6F4-99306F468FEF}" type="datetime4">
              <a:rPr lang="en-US" sz="1000">
                <a:solidFill>
                  <a:srgbClr val="FFFFFF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December 12, 2012</a:t>
            </a:fld>
            <a:endParaRPr lang="en-US" sz="1000" dirty="0">
              <a:solidFill>
                <a:srgbClr val="FFFFFF"/>
              </a:solidFill>
              <a:ea typeface="MS PGothic" pitchFamily="34" charset="-128"/>
              <a:cs typeface="+mn-cs"/>
            </a:endParaRPr>
          </a:p>
        </p:txBody>
      </p:sp>
      <p:grpSp>
        <p:nvGrpSpPr>
          <p:cNvPr id="16" name="Group 7"/>
          <p:cNvGrpSpPr>
            <a:grpSpLocks/>
          </p:cNvGrpSpPr>
          <p:nvPr userDrawn="1">
            <p:custDataLst>
              <p:tags r:id="rId7"/>
            </p:custDataLst>
          </p:nvPr>
        </p:nvGrpSpPr>
        <p:grpSpPr bwMode="auto">
          <a:xfrm>
            <a:off x="352425" y="327025"/>
            <a:ext cx="977900" cy="544513"/>
            <a:chOff x="0" y="0"/>
            <a:chExt cx="616" cy="343"/>
          </a:xfrm>
        </p:grpSpPr>
        <p:sp>
          <p:nvSpPr>
            <p:cNvPr id="17" name="Freeform 3"/>
            <p:cNvSpPr>
              <a:spLocks/>
            </p:cNvSpPr>
            <p:nvPr/>
          </p:nvSpPr>
          <p:spPr bwMode="auto">
            <a:xfrm>
              <a:off x="0" y="0"/>
              <a:ext cx="616" cy="343"/>
            </a:xfrm>
            <a:custGeom>
              <a:avLst/>
              <a:gdLst>
                <a:gd name="T0" fmla="*/ 523 w 21600"/>
                <a:gd name="T1" fmla="*/ 343 h 21600"/>
                <a:gd name="T2" fmla="*/ 616 w 21600"/>
                <a:gd name="T3" fmla="*/ 252 h 21600"/>
                <a:gd name="T4" fmla="*/ 616 w 21600"/>
                <a:gd name="T5" fmla="*/ 0 h 21600"/>
                <a:gd name="T6" fmla="*/ 93 w 21600"/>
                <a:gd name="T7" fmla="*/ 0 h 21600"/>
                <a:gd name="T8" fmla="*/ 0 w 21600"/>
                <a:gd name="T9" fmla="*/ 92 h 21600"/>
                <a:gd name="T10" fmla="*/ 0 w 21600"/>
                <a:gd name="T11" fmla="*/ 343 h 21600"/>
                <a:gd name="T12" fmla="*/ 523 w 21600"/>
                <a:gd name="T13" fmla="*/ 343 h 21600"/>
                <a:gd name="T14" fmla="*/ 523 w 21600"/>
                <a:gd name="T15" fmla="*/ 343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600"/>
                <a:gd name="T25" fmla="*/ 0 h 21600"/>
                <a:gd name="T26" fmla="*/ 21600 w 21600"/>
                <a:gd name="T27" fmla="*/ 21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18330" y="21600"/>
                  </a:moveTo>
                  <a:lnTo>
                    <a:pt x="21600" y="15845"/>
                  </a:lnTo>
                  <a:lnTo>
                    <a:pt x="21600" y="0"/>
                  </a:lnTo>
                  <a:lnTo>
                    <a:pt x="3270" y="0"/>
                  </a:lnTo>
                  <a:lnTo>
                    <a:pt x="0" y="5823"/>
                  </a:lnTo>
                  <a:lnTo>
                    <a:pt x="0" y="21600"/>
                  </a:lnTo>
                  <a:lnTo>
                    <a:pt x="18330" y="21600"/>
                  </a:lnTo>
                  <a:close/>
                  <a:moveTo>
                    <a:pt x="18330" y="21600"/>
                  </a:moveTo>
                </a:path>
              </a:pathLst>
            </a:custGeom>
            <a:solidFill>
              <a:srgbClr val="EE2525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8" name="Freeform 4"/>
            <p:cNvSpPr>
              <a:spLocks/>
            </p:cNvSpPr>
            <p:nvPr/>
          </p:nvSpPr>
          <p:spPr bwMode="auto">
            <a:xfrm>
              <a:off x="75" y="90"/>
              <a:ext cx="150" cy="166"/>
            </a:xfrm>
            <a:custGeom>
              <a:avLst/>
              <a:gdLst>
                <a:gd name="T0" fmla="*/ 124 w 21600"/>
                <a:gd name="T1" fmla="*/ 110 h 21600"/>
                <a:gd name="T2" fmla="*/ 123 w 21600"/>
                <a:gd name="T3" fmla="*/ 111 h 21600"/>
                <a:gd name="T4" fmla="*/ 83 w 21600"/>
                <a:gd name="T5" fmla="*/ 129 h 21600"/>
                <a:gd name="T6" fmla="*/ 55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3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3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2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4 w 21600"/>
                <a:gd name="T33" fmla="*/ 110 h 21600"/>
                <a:gd name="T34" fmla="*/ 124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7908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5877" y="15951"/>
                    <a:pt x="14585" y="16782"/>
                    <a:pt x="12000" y="16782"/>
                  </a:cubicBezTo>
                  <a:cubicBezTo>
                    <a:pt x="10338" y="16782"/>
                    <a:pt x="9046" y="16283"/>
                    <a:pt x="7938" y="15452"/>
                  </a:cubicBezTo>
                  <a:cubicBezTo>
                    <a:pt x="6646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000" y="4652"/>
                  </a:cubicBezTo>
                  <a:cubicBezTo>
                    <a:pt x="14215" y="4652"/>
                    <a:pt x="15692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015" y="1329"/>
                    <a:pt x="16431" y="0"/>
                    <a:pt x="12000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477" y="16948"/>
                    <a:pt x="4062" y="18942"/>
                  </a:cubicBezTo>
                  <a:cubicBezTo>
                    <a:pt x="6092" y="20603"/>
                    <a:pt x="8862" y="21600"/>
                    <a:pt x="11815" y="21600"/>
                  </a:cubicBezTo>
                  <a:cubicBezTo>
                    <a:pt x="16246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7908" y="14289"/>
                  </a:lnTo>
                  <a:close/>
                  <a:moveTo>
                    <a:pt x="17908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9" name="Freeform 5"/>
            <p:cNvSpPr>
              <a:spLocks/>
            </p:cNvSpPr>
            <p:nvPr/>
          </p:nvSpPr>
          <p:spPr bwMode="auto">
            <a:xfrm>
              <a:off x="386" y="90"/>
              <a:ext cx="150" cy="166"/>
            </a:xfrm>
            <a:custGeom>
              <a:avLst/>
              <a:gdLst>
                <a:gd name="T0" fmla="*/ 126 w 21600"/>
                <a:gd name="T1" fmla="*/ 110 h 21600"/>
                <a:gd name="T2" fmla="*/ 123 w 21600"/>
                <a:gd name="T3" fmla="*/ 111 h 21600"/>
                <a:gd name="T4" fmla="*/ 85 w 21600"/>
                <a:gd name="T5" fmla="*/ 129 h 21600"/>
                <a:gd name="T6" fmla="*/ 56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5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5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3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6 w 21600"/>
                <a:gd name="T33" fmla="*/ 110 h 21600"/>
                <a:gd name="T34" fmla="*/ 126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8092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6062" y="15951"/>
                    <a:pt x="14585" y="16782"/>
                    <a:pt x="12185" y="16782"/>
                  </a:cubicBezTo>
                  <a:cubicBezTo>
                    <a:pt x="10523" y="16782"/>
                    <a:pt x="9046" y="16283"/>
                    <a:pt x="8123" y="15452"/>
                  </a:cubicBezTo>
                  <a:cubicBezTo>
                    <a:pt x="6831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185" y="4652"/>
                  </a:cubicBezTo>
                  <a:cubicBezTo>
                    <a:pt x="14215" y="4652"/>
                    <a:pt x="15877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200" y="1329"/>
                    <a:pt x="16431" y="0"/>
                    <a:pt x="12185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662" y="16948"/>
                    <a:pt x="4062" y="18942"/>
                  </a:cubicBezTo>
                  <a:cubicBezTo>
                    <a:pt x="6092" y="20603"/>
                    <a:pt x="8862" y="21600"/>
                    <a:pt x="12000" y="21600"/>
                  </a:cubicBezTo>
                  <a:cubicBezTo>
                    <a:pt x="16431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8092" y="14289"/>
                  </a:lnTo>
                  <a:close/>
                  <a:moveTo>
                    <a:pt x="18092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239" y="90"/>
              <a:ext cx="129" cy="164"/>
            </a:xfrm>
            <a:custGeom>
              <a:avLst/>
              <a:gdLst>
                <a:gd name="T0" fmla="*/ 129 w 21600"/>
                <a:gd name="T1" fmla="*/ 113 h 21600"/>
                <a:gd name="T2" fmla="*/ 80 w 21600"/>
                <a:gd name="T3" fmla="*/ 65 h 21600"/>
                <a:gd name="T4" fmla="*/ 74 w 21600"/>
                <a:gd name="T5" fmla="*/ 64 h 21600"/>
                <a:gd name="T6" fmla="*/ 46 w 21600"/>
                <a:gd name="T7" fmla="*/ 47 h 21600"/>
                <a:gd name="T8" fmla="*/ 46 w 21600"/>
                <a:gd name="T9" fmla="*/ 46 h 21600"/>
                <a:gd name="T10" fmla="*/ 64 w 21600"/>
                <a:gd name="T11" fmla="*/ 36 h 21600"/>
                <a:gd name="T12" fmla="*/ 95 w 21600"/>
                <a:gd name="T13" fmla="*/ 44 h 21600"/>
                <a:gd name="T14" fmla="*/ 98 w 21600"/>
                <a:gd name="T15" fmla="*/ 47 h 21600"/>
                <a:gd name="T16" fmla="*/ 125 w 21600"/>
                <a:gd name="T17" fmla="*/ 22 h 21600"/>
                <a:gd name="T18" fmla="*/ 124 w 21600"/>
                <a:gd name="T19" fmla="*/ 20 h 21600"/>
                <a:gd name="T20" fmla="*/ 120 w 21600"/>
                <a:gd name="T21" fmla="*/ 18 h 21600"/>
                <a:gd name="T22" fmla="*/ 64 w 21600"/>
                <a:gd name="T23" fmla="*/ 0 h 21600"/>
                <a:gd name="T24" fmla="*/ 8 w 21600"/>
                <a:gd name="T25" fmla="*/ 50 h 21600"/>
                <a:gd name="T26" fmla="*/ 43 w 21600"/>
                <a:gd name="T27" fmla="*/ 94 h 21600"/>
                <a:gd name="T28" fmla="*/ 50 w 21600"/>
                <a:gd name="T29" fmla="*/ 97 h 21600"/>
                <a:gd name="T30" fmla="*/ 60 w 21600"/>
                <a:gd name="T31" fmla="*/ 99 h 21600"/>
                <a:gd name="T32" fmla="*/ 89 w 21600"/>
                <a:gd name="T33" fmla="*/ 117 h 21600"/>
                <a:gd name="T34" fmla="*/ 70 w 21600"/>
                <a:gd name="T35" fmla="*/ 130 h 21600"/>
                <a:gd name="T36" fmla="*/ 31 w 21600"/>
                <a:gd name="T37" fmla="*/ 116 h 21600"/>
                <a:gd name="T38" fmla="*/ 26 w 21600"/>
                <a:gd name="T39" fmla="*/ 112 h 21600"/>
                <a:gd name="T40" fmla="*/ 0 w 21600"/>
                <a:gd name="T41" fmla="*/ 137 h 21600"/>
                <a:gd name="T42" fmla="*/ 1 w 21600"/>
                <a:gd name="T43" fmla="*/ 139 h 21600"/>
                <a:gd name="T44" fmla="*/ 5 w 21600"/>
                <a:gd name="T45" fmla="*/ 141 h 21600"/>
                <a:gd name="T46" fmla="*/ 69 w 21600"/>
                <a:gd name="T47" fmla="*/ 164 h 21600"/>
                <a:gd name="T48" fmla="*/ 129 w 21600"/>
                <a:gd name="T49" fmla="*/ 114 h 21600"/>
                <a:gd name="T50" fmla="*/ 129 w 21600"/>
                <a:gd name="T51" fmla="*/ 113 h 21600"/>
                <a:gd name="T52" fmla="*/ 129 w 21600"/>
                <a:gd name="T53" fmla="*/ 113 h 216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1600"/>
                <a:gd name="T82" fmla="*/ 0 h 21600"/>
                <a:gd name="T83" fmla="*/ 21600 w 21600"/>
                <a:gd name="T84" fmla="*/ 21600 h 216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1600" h="21600">
                  <a:moveTo>
                    <a:pt x="21600" y="14902"/>
                  </a:moveTo>
                  <a:cubicBezTo>
                    <a:pt x="21600" y="11386"/>
                    <a:pt x="18606" y="9712"/>
                    <a:pt x="13473" y="8540"/>
                  </a:cubicBezTo>
                  <a:cubicBezTo>
                    <a:pt x="13259" y="8540"/>
                    <a:pt x="12618" y="8372"/>
                    <a:pt x="12404" y="8372"/>
                  </a:cubicBezTo>
                  <a:cubicBezTo>
                    <a:pt x="8341" y="7535"/>
                    <a:pt x="7699" y="7200"/>
                    <a:pt x="7699" y="6195"/>
                  </a:cubicBezTo>
                  <a:cubicBezTo>
                    <a:pt x="7699" y="6028"/>
                    <a:pt x="7699" y="6028"/>
                    <a:pt x="7699" y="6028"/>
                  </a:cubicBezTo>
                  <a:cubicBezTo>
                    <a:pt x="7699" y="5358"/>
                    <a:pt x="8554" y="4688"/>
                    <a:pt x="10693" y="4688"/>
                  </a:cubicBezTo>
                  <a:cubicBezTo>
                    <a:pt x="12190" y="4688"/>
                    <a:pt x="13901" y="5023"/>
                    <a:pt x="15826" y="5860"/>
                  </a:cubicBezTo>
                  <a:cubicBezTo>
                    <a:pt x="16040" y="6028"/>
                    <a:pt x="16253" y="6028"/>
                    <a:pt x="16467" y="6195"/>
                  </a:cubicBezTo>
                  <a:cubicBezTo>
                    <a:pt x="20958" y="2847"/>
                    <a:pt x="20958" y="2847"/>
                    <a:pt x="20958" y="2847"/>
                  </a:cubicBezTo>
                  <a:cubicBezTo>
                    <a:pt x="20745" y="2679"/>
                    <a:pt x="20745" y="2679"/>
                    <a:pt x="20745" y="2679"/>
                  </a:cubicBezTo>
                  <a:cubicBezTo>
                    <a:pt x="20531" y="2512"/>
                    <a:pt x="20317" y="2512"/>
                    <a:pt x="20103" y="2344"/>
                  </a:cubicBezTo>
                  <a:cubicBezTo>
                    <a:pt x="17537" y="837"/>
                    <a:pt x="14329" y="0"/>
                    <a:pt x="10693" y="0"/>
                  </a:cubicBezTo>
                  <a:cubicBezTo>
                    <a:pt x="5133" y="0"/>
                    <a:pt x="1283" y="2512"/>
                    <a:pt x="1283" y="6530"/>
                  </a:cubicBezTo>
                  <a:cubicBezTo>
                    <a:pt x="1069" y="10047"/>
                    <a:pt x="3636" y="11553"/>
                    <a:pt x="7271" y="12391"/>
                  </a:cubicBezTo>
                  <a:cubicBezTo>
                    <a:pt x="7699" y="12558"/>
                    <a:pt x="7913" y="12558"/>
                    <a:pt x="8341" y="12726"/>
                  </a:cubicBezTo>
                  <a:cubicBezTo>
                    <a:pt x="8768" y="12893"/>
                    <a:pt x="9410" y="12893"/>
                    <a:pt x="10051" y="13060"/>
                  </a:cubicBezTo>
                  <a:cubicBezTo>
                    <a:pt x="14543" y="14065"/>
                    <a:pt x="14970" y="14400"/>
                    <a:pt x="14970" y="15405"/>
                  </a:cubicBezTo>
                  <a:cubicBezTo>
                    <a:pt x="14970" y="16409"/>
                    <a:pt x="13901" y="17079"/>
                    <a:pt x="11762" y="17079"/>
                  </a:cubicBezTo>
                  <a:cubicBezTo>
                    <a:pt x="9196" y="17079"/>
                    <a:pt x="7057" y="16409"/>
                    <a:pt x="5133" y="15237"/>
                  </a:cubicBezTo>
                  <a:cubicBezTo>
                    <a:pt x="4919" y="15070"/>
                    <a:pt x="4705" y="14902"/>
                    <a:pt x="4277" y="14735"/>
                  </a:cubicBezTo>
                  <a:cubicBezTo>
                    <a:pt x="0" y="18084"/>
                    <a:pt x="0" y="18084"/>
                    <a:pt x="0" y="18084"/>
                  </a:cubicBezTo>
                  <a:cubicBezTo>
                    <a:pt x="214" y="18251"/>
                    <a:pt x="214" y="18251"/>
                    <a:pt x="214" y="18251"/>
                  </a:cubicBezTo>
                  <a:cubicBezTo>
                    <a:pt x="428" y="18419"/>
                    <a:pt x="642" y="18419"/>
                    <a:pt x="855" y="18586"/>
                  </a:cubicBezTo>
                  <a:cubicBezTo>
                    <a:pt x="3850" y="20595"/>
                    <a:pt x="7699" y="21600"/>
                    <a:pt x="11549" y="21600"/>
                  </a:cubicBezTo>
                  <a:cubicBezTo>
                    <a:pt x="17323" y="21600"/>
                    <a:pt x="21600" y="19256"/>
                    <a:pt x="21600" y="15070"/>
                  </a:cubicBezTo>
                  <a:lnTo>
                    <a:pt x="21600" y="14902"/>
                  </a:lnTo>
                  <a:close/>
                  <a:moveTo>
                    <a:pt x="21600" y="14902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</p:grpSp>
      <p:grpSp>
        <p:nvGrpSpPr>
          <p:cNvPr id="21" name="Group 20"/>
          <p:cNvGrpSpPr/>
          <p:nvPr userDrawn="1">
            <p:custDataLst>
              <p:tags r:id="rId8"/>
            </p:custDataLst>
          </p:nvPr>
        </p:nvGrpSpPr>
        <p:grpSpPr>
          <a:xfrm>
            <a:off x="3834879" y="3564294"/>
            <a:ext cx="4935897" cy="2932299"/>
            <a:chOff x="3834879" y="3564294"/>
            <a:chExt cx="4935897" cy="2932299"/>
          </a:xfrm>
          <a:solidFill>
            <a:srgbClr val="850057">
              <a:alpha val="75000"/>
            </a:srgbClr>
          </a:solidFill>
        </p:grpSpPr>
        <p:sp>
          <p:nvSpPr>
            <p:cNvPr id="22" name="Rectangle 21"/>
            <p:cNvSpPr/>
            <p:nvPr/>
          </p:nvSpPr>
          <p:spPr bwMode="auto">
            <a:xfrm>
              <a:off x="3834882" y="3564294"/>
              <a:ext cx="4935894" cy="13995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23" name="Right Triangle 22"/>
            <p:cNvSpPr/>
            <p:nvPr/>
          </p:nvSpPr>
          <p:spPr bwMode="auto">
            <a:xfrm rot="10800000">
              <a:off x="3834879" y="4963885"/>
              <a:ext cx="3760238" cy="1530220"/>
            </a:xfrm>
            <a:prstGeom prst="rt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24" name="Rectangle 23"/>
            <p:cNvSpPr/>
            <p:nvPr/>
          </p:nvSpPr>
          <p:spPr bwMode="auto">
            <a:xfrm>
              <a:off x="7593873" y="4963884"/>
              <a:ext cx="1175658" cy="1532709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25" name="AutoShape 2" descr="http://s3.amazonaws.com/assets1.csc.com/styleguide/images/MountainTop_ISP2120777.jpg?AWSAccessKeyId=14GXKRGR5Y5AFT68GT02&amp;Expires=1334574863&amp;Signature=VF91gF1ZYWbbIn7HjCsviARdud0%3D"/>
          <p:cNvSpPr>
            <a:spLocks noChangeAspect="1"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/>
          <a:lstStyle/>
          <a:p>
            <a:pPr algn="ctr" eaLnBrk="0" hangingPunct="0">
              <a:defRPr/>
            </a:pPr>
            <a:endParaRPr lang="en-US">
              <a:ea typeface="MS PGothic" pitchFamily="34" charset="-128"/>
              <a:cs typeface="+mn-cs"/>
            </a:endParaRPr>
          </a:p>
        </p:txBody>
      </p:sp>
      <p:sp>
        <p:nvSpPr>
          <p:cNvPr id="14" name="Rectangle 75"/>
          <p:cNvSpPr>
            <a:spLocks noGrp="1" noChangeArrowheads="1"/>
          </p:cNvSpPr>
          <p:nvPr>
            <p:ph type="ctrTitle"/>
          </p:nvPr>
        </p:nvSpPr>
        <p:spPr>
          <a:xfrm>
            <a:off x="3935298" y="4000288"/>
            <a:ext cx="4746968" cy="626400"/>
          </a:xfrm>
        </p:spPr>
        <p:txBody>
          <a:bodyPr/>
          <a:lstStyle>
            <a:lvl1pPr algn="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76"/>
          <p:cNvSpPr>
            <a:spLocks noGrp="1" noChangeArrowheads="1"/>
          </p:cNvSpPr>
          <p:nvPr>
            <p:ph type="subTitle" idx="1"/>
          </p:nvPr>
        </p:nvSpPr>
        <p:spPr>
          <a:xfrm>
            <a:off x="5225647" y="5039631"/>
            <a:ext cx="3491621" cy="193899"/>
          </a:xfrm>
        </p:spPr>
        <p:txBody>
          <a:bodyPr/>
          <a:lstStyle>
            <a:lvl1pPr marL="0" indent="0" algn="r">
              <a:spcBef>
                <a:spcPts val="400"/>
              </a:spcBef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6" name="Picture 3" descr="C:\Users\bneubauer\Downloads\iStock_000012230698_Large.jpg"/>
          <p:cNvPicPr>
            <a:picLocks noChangeAspect="1" noChangeArrowheads="1"/>
          </p:cNvPicPr>
          <p:nvPr userDrawn="1"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grpSp>
        <p:nvGrpSpPr>
          <p:cNvPr id="27" name="Group 7"/>
          <p:cNvGrpSpPr>
            <a:grpSpLocks/>
          </p:cNvGrpSpPr>
          <p:nvPr userDrawn="1"/>
        </p:nvGrpSpPr>
        <p:grpSpPr bwMode="auto">
          <a:xfrm>
            <a:off x="352425" y="327025"/>
            <a:ext cx="977900" cy="544513"/>
            <a:chOff x="0" y="0"/>
            <a:chExt cx="616" cy="343"/>
          </a:xfrm>
        </p:grpSpPr>
        <p:sp>
          <p:nvSpPr>
            <p:cNvPr id="28" name="Freeform 3"/>
            <p:cNvSpPr>
              <a:spLocks/>
            </p:cNvSpPr>
            <p:nvPr/>
          </p:nvSpPr>
          <p:spPr bwMode="auto">
            <a:xfrm>
              <a:off x="0" y="0"/>
              <a:ext cx="616" cy="343"/>
            </a:xfrm>
            <a:custGeom>
              <a:avLst/>
              <a:gdLst>
                <a:gd name="T0" fmla="*/ 523 w 21600"/>
                <a:gd name="T1" fmla="*/ 343 h 21600"/>
                <a:gd name="T2" fmla="*/ 616 w 21600"/>
                <a:gd name="T3" fmla="*/ 252 h 21600"/>
                <a:gd name="T4" fmla="*/ 616 w 21600"/>
                <a:gd name="T5" fmla="*/ 0 h 21600"/>
                <a:gd name="T6" fmla="*/ 93 w 21600"/>
                <a:gd name="T7" fmla="*/ 0 h 21600"/>
                <a:gd name="T8" fmla="*/ 0 w 21600"/>
                <a:gd name="T9" fmla="*/ 92 h 21600"/>
                <a:gd name="T10" fmla="*/ 0 w 21600"/>
                <a:gd name="T11" fmla="*/ 343 h 21600"/>
                <a:gd name="T12" fmla="*/ 523 w 21600"/>
                <a:gd name="T13" fmla="*/ 343 h 21600"/>
                <a:gd name="T14" fmla="*/ 523 w 21600"/>
                <a:gd name="T15" fmla="*/ 343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600"/>
                <a:gd name="T25" fmla="*/ 0 h 21600"/>
                <a:gd name="T26" fmla="*/ 21600 w 21600"/>
                <a:gd name="T27" fmla="*/ 21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18330" y="21600"/>
                  </a:moveTo>
                  <a:lnTo>
                    <a:pt x="21600" y="15845"/>
                  </a:lnTo>
                  <a:lnTo>
                    <a:pt x="21600" y="0"/>
                  </a:lnTo>
                  <a:lnTo>
                    <a:pt x="3270" y="0"/>
                  </a:lnTo>
                  <a:lnTo>
                    <a:pt x="0" y="5823"/>
                  </a:lnTo>
                  <a:lnTo>
                    <a:pt x="0" y="21600"/>
                  </a:lnTo>
                  <a:lnTo>
                    <a:pt x="18330" y="21600"/>
                  </a:lnTo>
                  <a:close/>
                  <a:moveTo>
                    <a:pt x="18330" y="21600"/>
                  </a:moveTo>
                </a:path>
              </a:pathLst>
            </a:custGeom>
            <a:solidFill>
              <a:srgbClr val="EE2525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29" name="Freeform 4"/>
            <p:cNvSpPr>
              <a:spLocks/>
            </p:cNvSpPr>
            <p:nvPr/>
          </p:nvSpPr>
          <p:spPr bwMode="auto">
            <a:xfrm>
              <a:off x="75" y="90"/>
              <a:ext cx="150" cy="166"/>
            </a:xfrm>
            <a:custGeom>
              <a:avLst/>
              <a:gdLst>
                <a:gd name="T0" fmla="*/ 124 w 21600"/>
                <a:gd name="T1" fmla="*/ 110 h 21600"/>
                <a:gd name="T2" fmla="*/ 123 w 21600"/>
                <a:gd name="T3" fmla="*/ 111 h 21600"/>
                <a:gd name="T4" fmla="*/ 83 w 21600"/>
                <a:gd name="T5" fmla="*/ 129 h 21600"/>
                <a:gd name="T6" fmla="*/ 55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3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3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2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4 w 21600"/>
                <a:gd name="T33" fmla="*/ 110 h 21600"/>
                <a:gd name="T34" fmla="*/ 124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7908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5877" y="15951"/>
                    <a:pt x="14585" y="16782"/>
                    <a:pt x="12000" y="16782"/>
                  </a:cubicBezTo>
                  <a:cubicBezTo>
                    <a:pt x="10338" y="16782"/>
                    <a:pt x="9046" y="16283"/>
                    <a:pt x="7938" y="15452"/>
                  </a:cubicBezTo>
                  <a:cubicBezTo>
                    <a:pt x="6646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000" y="4652"/>
                  </a:cubicBezTo>
                  <a:cubicBezTo>
                    <a:pt x="14215" y="4652"/>
                    <a:pt x="15692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015" y="1329"/>
                    <a:pt x="16431" y="0"/>
                    <a:pt x="12000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477" y="16948"/>
                    <a:pt x="4062" y="18942"/>
                  </a:cubicBezTo>
                  <a:cubicBezTo>
                    <a:pt x="6092" y="20603"/>
                    <a:pt x="8862" y="21600"/>
                    <a:pt x="11815" y="21600"/>
                  </a:cubicBezTo>
                  <a:cubicBezTo>
                    <a:pt x="16246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7908" y="14289"/>
                  </a:lnTo>
                  <a:close/>
                  <a:moveTo>
                    <a:pt x="17908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30" name="Freeform 5"/>
            <p:cNvSpPr>
              <a:spLocks/>
            </p:cNvSpPr>
            <p:nvPr/>
          </p:nvSpPr>
          <p:spPr bwMode="auto">
            <a:xfrm>
              <a:off x="386" y="90"/>
              <a:ext cx="150" cy="166"/>
            </a:xfrm>
            <a:custGeom>
              <a:avLst/>
              <a:gdLst>
                <a:gd name="T0" fmla="*/ 126 w 21600"/>
                <a:gd name="T1" fmla="*/ 110 h 21600"/>
                <a:gd name="T2" fmla="*/ 123 w 21600"/>
                <a:gd name="T3" fmla="*/ 111 h 21600"/>
                <a:gd name="T4" fmla="*/ 85 w 21600"/>
                <a:gd name="T5" fmla="*/ 129 h 21600"/>
                <a:gd name="T6" fmla="*/ 56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5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5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3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6 w 21600"/>
                <a:gd name="T33" fmla="*/ 110 h 21600"/>
                <a:gd name="T34" fmla="*/ 126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8092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6062" y="15951"/>
                    <a:pt x="14585" y="16782"/>
                    <a:pt x="12185" y="16782"/>
                  </a:cubicBezTo>
                  <a:cubicBezTo>
                    <a:pt x="10523" y="16782"/>
                    <a:pt x="9046" y="16283"/>
                    <a:pt x="8123" y="15452"/>
                  </a:cubicBezTo>
                  <a:cubicBezTo>
                    <a:pt x="6831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185" y="4652"/>
                  </a:cubicBezTo>
                  <a:cubicBezTo>
                    <a:pt x="14215" y="4652"/>
                    <a:pt x="15877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200" y="1329"/>
                    <a:pt x="16431" y="0"/>
                    <a:pt x="12185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662" y="16948"/>
                    <a:pt x="4062" y="18942"/>
                  </a:cubicBezTo>
                  <a:cubicBezTo>
                    <a:pt x="6092" y="20603"/>
                    <a:pt x="8862" y="21600"/>
                    <a:pt x="12000" y="21600"/>
                  </a:cubicBezTo>
                  <a:cubicBezTo>
                    <a:pt x="16431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8092" y="14289"/>
                  </a:lnTo>
                  <a:close/>
                  <a:moveTo>
                    <a:pt x="18092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31" name="Freeform 6"/>
            <p:cNvSpPr>
              <a:spLocks/>
            </p:cNvSpPr>
            <p:nvPr/>
          </p:nvSpPr>
          <p:spPr bwMode="auto">
            <a:xfrm>
              <a:off x="239" y="90"/>
              <a:ext cx="129" cy="164"/>
            </a:xfrm>
            <a:custGeom>
              <a:avLst/>
              <a:gdLst>
                <a:gd name="T0" fmla="*/ 129 w 21600"/>
                <a:gd name="T1" fmla="*/ 113 h 21600"/>
                <a:gd name="T2" fmla="*/ 80 w 21600"/>
                <a:gd name="T3" fmla="*/ 65 h 21600"/>
                <a:gd name="T4" fmla="*/ 74 w 21600"/>
                <a:gd name="T5" fmla="*/ 64 h 21600"/>
                <a:gd name="T6" fmla="*/ 46 w 21600"/>
                <a:gd name="T7" fmla="*/ 47 h 21600"/>
                <a:gd name="T8" fmla="*/ 46 w 21600"/>
                <a:gd name="T9" fmla="*/ 46 h 21600"/>
                <a:gd name="T10" fmla="*/ 64 w 21600"/>
                <a:gd name="T11" fmla="*/ 36 h 21600"/>
                <a:gd name="T12" fmla="*/ 95 w 21600"/>
                <a:gd name="T13" fmla="*/ 44 h 21600"/>
                <a:gd name="T14" fmla="*/ 98 w 21600"/>
                <a:gd name="T15" fmla="*/ 47 h 21600"/>
                <a:gd name="T16" fmla="*/ 125 w 21600"/>
                <a:gd name="T17" fmla="*/ 22 h 21600"/>
                <a:gd name="T18" fmla="*/ 124 w 21600"/>
                <a:gd name="T19" fmla="*/ 20 h 21600"/>
                <a:gd name="T20" fmla="*/ 120 w 21600"/>
                <a:gd name="T21" fmla="*/ 18 h 21600"/>
                <a:gd name="T22" fmla="*/ 64 w 21600"/>
                <a:gd name="T23" fmla="*/ 0 h 21600"/>
                <a:gd name="T24" fmla="*/ 8 w 21600"/>
                <a:gd name="T25" fmla="*/ 50 h 21600"/>
                <a:gd name="T26" fmla="*/ 43 w 21600"/>
                <a:gd name="T27" fmla="*/ 94 h 21600"/>
                <a:gd name="T28" fmla="*/ 50 w 21600"/>
                <a:gd name="T29" fmla="*/ 97 h 21600"/>
                <a:gd name="T30" fmla="*/ 60 w 21600"/>
                <a:gd name="T31" fmla="*/ 99 h 21600"/>
                <a:gd name="T32" fmla="*/ 89 w 21600"/>
                <a:gd name="T33" fmla="*/ 117 h 21600"/>
                <a:gd name="T34" fmla="*/ 70 w 21600"/>
                <a:gd name="T35" fmla="*/ 130 h 21600"/>
                <a:gd name="T36" fmla="*/ 31 w 21600"/>
                <a:gd name="T37" fmla="*/ 116 h 21600"/>
                <a:gd name="T38" fmla="*/ 26 w 21600"/>
                <a:gd name="T39" fmla="*/ 112 h 21600"/>
                <a:gd name="T40" fmla="*/ 0 w 21600"/>
                <a:gd name="T41" fmla="*/ 137 h 21600"/>
                <a:gd name="T42" fmla="*/ 1 w 21600"/>
                <a:gd name="T43" fmla="*/ 139 h 21600"/>
                <a:gd name="T44" fmla="*/ 5 w 21600"/>
                <a:gd name="T45" fmla="*/ 141 h 21600"/>
                <a:gd name="T46" fmla="*/ 69 w 21600"/>
                <a:gd name="T47" fmla="*/ 164 h 21600"/>
                <a:gd name="T48" fmla="*/ 129 w 21600"/>
                <a:gd name="T49" fmla="*/ 114 h 21600"/>
                <a:gd name="T50" fmla="*/ 129 w 21600"/>
                <a:gd name="T51" fmla="*/ 113 h 21600"/>
                <a:gd name="T52" fmla="*/ 129 w 21600"/>
                <a:gd name="T53" fmla="*/ 113 h 216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1600"/>
                <a:gd name="T82" fmla="*/ 0 h 21600"/>
                <a:gd name="T83" fmla="*/ 21600 w 21600"/>
                <a:gd name="T84" fmla="*/ 21600 h 216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1600" h="21600">
                  <a:moveTo>
                    <a:pt x="21600" y="14902"/>
                  </a:moveTo>
                  <a:cubicBezTo>
                    <a:pt x="21600" y="11386"/>
                    <a:pt x="18606" y="9712"/>
                    <a:pt x="13473" y="8540"/>
                  </a:cubicBezTo>
                  <a:cubicBezTo>
                    <a:pt x="13259" y="8540"/>
                    <a:pt x="12618" y="8372"/>
                    <a:pt x="12404" y="8372"/>
                  </a:cubicBezTo>
                  <a:cubicBezTo>
                    <a:pt x="8341" y="7535"/>
                    <a:pt x="7699" y="7200"/>
                    <a:pt x="7699" y="6195"/>
                  </a:cubicBezTo>
                  <a:cubicBezTo>
                    <a:pt x="7699" y="6028"/>
                    <a:pt x="7699" y="6028"/>
                    <a:pt x="7699" y="6028"/>
                  </a:cubicBezTo>
                  <a:cubicBezTo>
                    <a:pt x="7699" y="5358"/>
                    <a:pt x="8554" y="4688"/>
                    <a:pt x="10693" y="4688"/>
                  </a:cubicBezTo>
                  <a:cubicBezTo>
                    <a:pt x="12190" y="4688"/>
                    <a:pt x="13901" y="5023"/>
                    <a:pt x="15826" y="5860"/>
                  </a:cubicBezTo>
                  <a:cubicBezTo>
                    <a:pt x="16040" y="6028"/>
                    <a:pt x="16253" y="6028"/>
                    <a:pt x="16467" y="6195"/>
                  </a:cubicBezTo>
                  <a:cubicBezTo>
                    <a:pt x="20958" y="2847"/>
                    <a:pt x="20958" y="2847"/>
                    <a:pt x="20958" y="2847"/>
                  </a:cubicBezTo>
                  <a:cubicBezTo>
                    <a:pt x="20745" y="2679"/>
                    <a:pt x="20745" y="2679"/>
                    <a:pt x="20745" y="2679"/>
                  </a:cubicBezTo>
                  <a:cubicBezTo>
                    <a:pt x="20531" y="2512"/>
                    <a:pt x="20317" y="2512"/>
                    <a:pt x="20103" y="2344"/>
                  </a:cubicBezTo>
                  <a:cubicBezTo>
                    <a:pt x="17537" y="837"/>
                    <a:pt x="14329" y="0"/>
                    <a:pt x="10693" y="0"/>
                  </a:cubicBezTo>
                  <a:cubicBezTo>
                    <a:pt x="5133" y="0"/>
                    <a:pt x="1283" y="2512"/>
                    <a:pt x="1283" y="6530"/>
                  </a:cubicBezTo>
                  <a:cubicBezTo>
                    <a:pt x="1069" y="10047"/>
                    <a:pt x="3636" y="11553"/>
                    <a:pt x="7271" y="12391"/>
                  </a:cubicBezTo>
                  <a:cubicBezTo>
                    <a:pt x="7699" y="12558"/>
                    <a:pt x="7913" y="12558"/>
                    <a:pt x="8341" y="12726"/>
                  </a:cubicBezTo>
                  <a:cubicBezTo>
                    <a:pt x="8768" y="12893"/>
                    <a:pt x="9410" y="12893"/>
                    <a:pt x="10051" y="13060"/>
                  </a:cubicBezTo>
                  <a:cubicBezTo>
                    <a:pt x="14543" y="14065"/>
                    <a:pt x="14970" y="14400"/>
                    <a:pt x="14970" y="15405"/>
                  </a:cubicBezTo>
                  <a:cubicBezTo>
                    <a:pt x="14970" y="16409"/>
                    <a:pt x="13901" y="17079"/>
                    <a:pt x="11762" y="17079"/>
                  </a:cubicBezTo>
                  <a:cubicBezTo>
                    <a:pt x="9196" y="17079"/>
                    <a:pt x="7057" y="16409"/>
                    <a:pt x="5133" y="15237"/>
                  </a:cubicBezTo>
                  <a:cubicBezTo>
                    <a:pt x="4919" y="15070"/>
                    <a:pt x="4705" y="14902"/>
                    <a:pt x="4277" y="14735"/>
                  </a:cubicBezTo>
                  <a:cubicBezTo>
                    <a:pt x="0" y="18084"/>
                    <a:pt x="0" y="18084"/>
                    <a:pt x="0" y="18084"/>
                  </a:cubicBezTo>
                  <a:cubicBezTo>
                    <a:pt x="214" y="18251"/>
                    <a:pt x="214" y="18251"/>
                    <a:pt x="214" y="18251"/>
                  </a:cubicBezTo>
                  <a:cubicBezTo>
                    <a:pt x="428" y="18419"/>
                    <a:pt x="642" y="18419"/>
                    <a:pt x="855" y="18586"/>
                  </a:cubicBezTo>
                  <a:cubicBezTo>
                    <a:pt x="3850" y="20595"/>
                    <a:pt x="7699" y="21600"/>
                    <a:pt x="11549" y="21600"/>
                  </a:cubicBezTo>
                  <a:cubicBezTo>
                    <a:pt x="17323" y="21600"/>
                    <a:pt x="21600" y="19256"/>
                    <a:pt x="21600" y="15070"/>
                  </a:cubicBezTo>
                  <a:lnTo>
                    <a:pt x="21600" y="14902"/>
                  </a:lnTo>
                  <a:close/>
                  <a:moveTo>
                    <a:pt x="21600" y="14902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</p:grpSp>
      <p:grpSp>
        <p:nvGrpSpPr>
          <p:cNvPr id="32" name="Group 31"/>
          <p:cNvGrpSpPr/>
          <p:nvPr userDrawn="1"/>
        </p:nvGrpSpPr>
        <p:grpSpPr>
          <a:xfrm>
            <a:off x="3834879" y="3564294"/>
            <a:ext cx="4935897" cy="2932299"/>
            <a:chOff x="3834879" y="3564294"/>
            <a:chExt cx="4935897" cy="2932299"/>
          </a:xfrm>
          <a:solidFill>
            <a:srgbClr val="003F60">
              <a:alpha val="75000"/>
            </a:srgbClr>
          </a:solidFill>
        </p:grpSpPr>
        <p:sp>
          <p:nvSpPr>
            <p:cNvPr id="33" name="Rectangle 32"/>
            <p:cNvSpPr/>
            <p:nvPr/>
          </p:nvSpPr>
          <p:spPr bwMode="auto">
            <a:xfrm>
              <a:off x="3834882" y="3564294"/>
              <a:ext cx="4935894" cy="13995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34" name="Right Triangle 33"/>
            <p:cNvSpPr/>
            <p:nvPr/>
          </p:nvSpPr>
          <p:spPr bwMode="auto">
            <a:xfrm rot="10800000">
              <a:off x="3834879" y="4963885"/>
              <a:ext cx="3760238" cy="1530220"/>
            </a:xfrm>
            <a:prstGeom prst="rt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7593873" y="4963884"/>
              <a:ext cx="1175658" cy="1532709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</p:grp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12" y="457200"/>
            <a:ext cx="8408987" cy="725300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6713" y="1412532"/>
            <a:ext cx="4151376" cy="350865"/>
          </a:xfrm>
          <a:solidFill>
            <a:srgbClr val="588BA3"/>
          </a:solidFill>
        </p:spPr>
        <p:txBody>
          <a:bodyPr lIns="36576" tIns="36576" rIns="36576" bIns="36576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6713" y="1870946"/>
            <a:ext cx="4151376" cy="1597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4387" y="1412532"/>
            <a:ext cx="4151313" cy="350865"/>
          </a:xfrm>
          <a:solidFill>
            <a:schemeClr val="accent2"/>
          </a:solidFill>
        </p:spPr>
        <p:txBody>
          <a:bodyPr lIns="36576" tIns="36576" rIns="36576" bIns="36576"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4387" y="1881337"/>
            <a:ext cx="4151313" cy="1597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13" y="457200"/>
            <a:ext cx="8408987" cy="785813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 bwMode="auto">
          <a:xfrm>
            <a:off x="350838" y="5986463"/>
            <a:ext cx="8442325" cy="519112"/>
          </a:xfrm>
          <a:prstGeom prst="rect">
            <a:avLst/>
          </a:prstGeom>
          <a:solidFill>
            <a:srgbClr val="939598"/>
          </a:solidFill>
          <a:ln w="12700">
            <a:noFill/>
            <a:miter lim="800000"/>
            <a:headEnd/>
            <a:tailEnd/>
          </a:ln>
        </p:spPr>
        <p:txBody>
          <a:bodyPr lIns="0" tIns="0" rIns="-5080" bIns="0" anchor="ctr"/>
          <a:lstStyle/>
          <a:p>
            <a:pPr algn="ctr" eaLnBrk="0" hangingPunct="0">
              <a:lnSpc>
                <a:spcPct val="90000"/>
              </a:lnSpc>
              <a:spcBef>
                <a:spcPts val="400"/>
              </a:spcBef>
              <a:defRPr/>
            </a:pPr>
            <a:endParaRPr lang="en-US" sz="1400" dirty="0">
              <a:latin typeface="Arial Bold" pitchFamily="34" charset="0"/>
              <a:ea typeface="Gotham Book" charset="0"/>
              <a:cs typeface="Arial Bold" pitchFamily="34" charset="0"/>
              <a:sym typeface="Gotham Book" charset="0"/>
            </a:endParaRPr>
          </a:p>
        </p:txBody>
      </p:sp>
      <p:grpSp>
        <p:nvGrpSpPr>
          <p:cNvPr id="4" name="Group 7"/>
          <p:cNvGrpSpPr>
            <a:grpSpLocks/>
          </p:cNvGrpSpPr>
          <p:nvPr userDrawn="1"/>
        </p:nvGrpSpPr>
        <p:grpSpPr bwMode="auto">
          <a:xfrm>
            <a:off x="352425" y="327025"/>
            <a:ext cx="977900" cy="544513"/>
            <a:chOff x="0" y="0"/>
            <a:chExt cx="616" cy="343"/>
          </a:xfrm>
        </p:grpSpPr>
        <p:sp>
          <p:nvSpPr>
            <p:cNvPr id="5" name="Freeform 3"/>
            <p:cNvSpPr>
              <a:spLocks/>
            </p:cNvSpPr>
            <p:nvPr/>
          </p:nvSpPr>
          <p:spPr bwMode="auto">
            <a:xfrm>
              <a:off x="0" y="0"/>
              <a:ext cx="616" cy="343"/>
            </a:xfrm>
            <a:custGeom>
              <a:avLst/>
              <a:gdLst>
                <a:gd name="T0" fmla="*/ 523 w 21600"/>
                <a:gd name="T1" fmla="*/ 343 h 21600"/>
                <a:gd name="T2" fmla="*/ 616 w 21600"/>
                <a:gd name="T3" fmla="*/ 252 h 21600"/>
                <a:gd name="T4" fmla="*/ 616 w 21600"/>
                <a:gd name="T5" fmla="*/ 0 h 21600"/>
                <a:gd name="T6" fmla="*/ 93 w 21600"/>
                <a:gd name="T7" fmla="*/ 0 h 21600"/>
                <a:gd name="T8" fmla="*/ 0 w 21600"/>
                <a:gd name="T9" fmla="*/ 92 h 21600"/>
                <a:gd name="T10" fmla="*/ 0 w 21600"/>
                <a:gd name="T11" fmla="*/ 343 h 21600"/>
                <a:gd name="T12" fmla="*/ 523 w 21600"/>
                <a:gd name="T13" fmla="*/ 343 h 21600"/>
                <a:gd name="T14" fmla="*/ 523 w 21600"/>
                <a:gd name="T15" fmla="*/ 343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600"/>
                <a:gd name="T25" fmla="*/ 0 h 21600"/>
                <a:gd name="T26" fmla="*/ 21600 w 21600"/>
                <a:gd name="T27" fmla="*/ 21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18330" y="21600"/>
                  </a:moveTo>
                  <a:lnTo>
                    <a:pt x="21600" y="15845"/>
                  </a:lnTo>
                  <a:lnTo>
                    <a:pt x="21600" y="0"/>
                  </a:lnTo>
                  <a:lnTo>
                    <a:pt x="3270" y="0"/>
                  </a:lnTo>
                  <a:lnTo>
                    <a:pt x="0" y="5823"/>
                  </a:lnTo>
                  <a:lnTo>
                    <a:pt x="0" y="21600"/>
                  </a:lnTo>
                  <a:lnTo>
                    <a:pt x="18330" y="21600"/>
                  </a:lnTo>
                  <a:close/>
                  <a:moveTo>
                    <a:pt x="18330" y="21600"/>
                  </a:moveTo>
                </a:path>
              </a:pathLst>
            </a:custGeom>
            <a:solidFill>
              <a:srgbClr val="EE2525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6" name="Freeform 4"/>
            <p:cNvSpPr>
              <a:spLocks/>
            </p:cNvSpPr>
            <p:nvPr/>
          </p:nvSpPr>
          <p:spPr bwMode="auto">
            <a:xfrm>
              <a:off x="75" y="90"/>
              <a:ext cx="150" cy="166"/>
            </a:xfrm>
            <a:custGeom>
              <a:avLst/>
              <a:gdLst>
                <a:gd name="T0" fmla="*/ 124 w 21600"/>
                <a:gd name="T1" fmla="*/ 110 h 21600"/>
                <a:gd name="T2" fmla="*/ 123 w 21600"/>
                <a:gd name="T3" fmla="*/ 111 h 21600"/>
                <a:gd name="T4" fmla="*/ 83 w 21600"/>
                <a:gd name="T5" fmla="*/ 129 h 21600"/>
                <a:gd name="T6" fmla="*/ 55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3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3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2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4 w 21600"/>
                <a:gd name="T33" fmla="*/ 110 h 21600"/>
                <a:gd name="T34" fmla="*/ 124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7908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5877" y="15951"/>
                    <a:pt x="14585" y="16782"/>
                    <a:pt x="12000" y="16782"/>
                  </a:cubicBezTo>
                  <a:cubicBezTo>
                    <a:pt x="10338" y="16782"/>
                    <a:pt x="9046" y="16283"/>
                    <a:pt x="7938" y="15452"/>
                  </a:cubicBezTo>
                  <a:cubicBezTo>
                    <a:pt x="6646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000" y="4652"/>
                  </a:cubicBezTo>
                  <a:cubicBezTo>
                    <a:pt x="14215" y="4652"/>
                    <a:pt x="15692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015" y="1329"/>
                    <a:pt x="16431" y="0"/>
                    <a:pt x="12000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477" y="16948"/>
                    <a:pt x="4062" y="18942"/>
                  </a:cubicBezTo>
                  <a:cubicBezTo>
                    <a:pt x="6092" y="20603"/>
                    <a:pt x="8862" y="21600"/>
                    <a:pt x="11815" y="21600"/>
                  </a:cubicBezTo>
                  <a:cubicBezTo>
                    <a:pt x="16246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7908" y="14289"/>
                  </a:lnTo>
                  <a:close/>
                  <a:moveTo>
                    <a:pt x="17908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386" y="90"/>
              <a:ext cx="150" cy="166"/>
            </a:xfrm>
            <a:custGeom>
              <a:avLst/>
              <a:gdLst>
                <a:gd name="T0" fmla="*/ 126 w 21600"/>
                <a:gd name="T1" fmla="*/ 110 h 21600"/>
                <a:gd name="T2" fmla="*/ 123 w 21600"/>
                <a:gd name="T3" fmla="*/ 111 h 21600"/>
                <a:gd name="T4" fmla="*/ 85 w 21600"/>
                <a:gd name="T5" fmla="*/ 129 h 21600"/>
                <a:gd name="T6" fmla="*/ 56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5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5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3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6 w 21600"/>
                <a:gd name="T33" fmla="*/ 110 h 21600"/>
                <a:gd name="T34" fmla="*/ 126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8092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6062" y="15951"/>
                    <a:pt x="14585" y="16782"/>
                    <a:pt x="12185" y="16782"/>
                  </a:cubicBezTo>
                  <a:cubicBezTo>
                    <a:pt x="10523" y="16782"/>
                    <a:pt x="9046" y="16283"/>
                    <a:pt x="8123" y="15452"/>
                  </a:cubicBezTo>
                  <a:cubicBezTo>
                    <a:pt x="6831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185" y="4652"/>
                  </a:cubicBezTo>
                  <a:cubicBezTo>
                    <a:pt x="14215" y="4652"/>
                    <a:pt x="15877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200" y="1329"/>
                    <a:pt x="16431" y="0"/>
                    <a:pt x="12185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662" y="16948"/>
                    <a:pt x="4062" y="18942"/>
                  </a:cubicBezTo>
                  <a:cubicBezTo>
                    <a:pt x="6092" y="20603"/>
                    <a:pt x="8862" y="21600"/>
                    <a:pt x="12000" y="21600"/>
                  </a:cubicBezTo>
                  <a:cubicBezTo>
                    <a:pt x="16431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8092" y="14289"/>
                  </a:lnTo>
                  <a:close/>
                  <a:moveTo>
                    <a:pt x="18092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239" y="90"/>
              <a:ext cx="129" cy="164"/>
            </a:xfrm>
            <a:custGeom>
              <a:avLst/>
              <a:gdLst>
                <a:gd name="T0" fmla="*/ 129 w 21600"/>
                <a:gd name="T1" fmla="*/ 113 h 21600"/>
                <a:gd name="T2" fmla="*/ 80 w 21600"/>
                <a:gd name="T3" fmla="*/ 65 h 21600"/>
                <a:gd name="T4" fmla="*/ 74 w 21600"/>
                <a:gd name="T5" fmla="*/ 64 h 21600"/>
                <a:gd name="T6" fmla="*/ 46 w 21600"/>
                <a:gd name="T7" fmla="*/ 47 h 21600"/>
                <a:gd name="T8" fmla="*/ 46 w 21600"/>
                <a:gd name="T9" fmla="*/ 46 h 21600"/>
                <a:gd name="T10" fmla="*/ 64 w 21600"/>
                <a:gd name="T11" fmla="*/ 36 h 21600"/>
                <a:gd name="T12" fmla="*/ 95 w 21600"/>
                <a:gd name="T13" fmla="*/ 44 h 21600"/>
                <a:gd name="T14" fmla="*/ 98 w 21600"/>
                <a:gd name="T15" fmla="*/ 47 h 21600"/>
                <a:gd name="T16" fmla="*/ 125 w 21600"/>
                <a:gd name="T17" fmla="*/ 22 h 21600"/>
                <a:gd name="T18" fmla="*/ 124 w 21600"/>
                <a:gd name="T19" fmla="*/ 20 h 21600"/>
                <a:gd name="T20" fmla="*/ 120 w 21600"/>
                <a:gd name="T21" fmla="*/ 18 h 21600"/>
                <a:gd name="T22" fmla="*/ 64 w 21600"/>
                <a:gd name="T23" fmla="*/ 0 h 21600"/>
                <a:gd name="T24" fmla="*/ 8 w 21600"/>
                <a:gd name="T25" fmla="*/ 50 h 21600"/>
                <a:gd name="T26" fmla="*/ 43 w 21600"/>
                <a:gd name="T27" fmla="*/ 94 h 21600"/>
                <a:gd name="T28" fmla="*/ 50 w 21600"/>
                <a:gd name="T29" fmla="*/ 97 h 21600"/>
                <a:gd name="T30" fmla="*/ 60 w 21600"/>
                <a:gd name="T31" fmla="*/ 99 h 21600"/>
                <a:gd name="T32" fmla="*/ 89 w 21600"/>
                <a:gd name="T33" fmla="*/ 117 h 21600"/>
                <a:gd name="T34" fmla="*/ 70 w 21600"/>
                <a:gd name="T35" fmla="*/ 130 h 21600"/>
                <a:gd name="T36" fmla="*/ 31 w 21600"/>
                <a:gd name="T37" fmla="*/ 116 h 21600"/>
                <a:gd name="T38" fmla="*/ 26 w 21600"/>
                <a:gd name="T39" fmla="*/ 112 h 21600"/>
                <a:gd name="T40" fmla="*/ 0 w 21600"/>
                <a:gd name="T41" fmla="*/ 137 h 21600"/>
                <a:gd name="T42" fmla="*/ 1 w 21600"/>
                <a:gd name="T43" fmla="*/ 139 h 21600"/>
                <a:gd name="T44" fmla="*/ 5 w 21600"/>
                <a:gd name="T45" fmla="*/ 141 h 21600"/>
                <a:gd name="T46" fmla="*/ 69 w 21600"/>
                <a:gd name="T47" fmla="*/ 164 h 21600"/>
                <a:gd name="T48" fmla="*/ 129 w 21600"/>
                <a:gd name="T49" fmla="*/ 114 h 21600"/>
                <a:gd name="T50" fmla="*/ 129 w 21600"/>
                <a:gd name="T51" fmla="*/ 113 h 21600"/>
                <a:gd name="T52" fmla="*/ 129 w 21600"/>
                <a:gd name="T53" fmla="*/ 113 h 216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1600"/>
                <a:gd name="T82" fmla="*/ 0 h 21600"/>
                <a:gd name="T83" fmla="*/ 21600 w 21600"/>
                <a:gd name="T84" fmla="*/ 21600 h 216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1600" h="21600">
                  <a:moveTo>
                    <a:pt x="21600" y="14902"/>
                  </a:moveTo>
                  <a:cubicBezTo>
                    <a:pt x="21600" y="11386"/>
                    <a:pt x="18606" y="9712"/>
                    <a:pt x="13473" y="8540"/>
                  </a:cubicBezTo>
                  <a:cubicBezTo>
                    <a:pt x="13259" y="8540"/>
                    <a:pt x="12618" y="8372"/>
                    <a:pt x="12404" y="8372"/>
                  </a:cubicBezTo>
                  <a:cubicBezTo>
                    <a:pt x="8341" y="7535"/>
                    <a:pt x="7699" y="7200"/>
                    <a:pt x="7699" y="6195"/>
                  </a:cubicBezTo>
                  <a:cubicBezTo>
                    <a:pt x="7699" y="6028"/>
                    <a:pt x="7699" y="6028"/>
                    <a:pt x="7699" y="6028"/>
                  </a:cubicBezTo>
                  <a:cubicBezTo>
                    <a:pt x="7699" y="5358"/>
                    <a:pt x="8554" y="4688"/>
                    <a:pt x="10693" y="4688"/>
                  </a:cubicBezTo>
                  <a:cubicBezTo>
                    <a:pt x="12190" y="4688"/>
                    <a:pt x="13901" y="5023"/>
                    <a:pt x="15826" y="5860"/>
                  </a:cubicBezTo>
                  <a:cubicBezTo>
                    <a:pt x="16040" y="6028"/>
                    <a:pt x="16253" y="6028"/>
                    <a:pt x="16467" y="6195"/>
                  </a:cubicBezTo>
                  <a:cubicBezTo>
                    <a:pt x="20958" y="2847"/>
                    <a:pt x="20958" y="2847"/>
                    <a:pt x="20958" y="2847"/>
                  </a:cubicBezTo>
                  <a:cubicBezTo>
                    <a:pt x="20745" y="2679"/>
                    <a:pt x="20745" y="2679"/>
                    <a:pt x="20745" y="2679"/>
                  </a:cubicBezTo>
                  <a:cubicBezTo>
                    <a:pt x="20531" y="2512"/>
                    <a:pt x="20317" y="2512"/>
                    <a:pt x="20103" y="2344"/>
                  </a:cubicBezTo>
                  <a:cubicBezTo>
                    <a:pt x="17537" y="837"/>
                    <a:pt x="14329" y="0"/>
                    <a:pt x="10693" y="0"/>
                  </a:cubicBezTo>
                  <a:cubicBezTo>
                    <a:pt x="5133" y="0"/>
                    <a:pt x="1283" y="2512"/>
                    <a:pt x="1283" y="6530"/>
                  </a:cubicBezTo>
                  <a:cubicBezTo>
                    <a:pt x="1069" y="10047"/>
                    <a:pt x="3636" y="11553"/>
                    <a:pt x="7271" y="12391"/>
                  </a:cubicBezTo>
                  <a:cubicBezTo>
                    <a:pt x="7699" y="12558"/>
                    <a:pt x="7913" y="12558"/>
                    <a:pt x="8341" y="12726"/>
                  </a:cubicBezTo>
                  <a:cubicBezTo>
                    <a:pt x="8768" y="12893"/>
                    <a:pt x="9410" y="12893"/>
                    <a:pt x="10051" y="13060"/>
                  </a:cubicBezTo>
                  <a:cubicBezTo>
                    <a:pt x="14543" y="14065"/>
                    <a:pt x="14970" y="14400"/>
                    <a:pt x="14970" y="15405"/>
                  </a:cubicBezTo>
                  <a:cubicBezTo>
                    <a:pt x="14970" y="16409"/>
                    <a:pt x="13901" y="17079"/>
                    <a:pt x="11762" y="17079"/>
                  </a:cubicBezTo>
                  <a:cubicBezTo>
                    <a:pt x="9196" y="17079"/>
                    <a:pt x="7057" y="16409"/>
                    <a:pt x="5133" y="15237"/>
                  </a:cubicBezTo>
                  <a:cubicBezTo>
                    <a:pt x="4919" y="15070"/>
                    <a:pt x="4705" y="14902"/>
                    <a:pt x="4277" y="14735"/>
                  </a:cubicBezTo>
                  <a:cubicBezTo>
                    <a:pt x="0" y="18084"/>
                    <a:pt x="0" y="18084"/>
                    <a:pt x="0" y="18084"/>
                  </a:cubicBezTo>
                  <a:cubicBezTo>
                    <a:pt x="214" y="18251"/>
                    <a:pt x="214" y="18251"/>
                    <a:pt x="214" y="18251"/>
                  </a:cubicBezTo>
                  <a:cubicBezTo>
                    <a:pt x="428" y="18419"/>
                    <a:pt x="642" y="18419"/>
                    <a:pt x="855" y="18586"/>
                  </a:cubicBezTo>
                  <a:cubicBezTo>
                    <a:pt x="3850" y="20595"/>
                    <a:pt x="7699" y="21600"/>
                    <a:pt x="11549" y="21600"/>
                  </a:cubicBezTo>
                  <a:cubicBezTo>
                    <a:pt x="17323" y="21600"/>
                    <a:pt x="21600" y="19256"/>
                    <a:pt x="21600" y="15070"/>
                  </a:cubicBezTo>
                  <a:lnTo>
                    <a:pt x="21600" y="14902"/>
                  </a:lnTo>
                  <a:close/>
                  <a:moveTo>
                    <a:pt x="21600" y="14902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457200"/>
            <a:ext cx="7175500" cy="785813"/>
          </a:xfrm>
        </p:spPr>
        <p:txBody>
          <a:bodyPr/>
          <a:lstStyle>
            <a:lvl1pPr algn="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13" y="457200"/>
            <a:ext cx="8408987" cy="785813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65760" y="1421078"/>
            <a:ext cx="8434388" cy="1589088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879475"/>
            <a:ext cx="7864475" cy="8524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054100" y="1836738"/>
            <a:ext cx="3865563" cy="43973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72063" y="1836738"/>
            <a:ext cx="3867150" cy="43973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Section and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-14288" y="0"/>
            <a:ext cx="9153526" cy="684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7"/>
          <p:cNvGrpSpPr>
            <a:grpSpLocks/>
          </p:cNvGrpSpPr>
          <p:nvPr userDrawn="1"/>
        </p:nvGrpSpPr>
        <p:grpSpPr bwMode="auto">
          <a:xfrm>
            <a:off x="352425" y="327025"/>
            <a:ext cx="977900" cy="544513"/>
            <a:chOff x="0" y="0"/>
            <a:chExt cx="616" cy="343"/>
          </a:xfrm>
        </p:grpSpPr>
        <p:sp>
          <p:nvSpPr>
            <p:cNvPr id="6" name="Freeform 3"/>
            <p:cNvSpPr>
              <a:spLocks/>
            </p:cNvSpPr>
            <p:nvPr/>
          </p:nvSpPr>
          <p:spPr bwMode="auto">
            <a:xfrm>
              <a:off x="0" y="0"/>
              <a:ext cx="616" cy="343"/>
            </a:xfrm>
            <a:custGeom>
              <a:avLst/>
              <a:gdLst>
                <a:gd name="T0" fmla="*/ 523 w 21600"/>
                <a:gd name="T1" fmla="*/ 343 h 21600"/>
                <a:gd name="T2" fmla="*/ 616 w 21600"/>
                <a:gd name="T3" fmla="*/ 252 h 21600"/>
                <a:gd name="T4" fmla="*/ 616 w 21600"/>
                <a:gd name="T5" fmla="*/ 0 h 21600"/>
                <a:gd name="T6" fmla="*/ 93 w 21600"/>
                <a:gd name="T7" fmla="*/ 0 h 21600"/>
                <a:gd name="T8" fmla="*/ 0 w 21600"/>
                <a:gd name="T9" fmla="*/ 92 h 21600"/>
                <a:gd name="T10" fmla="*/ 0 w 21600"/>
                <a:gd name="T11" fmla="*/ 343 h 21600"/>
                <a:gd name="T12" fmla="*/ 523 w 21600"/>
                <a:gd name="T13" fmla="*/ 343 h 21600"/>
                <a:gd name="T14" fmla="*/ 523 w 21600"/>
                <a:gd name="T15" fmla="*/ 343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600"/>
                <a:gd name="T25" fmla="*/ 0 h 21600"/>
                <a:gd name="T26" fmla="*/ 21600 w 21600"/>
                <a:gd name="T27" fmla="*/ 21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18330" y="21600"/>
                  </a:moveTo>
                  <a:lnTo>
                    <a:pt x="21600" y="15845"/>
                  </a:lnTo>
                  <a:lnTo>
                    <a:pt x="21600" y="0"/>
                  </a:lnTo>
                  <a:lnTo>
                    <a:pt x="3270" y="0"/>
                  </a:lnTo>
                  <a:lnTo>
                    <a:pt x="0" y="5823"/>
                  </a:lnTo>
                  <a:lnTo>
                    <a:pt x="0" y="21600"/>
                  </a:lnTo>
                  <a:lnTo>
                    <a:pt x="18330" y="21600"/>
                  </a:lnTo>
                  <a:close/>
                  <a:moveTo>
                    <a:pt x="18330" y="21600"/>
                  </a:moveTo>
                </a:path>
              </a:pathLst>
            </a:custGeom>
            <a:solidFill>
              <a:srgbClr val="EE2525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7" name="Freeform 4"/>
            <p:cNvSpPr>
              <a:spLocks/>
            </p:cNvSpPr>
            <p:nvPr/>
          </p:nvSpPr>
          <p:spPr bwMode="auto">
            <a:xfrm>
              <a:off x="75" y="90"/>
              <a:ext cx="150" cy="166"/>
            </a:xfrm>
            <a:custGeom>
              <a:avLst/>
              <a:gdLst>
                <a:gd name="T0" fmla="*/ 124 w 21600"/>
                <a:gd name="T1" fmla="*/ 110 h 21600"/>
                <a:gd name="T2" fmla="*/ 123 w 21600"/>
                <a:gd name="T3" fmla="*/ 111 h 21600"/>
                <a:gd name="T4" fmla="*/ 83 w 21600"/>
                <a:gd name="T5" fmla="*/ 129 h 21600"/>
                <a:gd name="T6" fmla="*/ 55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3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3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2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4 w 21600"/>
                <a:gd name="T33" fmla="*/ 110 h 21600"/>
                <a:gd name="T34" fmla="*/ 124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7908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5877" y="15951"/>
                    <a:pt x="14585" y="16782"/>
                    <a:pt x="12000" y="16782"/>
                  </a:cubicBezTo>
                  <a:cubicBezTo>
                    <a:pt x="10338" y="16782"/>
                    <a:pt x="9046" y="16283"/>
                    <a:pt x="7938" y="15452"/>
                  </a:cubicBezTo>
                  <a:cubicBezTo>
                    <a:pt x="6646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000" y="4652"/>
                  </a:cubicBezTo>
                  <a:cubicBezTo>
                    <a:pt x="14215" y="4652"/>
                    <a:pt x="15692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015" y="1329"/>
                    <a:pt x="16431" y="0"/>
                    <a:pt x="12000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477" y="16948"/>
                    <a:pt x="4062" y="18942"/>
                  </a:cubicBezTo>
                  <a:cubicBezTo>
                    <a:pt x="6092" y="20603"/>
                    <a:pt x="8862" y="21600"/>
                    <a:pt x="11815" y="21600"/>
                  </a:cubicBezTo>
                  <a:cubicBezTo>
                    <a:pt x="16246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7908" y="14289"/>
                  </a:lnTo>
                  <a:close/>
                  <a:moveTo>
                    <a:pt x="17908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386" y="90"/>
              <a:ext cx="150" cy="166"/>
            </a:xfrm>
            <a:custGeom>
              <a:avLst/>
              <a:gdLst>
                <a:gd name="T0" fmla="*/ 126 w 21600"/>
                <a:gd name="T1" fmla="*/ 110 h 21600"/>
                <a:gd name="T2" fmla="*/ 123 w 21600"/>
                <a:gd name="T3" fmla="*/ 111 h 21600"/>
                <a:gd name="T4" fmla="*/ 85 w 21600"/>
                <a:gd name="T5" fmla="*/ 129 h 21600"/>
                <a:gd name="T6" fmla="*/ 56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5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5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3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6 w 21600"/>
                <a:gd name="T33" fmla="*/ 110 h 21600"/>
                <a:gd name="T34" fmla="*/ 126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8092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6062" y="15951"/>
                    <a:pt x="14585" y="16782"/>
                    <a:pt x="12185" y="16782"/>
                  </a:cubicBezTo>
                  <a:cubicBezTo>
                    <a:pt x="10523" y="16782"/>
                    <a:pt x="9046" y="16283"/>
                    <a:pt x="8123" y="15452"/>
                  </a:cubicBezTo>
                  <a:cubicBezTo>
                    <a:pt x="6831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185" y="4652"/>
                  </a:cubicBezTo>
                  <a:cubicBezTo>
                    <a:pt x="14215" y="4652"/>
                    <a:pt x="15877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200" y="1329"/>
                    <a:pt x="16431" y="0"/>
                    <a:pt x="12185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662" y="16948"/>
                    <a:pt x="4062" y="18942"/>
                  </a:cubicBezTo>
                  <a:cubicBezTo>
                    <a:pt x="6092" y="20603"/>
                    <a:pt x="8862" y="21600"/>
                    <a:pt x="12000" y="21600"/>
                  </a:cubicBezTo>
                  <a:cubicBezTo>
                    <a:pt x="16431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8092" y="14289"/>
                  </a:lnTo>
                  <a:close/>
                  <a:moveTo>
                    <a:pt x="18092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39" y="90"/>
              <a:ext cx="129" cy="164"/>
            </a:xfrm>
            <a:custGeom>
              <a:avLst/>
              <a:gdLst>
                <a:gd name="T0" fmla="*/ 129 w 21600"/>
                <a:gd name="T1" fmla="*/ 113 h 21600"/>
                <a:gd name="T2" fmla="*/ 80 w 21600"/>
                <a:gd name="T3" fmla="*/ 65 h 21600"/>
                <a:gd name="T4" fmla="*/ 74 w 21600"/>
                <a:gd name="T5" fmla="*/ 64 h 21600"/>
                <a:gd name="T6" fmla="*/ 46 w 21600"/>
                <a:gd name="T7" fmla="*/ 47 h 21600"/>
                <a:gd name="T8" fmla="*/ 46 w 21600"/>
                <a:gd name="T9" fmla="*/ 46 h 21600"/>
                <a:gd name="T10" fmla="*/ 64 w 21600"/>
                <a:gd name="T11" fmla="*/ 36 h 21600"/>
                <a:gd name="T12" fmla="*/ 95 w 21600"/>
                <a:gd name="T13" fmla="*/ 44 h 21600"/>
                <a:gd name="T14" fmla="*/ 98 w 21600"/>
                <a:gd name="T15" fmla="*/ 47 h 21600"/>
                <a:gd name="T16" fmla="*/ 125 w 21600"/>
                <a:gd name="T17" fmla="*/ 22 h 21600"/>
                <a:gd name="T18" fmla="*/ 124 w 21600"/>
                <a:gd name="T19" fmla="*/ 20 h 21600"/>
                <a:gd name="T20" fmla="*/ 120 w 21600"/>
                <a:gd name="T21" fmla="*/ 18 h 21600"/>
                <a:gd name="T22" fmla="*/ 64 w 21600"/>
                <a:gd name="T23" fmla="*/ 0 h 21600"/>
                <a:gd name="T24" fmla="*/ 8 w 21600"/>
                <a:gd name="T25" fmla="*/ 50 h 21600"/>
                <a:gd name="T26" fmla="*/ 43 w 21600"/>
                <a:gd name="T27" fmla="*/ 94 h 21600"/>
                <a:gd name="T28" fmla="*/ 50 w 21600"/>
                <a:gd name="T29" fmla="*/ 97 h 21600"/>
                <a:gd name="T30" fmla="*/ 60 w 21600"/>
                <a:gd name="T31" fmla="*/ 99 h 21600"/>
                <a:gd name="T32" fmla="*/ 89 w 21600"/>
                <a:gd name="T33" fmla="*/ 117 h 21600"/>
                <a:gd name="T34" fmla="*/ 70 w 21600"/>
                <a:gd name="T35" fmla="*/ 130 h 21600"/>
                <a:gd name="T36" fmla="*/ 31 w 21600"/>
                <a:gd name="T37" fmla="*/ 116 h 21600"/>
                <a:gd name="T38" fmla="*/ 26 w 21600"/>
                <a:gd name="T39" fmla="*/ 112 h 21600"/>
                <a:gd name="T40" fmla="*/ 0 w 21600"/>
                <a:gd name="T41" fmla="*/ 137 h 21600"/>
                <a:gd name="T42" fmla="*/ 1 w 21600"/>
                <a:gd name="T43" fmla="*/ 139 h 21600"/>
                <a:gd name="T44" fmla="*/ 5 w 21600"/>
                <a:gd name="T45" fmla="*/ 141 h 21600"/>
                <a:gd name="T46" fmla="*/ 69 w 21600"/>
                <a:gd name="T47" fmla="*/ 164 h 21600"/>
                <a:gd name="T48" fmla="*/ 129 w 21600"/>
                <a:gd name="T49" fmla="*/ 114 h 21600"/>
                <a:gd name="T50" fmla="*/ 129 w 21600"/>
                <a:gd name="T51" fmla="*/ 113 h 21600"/>
                <a:gd name="T52" fmla="*/ 129 w 21600"/>
                <a:gd name="T53" fmla="*/ 113 h 216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1600"/>
                <a:gd name="T82" fmla="*/ 0 h 21600"/>
                <a:gd name="T83" fmla="*/ 21600 w 21600"/>
                <a:gd name="T84" fmla="*/ 21600 h 216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1600" h="21600">
                  <a:moveTo>
                    <a:pt x="21600" y="14902"/>
                  </a:moveTo>
                  <a:cubicBezTo>
                    <a:pt x="21600" y="11386"/>
                    <a:pt x="18606" y="9712"/>
                    <a:pt x="13473" y="8540"/>
                  </a:cubicBezTo>
                  <a:cubicBezTo>
                    <a:pt x="13259" y="8540"/>
                    <a:pt x="12618" y="8372"/>
                    <a:pt x="12404" y="8372"/>
                  </a:cubicBezTo>
                  <a:cubicBezTo>
                    <a:pt x="8341" y="7535"/>
                    <a:pt x="7699" y="7200"/>
                    <a:pt x="7699" y="6195"/>
                  </a:cubicBezTo>
                  <a:cubicBezTo>
                    <a:pt x="7699" y="6028"/>
                    <a:pt x="7699" y="6028"/>
                    <a:pt x="7699" y="6028"/>
                  </a:cubicBezTo>
                  <a:cubicBezTo>
                    <a:pt x="7699" y="5358"/>
                    <a:pt x="8554" y="4688"/>
                    <a:pt x="10693" y="4688"/>
                  </a:cubicBezTo>
                  <a:cubicBezTo>
                    <a:pt x="12190" y="4688"/>
                    <a:pt x="13901" y="5023"/>
                    <a:pt x="15826" y="5860"/>
                  </a:cubicBezTo>
                  <a:cubicBezTo>
                    <a:pt x="16040" y="6028"/>
                    <a:pt x="16253" y="6028"/>
                    <a:pt x="16467" y="6195"/>
                  </a:cubicBezTo>
                  <a:cubicBezTo>
                    <a:pt x="20958" y="2847"/>
                    <a:pt x="20958" y="2847"/>
                    <a:pt x="20958" y="2847"/>
                  </a:cubicBezTo>
                  <a:cubicBezTo>
                    <a:pt x="20745" y="2679"/>
                    <a:pt x="20745" y="2679"/>
                    <a:pt x="20745" y="2679"/>
                  </a:cubicBezTo>
                  <a:cubicBezTo>
                    <a:pt x="20531" y="2512"/>
                    <a:pt x="20317" y="2512"/>
                    <a:pt x="20103" y="2344"/>
                  </a:cubicBezTo>
                  <a:cubicBezTo>
                    <a:pt x="17537" y="837"/>
                    <a:pt x="14329" y="0"/>
                    <a:pt x="10693" y="0"/>
                  </a:cubicBezTo>
                  <a:cubicBezTo>
                    <a:pt x="5133" y="0"/>
                    <a:pt x="1283" y="2512"/>
                    <a:pt x="1283" y="6530"/>
                  </a:cubicBezTo>
                  <a:cubicBezTo>
                    <a:pt x="1069" y="10047"/>
                    <a:pt x="3636" y="11553"/>
                    <a:pt x="7271" y="12391"/>
                  </a:cubicBezTo>
                  <a:cubicBezTo>
                    <a:pt x="7699" y="12558"/>
                    <a:pt x="7913" y="12558"/>
                    <a:pt x="8341" y="12726"/>
                  </a:cubicBezTo>
                  <a:cubicBezTo>
                    <a:pt x="8768" y="12893"/>
                    <a:pt x="9410" y="12893"/>
                    <a:pt x="10051" y="13060"/>
                  </a:cubicBezTo>
                  <a:cubicBezTo>
                    <a:pt x="14543" y="14065"/>
                    <a:pt x="14970" y="14400"/>
                    <a:pt x="14970" y="15405"/>
                  </a:cubicBezTo>
                  <a:cubicBezTo>
                    <a:pt x="14970" y="16409"/>
                    <a:pt x="13901" y="17079"/>
                    <a:pt x="11762" y="17079"/>
                  </a:cubicBezTo>
                  <a:cubicBezTo>
                    <a:pt x="9196" y="17079"/>
                    <a:pt x="7057" y="16409"/>
                    <a:pt x="5133" y="15237"/>
                  </a:cubicBezTo>
                  <a:cubicBezTo>
                    <a:pt x="4919" y="15070"/>
                    <a:pt x="4705" y="14902"/>
                    <a:pt x="4277" y="14735"/>
                  </a:cubicBezTo>
                  <a:cubicBezTo>
                    <a:pt x="0" y="18084"/>
                    <a:pt x="0" y="18084"/>
                    <a:pt x="0" y="18084"/>
                  </a:cubicBezTo>
                  <a:cubicBezTo>
                    <a:pt x="214" y="18251"/>
                    <a:pt x="214" y="18251"/>
                    <a:pt x="214" y="18251"/>
                  </a:cubicBezTo>
                  <a:cubicBezTo>
                    <a:pt x="428" y="18419"/>
                    <a:pt x="642" y="18419"/>
                    <a:pt x="855" y="18586"/>
                  </a:cubicBezTo>
                  <a:cubicBezTo>
                    <a:pt x="3850" y="20595"/>
                    <a:pt x="7699" y="21600"/>
                    <a:pt x="11549" y="21600"/>
                  </a:cubicBezTo>
                  <a:cubicBezTo>
                    <a:pt x="17323" y="21600"/>
                    <a:pt x="21600" y="19256"/>
                    <a:pt x="21600" y="15070"/>
                  </a:cubicBezTo>
                  <a:lnTo>
                    <a:pt x="21600" y="14902"/>
                  </a:lnTo>
                  <a:close/>
                  <a:moveTo>
                    <a:pt x="21600" y="14902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10" name="Text Box 66"/>
          <p:cNvSpPr txBox="1">
            <a:spLocks noChangeArrowheads="1"/>
          </p:cNvSpPr>
          <p:nvPr userDrawn="1"/>
        </p:nvSpPr>
        <p:spPr bwMode="auto">
          <a:xfrm>
            <a:off x="366713" y="6575425"/>
            <a:ext cx="3808412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820738" eaLnBrk="0" hangingPunct="0">
              <a:spcBef>
                <a:spcPct val="50000"/>
              </a:spcBef>
              <a:defRPr/>
            </a:pPr>
            <a:r>
              <a:rPr lang="en-US" sz="1100" dirty="0">
                <a:solidFill>
                  <a:srgbClr val="FFFFFF"/>
                </a:solidFill>
                <a:ea typeface="MS PGothic" pitchFamily="34" charset="-128"/>
                <a:cs typeface="+mn-cs"/>
              </a:rPr>
              <a:t>CSC Proprietary and Confidential</a:t>
            </a: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8426450" y="6599238"/>
            <a:ext cx="36512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E1E03C88-53D4-43FB-9190-C812144A1204}" type="slidenum">
              <a:rPr lang="en-US" sz="1000">
                <a:solidFill>
                  <a:srgbClr val="FFFFFF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‹#›</a:t>
            </a:fld>
            <a:r>
              <a:rPr lang="en-US" sz="1000" dirty="0">
                <a:solidFill>
                  <a:srgbClr val="FFFFFF"/>
                </a:solidFill>
                <a:ea typeface="MS PGothic" pitchFamily="34" charset="-128"/>
                <a:cs typeface="+mn-cs"/>
              </a:rPr>
              <a:t>    </a:t>
            </a:r>
          </a:p>
        </p:txBody>
      </p:sp>
      <p:sp>
        <p:nvSpPr>
          <p:cNvPr id="12" name="Text Box 115"/>
          <p:cNvSpPr txBox="1">
            <a:spLocks noChangeArrowheads="1"/>
          </p:cNvSpPr>
          <p:nvPr userDrawn="1"/>
        </p:nvSpPr>
        <p:spPr bwMode="auto">
          <a:xfrm>
            <a:off x="6564313" y="6599238"/>
            <a:ext cx="182880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03C7D0F0-10D5-4191-B6F4-99306F468FEF}" type="datetime4">
              <a:rPr lang="en-US" sz="1000">
                <a:solidFill>
                  <a:srgbClr val="FFFFFF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December 12, 2012</a:t>
            </a:fld>
            <a:endParaRPr lang="en-US" sz="1000" dirty="0">
              <a:solidFill>
                <a:srgbClr val="FFFFFF"/>
              </a:solidFill>
              <a:ea typeface="MS PGothic" pitchFamily="34" charset="-128"/>
              <a:cs typeface="+mn-cs"/>
            </a:endParaRPr>
          </a:p>
        </p:txBody>
      </p:sp>
      <p:grpSp>
        <p:nvGrpSpPr>
          <p:cNvPr id="13" name="Group 31"/>
          <p:cNvGrpSpPr/>
          <p:nvPr userDrawn="1"/>
        </p:nvGrpSpPr>
        <p:grpSpPr>
          <a:xfrm>
            <a:off x="3834879" y="3564294"/>
            <a:ext cx="4935897" cy="2932299"/>
            <a:chOff x="3834879" y="3564294"/>
            <a:chExt cx="4935897" cy="2932299"/>
          </a:xfrm>
          <a:solidFill>
            <a:srgbClr val="FFCF01">
              <a:alpha val="75000"/>
            </a:srgbClr>
          </a:solidFill>
        </p:grpSpPr>
        <p:sp>
          <p:nvSpPr>
            <p:cNvPr id="14" name="Rectangle 13"/>
            <p:cNvSpPr/>
            <p:nvPr/>
          </p:nvSpPr>
          <p:spPr bwMode="auto">
            <a:xfrm>
              <a:off x="3834882" y="3564294"/>
              <a:ext cx="4935894" cy="13995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5" name="Right Triangle 14"/>
            <p:cNvSpPr/>
            <p:nvPr/>
          </p:nvSpPr>
          <p:spPr bwMode="auto">
            <a:xfrm rot="10800000">
              <a:off x="3834879" y="4963885"/>
              <a:ext cx="3760238" cy="1530220"/>
            </a:xfrm>
            <a:prstGeom prst="rt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7593873" y="4963884"/>
              <a:ext cx="1175658" cy="1532709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2878539" name="Rectangle 75"/>
          <p:cNvSpPr>
            <a:spLocks noGrp="1" noChangeArrowheads="1"/>
          </p:cNvSpPr>
          <p:nvPr>
            <p:ph type="ctrTitle"/>
          </p:nvPr>
        </p:nvSpPr>
        <p:spPr>
          <a:xfrm>
            <a:off x="4013159" y="3697741"/>
            <a:ext cx="4579420" cy="723339"/>
          </a:xfrm>
        </p:spPr>
        <p:txBody>
          <a:bodyPr/>
          <a:lstStyle>
            <a:lvl1pPr algn="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878540" name="Rectangle 76"/>
          <p:cNvSpPr>
            <a:spLocks noGrp="1" noChangeArrowheads="1"/>
          </p:cNvSpPr>
          <p:nvPr>
            <p:ph type="subTitle" idx="1"/>
          </p:nvPr>
        </p:nvSpPr>
        <p:spPr>
          <a:xfrm>
            <a:off x="5233075" y="4595797"/>
            <a:ext cx="3368381" cy="193899"/>
          </a:xfrm>
        </p:spPr>
        <p:txBody>
          <a:bodyPr/>
          <a:lstStyle>
            <a:lvl1pPr marL="0" indent="0" algn="r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Section and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7"/>
          <p:cNvGrpSpPr>
            <a:grpSpLocks/>
          </p:cNvGrpSpPr>
          <p:nvPr userDrawn="1"/>
        </p:nvGrpSpPr>
        <p:grpSpPr bwMode="auto">
          <a:xfrm>
            <a:off x="352425" y="327025"/>
            <a:ext cx="977900" cy="544513"/>
            <a:chOff x="0" y="0"/>
            <a:chExt cx="616" cy="343"/>
          </a:xfrm>
        </p:grpSpPr>
        <p:sp>
          <p:nvSpPr>
            <p:cNvPr id="6" name="Freeform 3"/>
            <p:cNvSpPr>
              <a:spLocks/>
            </p:cNvSpPr>
            <p:nvPr/>
          </p:nvSpPr>
          <p:spPr bwMode="auto">
            <a:xfrm>
              <a:off x="0" y="0"/>
              <a:ext cx="616" cy="343"/>
            </a:xfrm>
            <a:custGeom>
              <a:avLst/>
              <a:gdLst>
                <a:gd name="T0" fmla="*/ 523 w 21600"/>
                <a:gd name="T1" fmla="*/ 343 h 21600"/>
                <a:gd name="T2" fmla="*/ 616 w 21600"/>
                <a:gd name="T3" fmla="*/ 252 h 21600"/>
                <a:gd name="T4" fmla="*/ 616 w 21600"/>
                <a:gd name="T5" fmla="*/ 0 h 21600"/>
                <a:gd name="T6" fmla="*/ 93 w 21600"/>
                <a:gd name="T7" fmla="*/ 0 h 21600"/>
                <a:gd name="T8" fmla="*/ 0 w 21600"/>
                <a:gd name="T9" fmla="*/ 92 h 21600"/>
                <a:gd name="T10" fmla="*/ 0 w 21600"/>
                <a:gd name="T11" fmla="*/ 343 h 21600"/>
                <a:gd name="T12" fmla="*/ 523 w 21600"/>
                <a:gd name="T13" fmla="*/ 343 h 21600"/>
                <a:gd name="T14" fmla="*/ 523 w 21600"/>
                <a:gd name="T15" fmla="*/ 343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600"/>
                <a:gd name="T25" fmla="*/ 0 h 21600"/>
                <a:gd name="T26" fmla="*/ 21600 w 21600"/>
                <a:gd name="T27" fmla="*/ 21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18330" y="21600"/>
                  </a:moveTo>
                  <a:lnTo>
                    <a:pt x="21600" y="15845"/>
                  </a:lnTo>
                  <a:lnTo>
                    <a:pt x="21600" y="0"/>
                  </a:lnTo>
                  <a:lnTo>
                    <a:pt x="3270" y="0"/>
                  </a:lnTo>
                  <a:lnTo>
                    <a:pt x="0" y="5823"/>
                  </a:lnTo>
                  <a:lnTo>
                    <a:pt x="0" y="21600"/>
                  </a:lnTo>
                  <a:lnTo>
                    <a:pt x="18330" y="21600"/>
                  </a:lnTo>
                  <a:close/>
                  <a:moveTo>
                    <a:pt x="18330" y="21600"/>
                  </a:moveTo>
                </a:path>
              </a:pathLst>
            </a:custGeom>
            <a:solidFill>
              <a:srgbClr val="EE2525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7" name="Freeform 4"/>
            <p:cNvSpPr>
              <a:spLocks/>
            </p:cNvSpPr>
            <p:nvPr/>
          </p:nvSpPr>
          <p:spPr bwMode="auto">
            <a:xfrm>
              <a:off x="75" y="90"/>
              <a:ext cx="150" cy="166"/>
            </a:xfrm>
            <a:custGeom>
              <a:avLst/>
              <a:gdLst>
                <a:gd name="T0" fmla="*/ 124 w 21600"/>
                <a:gd name="T1" fmla="*/ 110 h 21600"/>
                <a:gd name="T2" fmla="*/ 123 w 21600"/>
                <a:gd name="T3" fmla="*/ 111 h 21600"/>
                <a:gd name="T4" fmla="*/ 83 w 21600"/>
                <a:gd name="T5" fmla="*/ 129 h 21600"/>
                <a:gd name="T6" fmla="*/ 55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3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3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2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4 w 21600"/>
                <a:gd name="T33" fmla="*/ 110 h 21600"/>
                <a:gd name="T34" fmla="*/ 124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7908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5877" y="15951"/>
                    <a:pt x="14585" y="16782"/>
                    <a:pt x="12000" y="16782"/>
                  </a:cubicBezTo>
                  <a:cubicBezTo>
                    <a:pt x="10338" y="16782"/>
                    <a:pt x="9046" y="16283"/>
                    <a:pt x="7938" y="15452"/>
                  </a:cubicBezTo>
                  <a:cubicBezTo>
                    <a:pt x="6646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000" y="4652"/>
                  </a:cubicBezTo>
                  <a:cubicBezTo>
                    <a:pt x="14215" y="4652"/>
                    <a:pt x="15692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015" y="1329"/>
                    <a:pt x="16431" y="0"/>
                    <a:pt x="12000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477" y="16948"/>
                    <a:pt x="4062" y="18942"/>
                  </a:cubicBezTo>
                  <a:cubicBezTo>
                    <a:pt x="6092" y="20603"/>
                    <a:pt x="8862" y="21600"/>
                    <a:pt x="11815" y="21600"/>
                  </a:cubicBezTo>
                  <a:cubicBezTo>
                    <a:pt x="16246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7908" y="14289"/>
                  </a:lnTo>
                  <a:close/>
                  <a:moveTo>
                    <a:pt x="17908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386" y="90"/>
              <a:ext cx="150" cy="166"/>
            </a:xfrm>
            <a:custGeom>
              <a:avLst/>
              <a:gdLst>
                <a:gd name="T0" fmla="*/ 126 w 21600"/>
                <a:gd name="T1" fmla="*/ 110 h 21600"/>
                <a:gd name="T2" fmla="*/ 123 w 21600"/>
                <a:gd name="T3" fmla="*/ 111 h 21600"/>
                <a:gd name="T4" fmla="*/ 85 w 21600"/>
                <a:gd name="T5" fmla="*/ 129 h 21600"/>
                <a:gd name="T6" fmla="*/ 56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5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5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3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6 w 21600"/>
                <a:gd name="T33" fmla="*/ 110 h 21600"/>
                <a:gd name="T34" fmla="*/ 126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8092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6062" y="15951"/>
                    <a:pt x="14585" y="16782"/>
                    <a:pt x="12185" y="16782"/>
                  </a:cubicBezTo>
                  <a:cubicBezTo>
                    <a:pt x="10523" y="16782"/>
                    <a:pt x="9046" y="16283"/>
                    <a:pt x="8123" y="15452"/>
                  </a:cubicBezTo>
                  <a:cubicBezTo>
                    <a:pt x="6831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185" y="4652"/>
                  </a:cubicBezTo>
                  <a:cubicBezTo>
                    <a:pt x="14215" y="4652"/>
                    <a:pt x="15877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200" y="1329"/>
                    <a:pt x="16431" y="0"/>
                    <a:pt x="12185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662" y="16948"/>
                    <a:pt x="4062" y="18942"/>
                  </a:cubicBezTo>
                  <a:cubicBezTo>
                    <a:pt x="6092" y="20603"/>
                    <a:pt x="8862" y="21600"/>
                    <a:pt x="12000" y="21600"/>
                  </a:cubicBezTo>
                  <a:cubicBezTo>
                    <a:pt x="16431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8092" y="14289"/>
                  </a:lnTo>
                  <a:close/>
                  <a:moveTo>
                    <a:pt x="18092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39" y="90"/>
              <a:ext cx="129" cy="164"/>
            </a:xfrm>
            <a:custGeom>
              <a:avLst/>
              <a:gdLst>
                <a:gd name="T0" fmla="*/ 129 w 21600"/>
                <a:gd name="T1" fmla="*/ 113 h 21600"/>
                <a:gd name="T2" fmla="*/ 80 w 21600"/>
                <a:gd name="T3" fmla="*/ 65 h 21600"/>
                <a:gd name="T4" fmla="*/ 74 w 21600"/>
                <a:gd name="T5" fmla="*/ 64 h 21600"/>
                <a:gd name="T6" fmla="*/ 46 w 21600"/>
                <a:gd name="T7" fmla="*/ 47 h 21600"/>
                <a:gd name="T8" fmla="*/ 46 w 21600"/>
                <a:gd name="T9" fmla="*/ 46 h 21600"/>
                <a:gd name="T10" fmla="*/ 64 w 21600"/>
                <a:gd name="T11" fmla="*/ 36 h 21600"/>
                <a:gd name="T12" fmla="*/ 95 w 21600"/>
                <a:gd name="T13" fmla="*/ 44 h 21600"/>
                <a:gd name="T14" fmla="*/ 98 w 21600"/>
                <a:gd name="T15" fmla="*/ 47 h 21600"/>
                <a:gd name="T16" fmla="*/ 125 w 21600"/>
                <a:gd name="T17" fmla="*/ 22 h 21600"/>
                <a:gd name="T18" fmla="*/ 124 w 21600"/>
                <a:gd name="T19" fmla="*/ 20 h 21600"/>
                <a:gd name="T20" fmla="*/ 120 w 21600"/>
                <a:gd name="T21" fmla="*/ 18 h 21600"/>
                <a:gd name="T22" fmla="*/ 64 w 21600"/>
                <a:gd name="T23" fmla="*/ 0 h 21600"/>
                <a:gd name="T24" fmla="*/ 8 w 21600"/>
                <a:gd name="T25" fmla="*/ 50 h 21600"/>
                <a:gd name="T26" fmla="*/ 43 w 21600"/>
                <a:gd name="T27" fmla="*/ 94 h 21600"/>
                <a:gd name="T28" fmla="*/ 50 w 21600"/>
                <a:gd name="T29" fmla="*/ 97 h 21600"/>
                <a:gd name="T30" fmla="*/ 60 w 21600"/>
                <a:gd name="T31" fmla="*/ 99 h 21600"/>
                <a:gd name="T32" fmla="*/ 89 w 21600"/>
                <a:gd name="T33" fmla="*/ 117 h 21600"/>
                <a:gd name="T34" fmla="*/ 70 w 21600"/>
                <a:gd name="T35" fmla="*/ 130 h 21600"/>
                <a:gd name="T36" fmla="*/ 31 w 21600"/>
                <a:gd name="T37" fmla="*/ 116 h 21600"/>
                <a:gd name="T38" fmla="*/ 26 w 21600"/>
                <a:gd name="T39" fmla="*/ 112 h 21600"/>
                <a:gd name="T40" fmla="*/ 0 w 21600"/>
                <a:gd name="T41" fmla="*/ 137 h 21600"/>
                <a:gd name="T42" fmla="*/ 1 w 21600"/>
                <a:gd name="T43" fmla="*/ 139 h 21600"/>
                <a:gd name="T44" fmla="*/ 5 w 21600"/>
                <a:gd name="T45" fmla="*/ 141 h 21600"/>
                <a:gd name="T46" fmla="*/ 69 w 21600"/>
                <a:gd name="T47" fmla="*/ 164 h 21600"/>
                <a:gd name="T48" fmla="*/ 129 w 21600"/>
                <a:gd name="T49" fmla="*/ 114 h 21600"/>
                <a:gd name="T50" fmla="*/ 129 w 21600"/>
                <a:gd name="T51" fmla="*/ 113 h 21600"/>
                <a:gd name="T52" fmla="*/ 129 w 21600"/>
                <a:gd name="T53" fmla="*/ 113 h 216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1600"/>
                <a:gd name="T82" fmla="*/ 0 h 21600"/>
                <a:gd name="T83" fmla="*/ 21600 w 21600"/>
                <a:gd name="T84" fmla="*/ 21600 h 216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1600" h="21600">
                  <a:moveTo>
                    <a:pt x="21600" y="14902"/>
                  </a:moveTo>
                  <a:cubicBezTo>
                    <a:pt x="21600" y="11386"/>
                    <a:pt x="18606" y="9712"/>
                    <a:pt x="13473" y="8540"/>
                  </a:cubicBezTo>
                  <a:cubicBezTo>
                    <a:pt x="13259" y="8540"/>
                    <a:pt x="12618" y="8372"/>
                    <a:pt x="12404" y="8372"/>
                  </a:cubicBezTo>
                  <a:cubicBezTo>
                    <a:pt x="8341" y="7535"/>
                    <a:pt x="7699" y="7200"/>
                    <a:pt x="7699" y="6195"/>
                  </a:cubicBezTo>
                  <a:cubicBezTo>
                    <a:pt x="7699" y="6028"/>
                    <a:pt x="7699" y="6028"/>
                    <a:pt x="7699" y="6028"/>
                  </a:cubicBezTo>
                  <a:cubicBezTo>
                    <a:pt x="7699" y="5358"/>
                    <a:pt x="8554" y="4688"/>
                    <a:pt x="10693" y="4688"/>
                  </a:cubicBezTo>
                  <a:cubicBezTo>
                    <a:pt x="12190" y="4688"/>
                    <a:pt x="13901" y="5023"/>
                    <a:pt x="15826" y="5860"/>
                  </a:cubicBezTo>
                  <a:cubicBezTo>
                    <a:pt x="16040" y="6028"/>
                    <a:pt x="16253" y="6028"/>
                    <a:pt x="16467" y="6195"/>
                  </a:cubicBezTo>
                  <a:cubicBezTo>
                    <a:pt x="20958" y="2847"/>
                    <a:pt x="20958" y="2847"/>
                    <a:pt x="20958" y="2847"/>
                  </a:cubicBezTo>
                  <a:cubicBezTo>
                    <a:pt x="20745" y="2679"/>
                    <a:pt x="20745" y="2679"/>
                    <a:pt x="20745" y="2679"/>
                  </a:cubicBezTo>
                  <a:cubicBezTo>
                    <a:pt x="20531" y="2512"/>
                    <a:pt x="20317" y="2512"/>
                    <a:pt x="20103" y="2344"/>
                  </a:cubicBezTo>
                  <a:cubicBezTo>
                    <a:pt x="17537" y="837"/>
                    <a:pt x="14329" y="0"/>
                    <a:pt x="10693" y="0"/>
                  </a:cubicBezTo>
                  <a:cubicBezTo>
                    <a:pt x="5133" y="0"/>
                    <a:pt x="1283" y="2512"/>
                    <a:pt x="1283" y="6530"/>
                  </a:cubicBezTo>
                  <a:cubicBezTo>
                    <a:pt x="1069" y="10047"/>
                    <a:pt x="3636" y="11553"/>
                    <a:pt x="7271" y="12391"/>
                  </a:cubicBezTo>
                  <a:cubicBezTo>
                    <a:pt x="7699" y="12558"/>
                    <a:pt x="7913" y="12558"/>
                    <a:pt x="8341" y="12726"/>
                  </a:cubicBezTo>
                  <a:cubicBezTo>
                    <a:pt x="8768" y="12893"/>
                    <a:pt x="9410" y="12893"/>
                    <a:pt x="10051" y="13060"/>
                  </a:cubicBezTo>
                  <a:cubicBezTo>
                    <a:pt x="14543" y="14065"/>
                    <a:pt x="14970" y="14400"/>
                    <a:pt x="14970" y="15405"/>
                  </a:cubicBezTo>
                  <a:cubicBezTo>
                    <a:pt x="14970" y="16409"/>
                    <a:pt x="13901" y="17079"/>
                    <a:pt x="11762" y="17079"/>
                  </a:cubicBezTo>
                  <a:cubicBezTo>
                    <a:pt x="9196" y="17079"/>
                    <a:pt x="7057" y="16409"/>
                    <a:pt x="5133" y="15237"/>
                  </a:cubicBezTo>
                  <a:cubicBezTo>
                    <a:pt x="4919" y="15070"/>
                    <a:pt x="4705" y="14902"/>
                    <a:pt x="4277" y="14735"/>
                  </a:cubicBezTo>
                  <a:cubicBezTo>
                    <a:pt x="0" y="18084"/>
                    <a:pt x="0" y="18084"/>
                    <a:pt x="0" y="18084"/>
                  </a:cubicBezTo>
                  <a:cubicBezTo>
                    <a:pt x="214" y="18251"/>
                    <a:pt x="214" y="18251"/>
                    <a:pt x="214" y="18251"/>
                  </a:cubicBezTo>
                  <a:cubicBezTo>
                    <a:pt x="428" y="18419"/>
                    <a:pt x="642" y="18419"/>
                    <a:pt x="855" y="18586"/>
                  </a:cubicBezTo>
                  <a:cubicBezTo>
                    <a:pt x="3850" y="20595"/>
                    <a:pt x="7699" y="21600"/>
                    <a:pt x="11549" y="21600"/>
                  </a:cubicBezTo>
                  <a:cubicBezTo>
                    <a:pt x="17323" y="21600"/>
                    <a:pt x="21600" y="19256"/>
                    <a:pt x="21600" y="15070"/>
                  </a:cubicBezTo>
                  <a:lnTo>
                    <a:pt x="21600" y="14902"/>
                  </a:lnTo>
                  <a:close/>
                  <a:moveTo>
                    <a:pt x="21600" y="14902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10" name="Text Box 66"/>
          <p:cNvSpPr txBox="1">
            <a:spLocks noChangeArrowheads="1"/>
          </p:cNvSpPr>
          <p:nvPr userDrawn="1"/>
        </p:nvSpPr>
        <p:spPr bwMode="auto">
          <a:xfrm>
            <a:off x="366713" y="6575425"/>
            <a:ext cx="3808412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defTabSz="820738" eaLnBrk="0" hangingPunct="0">
              <a:spcBef>
                <a:spcPct val="50000"/>
              </a:spcBef>
              <a:defRPr/>
            </a:pPr>
            <a:r>
              <a:rPr lang="en-US" sz="1100" dirty="0">
                <a:solidFill>
                  <a:srgbClr val="FFFFFF"/>
                </a:solidFill>
                <a:ea typeface="MS PGothic" pitchFamily="34" charset="-128"/>
                <a:cs typeface="+mn-cs"/>
              </a:rPr>
              <a:t>CSC Proprietary and Confidential</a:t>
            </a: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8426450" y="6599238"/>
            <a:ext cx="36512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5FF8E2C3-C090-403E-8571-1006450214F5}" type="slidenum">
              <a:rPr lang="en-US" sz="1000">
                <a:solidFill>
                  <a:srgbClr val="FFFFFF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‹#›</a:t>
            </a:fld>
            <a:r>
              <a:rPr lang="en-US" sz="1000" dirty="0">
                <a:solidFill>
                  <a:srgbClr val="FFFFFF"/>
                </a:solidFill>
                <a:ea typeface="MS PGothic" pitchFamily="34" charset="-128"/>
                <a:cs typeface="+mn-cs"/>
              </a:rPr>
              <a:t>    </a:t>
            </a:r>
          </a:p>
        </p:txBody>
      </p:sp>
      <p:sp>
        <p:nvSpPr>
          <p:cNvPr id="12" name="Text Box 115"/>
          <p:cNvSpPr txBox="1">
            <a:spLocks noChangeArrowheads="1"/>
          </p:cNvSpPr>
          <p:nvPr userDrawn="1"/>
        </p:nvSpPr>
        <p:spPr bwMode="auto">
          <a:xfrm>
            <a:off x="6564313" y="6599238"/>
            <a:ext cx="182880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03C7D0F0-10D5-4191-B6F4-99306F468FEF}" type="datetime4">
              <a:rPr lang="en-US" sz="1000">
                <a:solidFill>
                  <a:srgbClr val="FFFFFF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December 12, 2012</a:t>
            </a:fld>
            <a:endParaRPr lang="en-US" sz="1000" dirty="0">
              <a:solidFill>
                <a:srgbClr val="FFFFFF"/>
              </a:solidFill>
              <a:ea typeface="MS PGothic" pitchFamily="34" charset="-128"/>
              <a:cs typeface="+mn-cs"/>
            </a:endParaRPr>
          </a:p>
        </p:txBody>
      </p:sp>
      <p:grpSp>
        <p:nvGrpSpPr>
          <p:cNvPr id="13" name="Group 31"/>
          <p:cNvGrpSpPr/>
          <p:nvPr userDrawn="1"/>
        </p:nvGrpSpPr>
        <p:grpSpPr>
          <a:xfrm rot="10800000" flipH="1">
            <a:off x="3818706" y="3564294"/>
            <a:ext cx="4959535" cy="2932299"/>
            <a:chOff x="3826196" y="3564294"/>
            <a:chExt cx="4944580" cy="2932299"/>
          </a:xfrm>
          <a:solidFill>
            <a:srgbClr val="850057">
              <a:alpha val="75000"/>
            </a:srgbClr>
          </a:solidFill>
        </p:grpSpPr>
        <p:sp>
          <p:nvSpPr>
            <p:cNvPr id="14" name="Rectangle 13"/>
            <p:cNvSpPr/>
            <p:nvPr/>
          </p:nvSpPr>
          <p:spPr bwMode="auto">
            <a:xfrm>
              <a:off x="3834882" y="3564294"/>
              <a:ext cx="4935894" cy="13995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5" name="Right Triangle 14"/>
            <p:cNvSpPr/>
            <p:nvPr/>
          </p:nvSpPr>
          <p:spPr bwMode="auto">
            <a:xfrm rot="10800000">
              <a:off x="3826196" y="4963885"/>
              <a:ext cx="3760238" cy="1530220"/>
            </a:xfrm>
            <a:prstGeom prst="rt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7593873" y="4963884"/>
              <a:ext cx="1175658" cy="1532709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2878540" name="Rectangle 76"/>
          <p:cNvSpPr>
            <a:spLocks noGrp="1" noChangeArrowheads="1"/>
          </p:cNvSpPr>
          <p:nvPr>
            <p:ph type="subTitle" idx="1"/>
          </p:nvPr>
        </p:nvSpPr>
        <p:spPr>
          <a:xfrm>
            <a:off x="5221660" y="5893374"/>
            <a:ext cx="3368381" cy="193899"/>
          </a:xfrm>
        </p:spPr>
        <p:txBody>
          <a:bodyPr/>
          <a:lstStyle>
            <a:lvl1pPr marL="0" indent="0" algn="r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878539" name="Rectangle 75"/>
          <p:cNvSpPr>
            <a:spLocks noGrp="1" noChangeArrowheads="1"/>
          </p:cNvSpPr>
          <p:nvPr>
            <p:ph type="ctrTitle"/>
          </p:nvPr>
        </p:nvSpPr>
        <p:spPr>
          <a:xfrm>
            <a:off x="3988090" y="5108530"/>
            <a:ext cx="4579420" cy="723339"/>
          </a:xfrm>
        </p:spPr>
        <p:txBody>
          <a:bodyPr/>
          <a:lstStyle>
            <a:lvl1pPr algn="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and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4763" y="4763"/>
            <a:ext cx="9134475" cy="684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7"/>
          <p:cNvGrpSpPr>
            <a:grpSpLocks/>
          </p:cNvGrpSpPr>
          <p:nvPr userDrawn="1"/>
        </p:nvGrpSpPr>
        <p:grpSpPr bwMode="auto">
          <a:xfrm>
            <a:off x="352425" y="327025"/>
            <a:ext cx="977900" cy="544513"/>
            <a:chOff x="0" y="0"/>
            <a:chExt cx="616" cy="343"/>
          </a:xfrm>
        </p:grpSpPr>
        <p:sp>
          <p:nvSpPr>
            <p:cNvPr id="6" name="Freeform 3"/>
            <p:cNvSpPr>
              <a:spLocks/>
            </p:cNvSpPr>
            <p:nvPr/>
          </p:nvSpPr>
          <p:spPr bwMode="auto">
            <a:xfrm>
              <a:off x="0" y="0"/>
              <a:ext cx="616" cy="343"/>
            </a:xfrm>
            <a:custGeom>
              <a:avLst/>
              <a:gdLst>
                <a:gd name="T0" fmla="*/ 523 w 21600"/>
                <a:gd name="T1" fmla="*/ 343 h 21600"/>
                <a:gd name="T2" fmla="*/ 616 w 21600"/>
                <a:gd name="T3" fmla="*/ 252 h 21600"/>
                <a:gd name="T4" fmla="*/ 616 w 21600"/>
                <a:gd name="T5" fmla="*/ 0 h 21600"/>
                <a:gd name="T6" fmla="*/ 93 w 21600"/>
                <a:gd name="T7" fmla="*/ 0 h 21600"/>
                <a:gd name="T8" fmla="*/ 0 w 21600"/>
                <a:gd name="T9" fmla="*/ 92 h 21600"/>
                <a:gd name="T10" fmla="*/ 0 w 21600"/>
                <a:gd name="T11" fmla="*/ 343 h 21600"/>
                <a:gd name="T12" fmla="*/ 523 w 21600"/>
                <a:gd name="T13" fmla="*/ 343 h 21600"/>
                <a:gd name="T14" fmla="*/ 523 w 21600"/>
                <a:gd name="T15" fmla="*/ 343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600"/>
                <a:gd name="T25" fmla="*/ 0 h 21600"/>
                <a:gd name="T26" fmla="*/ 21600 w 21600"/>
                <a:gd name="T27" fmla="*/ 21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18330" y="21600"/>
                  </a:moveTo>
                  <a:lnTo>
                    <a:pt x="21600" y="15845"/>
                  </a:lnTo>
                  <a:lnTo>
                    <a:pt x="21600" y="0"/>
                  </a:lnTo>
                  <a:lnTo>
                    <a:pt x="3270" y="0"/>
                  </a:lnTo>
                  <a:lnTo>
                    <a:pt x="0" y="5823"/>
                  </a:lnTo>
                  <a:lnTo>
                    <a:pt x="0" y="21600"/>
                  </a:lnTo>
                  <a:lnTo>
                    <a:pt x="18330" y="21600"/>
                  </a:lnTo>
                  <a:close/>
                  <a:moveTo>
                    <a:pt x="18330" y="21600"/>
                  </a:moveTo>
                </a:path>
              </a:pathLst>
            </a:custGeom>
            <a:solidFill>
              <a:srgbClr val="EE2525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7" name="Freeform 4"/>
            <p:cNvSpPr>
              <a:spLocks/>
            </p:cNvSpPr>
            <p:nvPr/>
          </p:nvSpPr>
          <p:spPr bwMode="auto">
            <a:xfrm>
              <a:off x="75" y="90"/>
              <a:ext cx="150" cy="166"/>
            </a:xfrm>
            <a:custGeom>
              <a:avLst/>
              <a:gdLst>
                <a:gd name="T0" fmla="*/ 124 w 21600"/>
                <a:gd name="T1" fmla="*/ 110 h 21600"/>
                <a:gd name="T2" fmla="*/ 123 w 21600"/>
                <a:gd name="T3" fmla="*/ 111 h 21600"/>
                <a:gd name="T4" fmla="*/ 83 w 21600"/>
                <a:gd name="T5" fmla="*/ 129 h 21600"/>
                <a:gd name="T6" fmla="*/ 55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3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3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2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4 w 21600"/>
                <a:gd name="T33" fmla="*/ 110 h 21600"/>
                <a:gd name="T34" fmla="*/ 124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7908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5877" y="15951"/>
                    <a:pt x="14585" y="16782"/>
                    <a:pt x="12000" y="16782"/>
                  </a:cubicBezTo>
                  <a:cubicBezTo>
                    <a:pt x="10338" y="16782"/>
                    <a:pt x="9046" y="16283"/>
                    <a:pt x="7938" y="15452"/>
                  </a:cubicBezTo>
                  <a:cubicBezTo>
                    <a:pt x="6646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000" y="4652"/>
                  </a:cubicBezTo>
                  <a:cubicBezTo>
                    <a:pt x="14215" y="4652"/>
                    <a:pt x="15692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015" y="1329"/>
                    <a:pt x="16431" y="0"/>
                    <a:pt x="12000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477" y="16948"/>
                    <a:pt x="4062" y="18942"/>
                  </a:cubicBezTo>
                  <a:cubicBezTo>
                    <a:pt x="6092" y="20603"/>
                    <a:pt x="8862" y="21600"/>
                    <a:pt x="11815" y="21600"/>
                  </a:cubicBezTo>
                  <a:cubicBezTo>
                    <a:pt x="16246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7908" y="14289"/>
                  </a:lnTo>
                  <a:close/>
                  <a:moveTo>
                    <a:pt x="17908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386" y="90"/>
              <a:ext cx="150" cy="166"/>
            </a:xfrm>
            <a:custGeom>
              <a:avLst/>
              <a:gdLst>
                <a:gd name="T0" fmla="*/ 126 w 21600"/>
                <a:gd name="T1" fmla="*/ 110 h 21600"/>
                <a:gd name="T2" fmla="*/ 123 w 21600"/>
                <a:gd name="T3" fmla="*/ 111 h 21600"/>
                <a:gd name="T4" fmla="*/ 85 w 21600"/>
                <a:gd name="T5" fmla="*/ 129 h 21600"/>
                <a:gd name="T6" fmla="*/ 56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5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5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3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6 w 21600"/>
                <a:gd name="T33" fmla="*/ 110 h 21600"/>
                <a:gd name="T34" fmla="*/ 126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8092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6062" y="15951"/>
                    <a:pt x="14585" y="16782"/>
                    <a:pt x="12185" y="16782"/>
                  </a:cubicBezTo>
                  <a:cubicBezTo>
                    <a:pt x="10523" y="16782"/>
                    <a:pt x="9046" y="16283"/>
                    <a:pt x="8123" y="15452"/>
                  </a:cubicBezTo>
                  <a:cubicBezTo>
                    <a:pt x="6831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185" y="4652"/>
                  </a:cubicBezTo>
                  <a:cubicBezTo>
                    <a:pt x="14215" y="4652"/>
                    <a:pt x="15877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200" y="1329"/>
                    <a:pt x="16431" y="0"/>
                    <a:pt x="12185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662" y="16948"/>
                    <a:pt x="4062" y="18942"/>
                  </a:cubicBezTo>
                  <a:cubicBezTo>
                    <a:pt x="6092" y="20603"/>
                    <a:pt x="8862" y="21600"/>
                    <a:pt x="12000" y="21600"/>
                  </a:cubicBezTo>
                  <a:cubicBezTo>
                    <a:pt x="16431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8092" y="14289"/>
                  </a:lnTo>
                  <a:close/>
                  <a:moveTo>
                    <a:pt x="18092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39" y="90"/>
              <a:ext cx="129" cy="164"/>
            </a:xfrm>
            <a:custGeom>
              <a:avLst/>
              <a:gdLst>
                <a:gd name="T0" fmla="*/ 129 w 21600"/>
                <a:gd name="T1" fmla="*/ 113 h 21600"/>
                <a:gd name="T2" fmla="*/ 80 w 21600"/>
                <a:gd name="T3" fmla="*/ 65 h 21600"/>
                <a:gd name="T4" fmla="*/ 74 w 21600"/>
                <a:gd name="T5" fmla="*/ 64 h 21600"/>
                <a:gd name="T6" fmla="*/ 46 w 21600"/>
                <a:gd name="T7" fmla="*/ 47 h 21600"/>
                <a:gd name="T8" fmla="*/ 46 w 21600"/>
                <a:gd name="T9" fmla="*/ 46 h 21600"/>
                <a:gd name="T10" fmla="*/ 64 w 21600"/>
                <a:gd name="T11" fmla="*/ 36 h 21600"/>
                <a:gd name="T12" fmla="*/ 95 w 21600"/>
                <a:gd name="T13" fmla="*/ 44 h 21600"/>
                <a:gd name="T14" fmla="*/ 98 w 21600"/>
                <a:gd name="T15" fmla="*/ 47 h 21600"/>
                <a:gd name="T16" fmla="*/ 125 w 21600"/>
                <a:gd name="T17" fmla="*/ 22 h 21600"/>
                <a:gd name="T18" fmla="*/ 124 w 21600"/>
                <a:gd name="T19" fmla="*/ 20 h 21600"/>
                <a:gd name="T20" fmla="*/ 120 w 21600"/>
                <a:gd name="T21" fmla="*/ 18 h 21600"/>
                <a:gd name="T22" fmla="*/ 64 w 21600"/>
                <a:gd name="T23" fmla="*/ 0 h 21600"/>
                <a:gd name="T24" fmla="*/ 8 w 21600"/>
                <a:gd name="T25" fmla="*/ 50 h 21600"/>
                <a:gd name="T26" fmla="*/ 43 w 21600"/>
                <a:gd name="T27" fmla="*/ 94 h 21600"/>
                <a:gd name="T28" fmla="*/ 50 w 21600"/>
                <a:gd name="T29" fmla="*/ 97 h 21600"/>
                <a:gd name="T30" fmla="*/ 60 w 21600"/>
                <a:gd name="T31" fmla="*/ 99 h 21600"/>
                <a:gd name="T32" fmla="*/ 89 w 21600"/>
                <a:gd name="T33" fmla="*/ 117 h 21600"/>
                <a:gd name="T34" fmla="*/ 70 w 21600"/>
                <a:gd name="T35" fmla="*/ 130 h 21600"/>
                <a:gd name="T36" fmla="*/ 31 w 21600"/>
                <a:gd name="T37" fmla="*/ 116 h 21600"/>
                <a:gd name="T38" fmla="*/ 26 w 21600"/>
                <a:gd name="T39" fmla="*/ 112 h 21600"/>
                <a:gd name="T40" fmla="*/ 0 w 21600"/>
                <a:gd name="T41" fmla="*/ 137 h 21600"/>
                <a:gd name="T42" fmla="*/ 1 w 21600"/>
                <a:gd name="T43" fmla="*/ 139 h 21600"/>
                <a:gd name="T44" fmla="*/ 5 w 21600"/>
                <a:gd name="T45" fmla="*/ 141 h 21600"/>
                <a:gd name="T46" fmla="*/ 69 w 21600"/>
                <a:gd name="T47" fmla="*/ 164 h 21600"/>
                <a:gd name="T48" fmla="*/ 129 w 21600"/>
                <a:gd name="T49" fmla="*/ 114 h 21600"/>
                <a:gd name="T50" fmla="*/ 129 w 21600"/>
                <a:gd name="T51" fmla="*/ 113 h 21600"/>
                <a:gd name="T52" fmla="*/ 129 w 21600"/>
                <a:gd name="T53" fmla="*/ 113 h 216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1600"/>
                <a:gd name="T82" fmla="*/ 0 h 21600"/>
                <a:gd name="T83" fmla="*/ 21600 w 21600"/>
                <a:gd name="T84" fmla="*/ 21600 h 216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1600" h="21600">
                  <a:moveTo>
                    <a:pt x="21600" y="14902"/>
                  </a:moveTo>
                  <a:cubicBezTo>
                    <a:pt x="21600" y="11386"/>
                    <a:pt x="18606" y="9712"/>
                    <a:pt x="13473" y="8540"/>
                  </a:cubicBezTo>
                  <a:cubicBezTo>
                    <a:pt x="13259" y="8540"/>
                    <a:pt x="12618" y="8372"/>
                    <a:pt x="12404" y="8372"/>
                  </a:cubicBezTo>
                  <a:cubicBezTo>
                    <a:pt x="8341" y="7535"/>
                    <a:pt x="7699" y="7200"/>
                    <a:pt x="7699" y="6195"/>
                  </a:cubicBezTo>
                  <a:cubicBezTo>
                    <a:pt x="7699" y="6028"/>
                    <a:pt x="7699" y="6028"/>
                    <a:pt x="7699" y="6028"/>
                  </a:cubicBezTo>
                  <a:cubicBezTo>
                    <a:pt x="7699" y="5358"/>
                    <a:pt x="8554" y="4688"/>
                    <a:pt x="10693" y="4688"/>
                  </a:cubicBezTo>
                  <a:cubicBezTo>
                    <a:pt x="12190" y="4688"/>
                    <a:pt x="13901" y="5023"/>
                    <a:pt x="15826" y="5860"/>
                  </a:cubicBezTo>
                  <a:cubicBezTo>
                    <a:pt x="16040" y="6028"/>
                    <a:pt x="16253" y="6028"/>
                    <a:pt x="16467" y="6195"/>
                  </a:cubicBezTo>
                  <a:cubicBezTo>
                    <a:pt x="20958" y="2847"/>
                    <a:pt x="20958" y="2847"/>
                    <a:pt x="20958" y="2847"/>
                  </a:cubicBezTo>
                  <a:cubicBezTo>
                    <a:pt x="20745" y="2679"/>
                    <a:pt x="20745" y="2679"/>
                    <a:pt x="20745" y="2679"/>
                  </a:cubicBezTo>
                  <a:cubicBezTo>
                    <a:pt x="20531" y="2512"/>
                    <a:pt x="20317" y="2512"/>
                    <a:pt x="20103" y="2344"/>
                  </a:cubicBezTo>
                  <a:cubicBezTo>
                    <a:pt x="17537" y="837"/>
                    <a:pt x="14329" y="0"/>
                    <a:pt x="10693" y="0"/>
                  </a:cubicBezTo>
                  <a:cubicBezTo>
                    <a:pt x="5133" y="0"/>
                    <a:pt x="1283" y="2512"/>
                    <a:pt x="1283" y="6530"/>
                  </a:cubicBezTo>
                  <a:cubicBezTo>
                    <a:pt x="1069" y="10047"/>
                    <a:pt x="3636" y="11553"/>
                    <a:pt x="7271" y="12391"/>
                  </a:cubicBezTo>
                  <a:cubicBezTo>
                    <a:pt x="7699" y="12558"/>
                    <a:pt x="7913" y="12558"/>
                    <a:pt x="8341" y="12726"/>
                  </a:cubicBezTo>
                  <a:cubicBezTo>
                    <a:pt x="8768" y="12893"/>
                    <a:pt x="9410" y="12893"/>
                    <a:pt x="10051" y="13060"/>
                  </a:cubicBezTo>
                  <a:cubicBezTo>
                    <a:pt x="14543" y="14065"/>
                    <a:pt x="14970" y="14400"/>
                    <a:pt x="14970" y="15405"/>
                  </a:cubicBezTo>
                  <a:cubicBezTo>
                    <a:pt x="14970" y="16409"/>
                    <a:pt x="13901" y="17079"/>
                    <a:pt x="11762" y="17079"/>
                  </a:cubicBezTo>
                  <a:cubicBezTo>
                    <a:pt x="9196" y="17079"/>
                    <a:pt x="7057" y="16409"/>
                    <a:pt x="5133" y="15237"/>
                  </a:cubicBezTo>
                  <a:cubicBezTo>
                    <a:pt x="4919" y="15070"/>
                    <a:pt x="4705" y="14902"/>
                    <a:pt x="4277" y="14735"/>
                  </a:cubicBezTo>
                  <a:cubicBezTo>
                    <a:pt x="0" y="18084"/>
                    <a:pt x="0" y="18084"/>
                    <a:pt x="0" y="18084"/>
                  </a:cubicBezTo>
                  <a:cubicBezTo>
                    <a:pt x="214" y="18251"/>
                    <a:pt x="214" y="18251"/>
                    <a:pt x="214" y="18251"/>
                  </a:cubicBezTo>
                  <a:cubicBezTo>
                    <a:pt x="428" y="18419"/>
                    <a:pt x="642" y="18419"/>
                    <a:pt x="855" y="18586"/>
                  </a:cubicBezTo>
                  <a:cubicBezTo>
                    <a:pt x="3850" y="20595"/>
                    <a:pt x="7699" y="21600"/>
                    <a:pt x="11549" y="21600"/>
                  </a:cubicBezTo>
                  <a:cubicBezTo>
                    <a:pt x="17323" y="21600"/>
                    <a:pt x="21600" y="19256"/>
                    <a:pt x="21600" y="15070"/>
                  </a:cubicBezTo>
                  <a:lnTo>
                    <a:pt x="21600" y="14902"/>
                  </a:lnTo>
                  <a:close/>
                  <a:moveTo>
                    <a:pt x="21600" y="14902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10" name="Text Box 116"/>
          <p:cNvSpPr txBox="1">
            <a:spLocks noChangeArrowheads="1"/>
          </p:cNvSpPr>
          <p:nvPr userDrawn="1"/>
        </p:nvSpPr>
        <p:spPr bwMode="auto">
          <a:xfrm>
            <a:off x="4151313" y="6584950"/>
            <a:ext cx="2179637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820738" eaLnBrk="0" hangingPunct="0">
              <a:spcBef>
                <a:spcPct val="50000"/>
              </a:spcBef>
              <a:defRPr/>
            </a:pPr>
            <a:r>
              <a:rPr lang="en-US" sz="1100" dirty="0">
                <a:solidFill>
                  <a:srgbClr val="777777"/>
                </a:solidFill>
                <a:ea typeface="MS PGothic" pitchFamily="34" charset="-128"/>
                <a:cs typeface="+mn-cs"/>
              </a:rPr>
              <a:t>CSC Proprietary and Confidential</a:t>
            </a: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8426450" y="6599238"/>
            <a:ext cx="36512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5F5CE64A-2121-48C2-A558-A7477FBBD440}" type="slidenum">
              <a:rPr lang="en-US" sz="1000">
                <a:solidFill>
                  <a:srgbClr val="777777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‹#›</a:t>
            </a:fld>
            <a:r>
              <a:rPr lang="en-US" sz="1000" dirty="0">
                <a:solidFill>
                  <a:srgbClr val="777777"/>
                </a:solidFill>
                <a:ea typeface="MS PGothic" pitchFamily="34" charset="-128"/>
                <a:cs typeface="+mn-cs"/>
              </a:rPr>
              <a:t>    </a:t>
            </a:r>
          </a:p>
        </p:txBody>
      </p:sp>
      <p:sp>
        <p:nvSpPr>
          <p:cNvPr id="12" name="Text Box 115"/>
          <p:cNvSpPr txBox="1">
            <a:spLocks noChangeArrowheads="1"/>
          </p:cNvSpPr>
          <p:nvPr userDrawn="1"/>
        </p:nvSpPr>
        <p:spPr bwMode="auto">
          <a:xfrm>
            <a:off x="6564313" y="6599238"/>
            <a:ext cx="182880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03C7D0F0-10D5-4191-B6F4-99306F468FEF}" type="datetime4">
              <a:rPr lang="en-US" sz="1000">
                <a:solidFill>
                  <a:srgbClr val="777777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December 12, 2012</a:t>
            </a:fld>
            <a:endParaRPr lang="en-US" sz="1000" dirty="0">
              <a:solidFill>
                <a:srgbClr val="777777"/>
              </a:solidFill>
              <a:ea typeface="MS PGothic" pitchFamily="34" charset="-128"/>
              <a:cs typeface="+mn-cs"/>
            </a:endParaRPr>
          </a:p>
        </p:txBody>
      </p:sp>
      <p:grpSp>
        <p:nvGrpSpPr>
          <p:cNvPr id="13" name="Group 31"/>
          <p:cNvGrpSpPr/>
          <p:nvPr userDrawn="1"/>
        </p:nvGrpSpPr>
        <p:grpSpPr>
          <a:xfrm rot="10800000" flipH="1">
            <a:off x="3836124" y="3564293"/>
            <a:ext cx="4933406" cy="2932299"/>
            <a:chOff x="3834879" y="3564294"/>
            <a:chExt cx="4935897" cy="2932299"/>
          </a:xfrm>
          <a:solidFill>
            <a:srgbClr val="588BA3">
              <a:alpha val="75000"/>
            </a:srgbClr>
          </a:solidFill>
        </p:grpSpPr>
        <p:sp>
          <p:nvSpPr>
            <p:cNvPr id="14" name="Rectangle 13"/>
            <p:cNvSpPr/>
            <p:nvPr/>
          </p:nvSpPr>
          <p:spPr bwMode="auto">
            <a:xfrm>
              <a:off x="3834882" y="3564294"/>
              <a:ext cx="4935894" cy="13995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5" name="Right Triangle 14"/>
            <p:cNvSpPr/>
            <p:nvPr/>
          </p:nvSpPr>
          <p:spPr bwMode="auto">
            <a:xfrm rot="10800000">
              <a:off x="3834879" y="4963885"/>
              <a:ext cx="3760238" cy="1530220"/>
            </a:xfrm>
            <a:prstGeom prst="rt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7593873" y="4963884"/>
              <a:ext cx="1175658" cy="1532709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24" name="Rectangle 75"/>
          <p:cNvSpPr>
            <a:spLocks noGrp="1" noChangeArrowheads="1"/>
          </p:cNvSpPr>
          <p:nvPr>
            <p:ph type="ctrTitle"/>
          </p:nvPr>
        </p:nvSpPr>
        <p:spPr>
          <a:xfrm>
            <a:off x="3761129" y="5106296"/>
            <a:ext cx="4746968" cy="626400"/>
          </a:xfrm>
        </p:spPr>
        <p:txBody>
          <a:bodyPr/>
          <a:lstStyle>
            <a:lvl1pPr algn="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5" name="Rectangle 76"/>
          <p:cNvSpPr>
            <a:spLocks noGrp="1" noChangeArrowheads="1"/>
          </p:cNvSpPr>
          <p:nvPr>
            <p:ph type="subTitle" idx="1"/>
          </p:nvPr>
        </p:nvSpPr>
        <p:spPr>
          <a:xfrm>
            <a:off x="5025353" y="5901798"/>
            <a:ext cx="3491621" cy="193899"/>
          </a:xfrm>
        </p:spPr>
        <p:txBody>
          <a:bodyPr/>
          <a:lstStyle>
            <a:lvl1pPr marL="0" indent="0" algn="r">
              <a:spcBef>
                <a:spcPts val="400"/>
              </a:spcBef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ection and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1" y="0"/>
            <a:ext cx="9144001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7"/>
          <p:cNvGrpSpPr>
            <a:grpSpLocks/>
          </p:cNvGrpSpPr>
          <p:nvPr userDrawn="1"/>
        </p:nvGrpSpPr>
        <p:grpSpPr bwMode="auto">
          <a:xfrm>
            <a:off x="352425" y="327025"/>
            <a:ext cx="977900" cy="544513"/>
            <a:chOff x="0" y="0"/>
            <a:chExt cx="616" cy="343"/>
          </a:xfrm>
        </p:grpSpPr>
        <p:sp>
          <p:nvSpPr>
            <p:cNvPr id="6" name="Freeform 3"/>
            <p:cNvSpPr>
              <a:spLocks/>
            </p:cNvSpPr>
            <p:nvPr/>
          </p:nvSpPr>
          <p:spPr bwMode="auto">
            <a:xfrm>
              <a:off x="0" y="0"/>
              <a:ext cx="616" cy="343"/>
            </a:xfrm>
            <a:custGeom>
              <a:avLst/>
              <a:gdLst>
                <a:gd name="T0" fmla="*/ 523 w 21600"/>
                <a:gd name="T1" fmla="*/ 343 h 21600"/>
                <a:gd name="T2" fmla="*/ 616 w 21600"/>
                <a:gd name="T3" fmla="*/ 252 h 21600"/>
                <a:gd name="T4" fmla="*/ 616 w 21600"/>
                <a:gd name="T5" fmla="*/ 0 h 21600"/>
                <a:gd name="T6" fmla="*/ 93 w 21600"/>
                <a:gd name="T7" fmla="*/ 0 h 21600"/>
                <a:gd name="T8" fmla="*/ 0 w 21600"/>
                <a:gd name="T9" fmla="*/ 92 h 21600"/>
                <a:gd name="T10" fmla="*/ 0 w 21600"/>
                <a:gd name="T11" fmla="*/ 343 h 21600"/>
                <a:gd name="T12" fmla="*/ 523 w 21600"/>
                <a:gd name="T13" fmla="*/ 343 h 21600"/>
                <a:gd name="T14" fmla="*/ 523 w 21600"/>
                <a:gd name="T15" fmla="*/ 343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600"/>
                <a:gd name="T25" fmla="*/ 0 h 21600"/>
                <a:gd name="T26" fmla="*/ 21600 w 21600"/>
                <a:gd name="T27" fmla="*/ 21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18330" y="21600"/>
                  </a:moveTo>
                  <a:lnTo>
                    <a:pt x="21600" y="15845"/>
                  </a:lnTo>
                  <a:lnTo>
                    <a:pt x="21600" y="0"/>
                  </a:lnTo>
                  <a:lnTo>
                    <a:pt x="3270" y="0"/>
                  </a:lnTo>
                  <a:lnTo>
                    <a:pt x="0" y="5823"/>
                  </a:lnTo>
                  <a:lnTo>
                    <a:pt x="0" y="21600"/>
                  </a:lnTo>
                  <a:lnTo>
                    <a:pt x="18330" y="21600"/>
                  </a:lnTo>
                  <a:close/>
                  <a:moveTo>
                    <a:pt x="18330" y="21600"/>
                  </a:moveTo>
                </a:path>
              </a:pathLst>
            </a:custGeom>
            <a:solidFill>
              <a:srgbClr val="EE2525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7" name="Freeform 4"/>
            <p:cNvSpPr>
              <a:spLocks/>
            </p:cNvSpPr>
            <p:nvPr/>
          </p:nvSpPr>
          <p:spPr bwMode="auto">
            <a:xfrm>
              <a:off x="75" y="90"/>
              <a:ext cx="150" cy="166"/>
            </a:xfrm>
            <a:custGeom>
              <a:avLst/>
              <a:gdLst>
                <a:gd name="T0" fmla="*/ 124 w 21600"/>
                <a:gd name="T1" fmla="*/ 110 h 21600"/>
                <a:gd name="T2" fmla="*/ 123 w 21600"/>
                <a:gd name="T3" fmla="*/ 111 h 21600"/>
                <a:gd name="T4" fmla="*/ 83 w 21600"/>
                <a:gd name="T5" fmla="*/ 129 h 21600"/>
                <a:gd name="T6" fmla="*/ 55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3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3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2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4 w 21600"/>
                <a:gd name="T33" fmla="*/ 110 h 21600"/>
                <a:gd name="T34" fmla="*/ 124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7908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5877" y="15951"/>
                    <a:pt x="14585" y="16782"/>
                    <a:pt x="12000" y="16782"/>
                  </a:cubicBezTo>
                  <a:cubicBezTo>
                    <a:pt x="10338" y="16782"/>
                    <a:pt x="9046" y="16283"/>
                    <a:pt x="7938" y="15452"/>
                  </a:cubicBezTo>
                  <a:cubicBezTo>
                    <a:pt x="6646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000" y="4652"/>
                  </a:cubicBezTo>
                  <a:cubicBezTo>
                    <a:pt x="14215" y="4652"/>
                    <a:pt x="15692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015" y="1329"/>
                    <a:pt x="16431" y="0"/>
                    <a:pt x="12000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477" y="16948"/>
                    <a:pt x="4062" y="18942"/>
                  </a:cubicBezTo>
                  <a:cubicBezTo>
                    <a:pt x="6092" y="20603"/>
                    <a:pt x="8862" y="21600"/>
                    <a:pt x="11815" y="21600"/>
                  </a:cubicBezTo>
                  <a:cubicBezTo>
                    <a:pt x="16246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7908" y="14289"/>
                  </a:lnTo>
                  <a:close/>
                  <a:moveTo>
                    <a:pt x="17908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386" y="90"/>
              <a:ext cx="150" cy="166"/>
            </a:xfrm>
            <a:custGeom>
              <a:avLst/>
              <a:gdLst>
                <a:gd name="T0" fmla="*/ 126 w 21600"/>
                <a:gd name="T1" fmla="*/ 110 h 21600"/>
                <a:gd name="T2" fmla="*/ 123 w 21600"/>
                <a:gd name="T3" fmla="*/ 111 h 21600"/>
                <a:gd name="T4" fmla="*/ 85 w 21600"/>
                <a:gd name="T5" fmla="*/ 129 h 21600"/>
                <a:gd name="T6" fmla="*/ 56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5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5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3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6 w 21600"/>
                <a:gd name="T33" fmla="*/ 110 h 21600"/>
                <a:gd name="T34" fmla="*/ 126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8092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6062" y="15951"/>
                    <a:pt x="14585" y="16782"/>
                    <a:pt x="12185" y="16782"/>
                  </a:cubicBezTo>
                  <a:cubicBezTo>
                    <a:pt x="10523" y="16782"/>
                    <a:pt x="9046" y="16283"/>
                    <a:pt x="8123" y="15452"/>
                  </a:cubicBezTo>
                  <a:cubicBezTo>
                    <a:pt x="6831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185" y="4652"/>
                  </a:cubicBezTo>
                  <a:cubicBezTo>
                    <a:pt x="14215" y="4652"/>
                    <a:pt x="15877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200" y="1329"/>
                    <a:pt x="16431" y="0"/>
                    <a:pt x="12185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662" y="16948"/>
                    <a:pt x="4062" y="18942"/>
                  </a:cubicBezTo>
                  <a:cubicBezTo>
                    <a:pt x="6092" y="20603"/>
                    <a:pt x="8862" y="21600"/>
                    <a:pt x="12000" y="21600"/>
                  </a:cubicBezTo>
                  <a:cubicBezTo>
                    <a:pt x="16431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8092" y="14289"/>
                  </a:lnTo>
                  <a:close/>
                  <a:moveTo>
                    <a:pt x="18092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39" y="90"/>
              <a:ext cx="129" cy="164"/>
            </a:xfrm>
            <a:custGeom>
              <a:avLst/>
              <a:gdLst>
                <a:gd name="T0" fmla="*/ 129 w 21600"/>
                <a:gd name="T1" fmla="*/ 113 h 21600"/>
                <a:gd name="T2" fmla="*/ 80 w 21600"/>
                <a:gd name="T3" fmla="*/ 65 h 21600"/>
                <a:gd name="T4" fmla="*/ 74 w 21600"/>
                <a:gd name="T5" fmla="*/ 64 h 21600"/>
                <a:gd name="T6" fmla="*/ 46 w 21600"/>
                <a:gd name="T7" fmla="*/ 47 h 21600"/>
                <a:gd name="T8" fmla="*/ 46 w 21600"/>
                <a:gd name="T9" fmla="*/ 46 h 21600"/>
                <a:gd name="T10" fmla="*/ 64 w 21600"/>
                <a:gd name="T11" fmla="*/ 36 h 21600"/>
                <a:gd name="T12" fmla="*/ 95 w 21600"/>
                <a:gd name="T13" fmla="*/ 44 h 21600"/>
                <a:gd name="T14" fmla="*/ 98 w 21600"/>
                <a:gd name="T15" fmla="*/ 47 h 21600"/>
                <a:gd name="T16" fmla="*/ 125 w 21600"/>
                <a:gd name="T17" fmla="*/ 22 h 21600"/>
                <a:gd name="T18" fmla="*/ 124 w 21600"/>
                <a:gd name="T19" fmla="*/ 20 h 21600"/>
                <a:gd name="T20" fmla="*/ 120 w 21600"/>
                <a:gd name="T21" fmla="*/ 18 h 21600"/>
                <a:gd name="T22" fmla="*/ 64 w 21600"/>
                <a:gd name="T23" fmla="*/ 0 h 21600"/>
                <a:gd name="T24" fmla="*/ 8 w 21600"/>
                <a:gd name="T25" fmla="*/ 50 h 21600"/>
                <a:gd name="T26" fmla="*/ 43 w 21600"/>
                <a:gd name="T27" fmla="*/ 94 h 21600"/>
                <a:gd name="T28" fmla="*/ 50 w 21600"/>
                <a:gd name="T29" fmla="*/ 97 h 21600"/>
                <a:gd name="T30" fmla="*/ 60 w 21600"/>
                <a:gd name="T31" fmla="*/ 99 h 21600"/>
                <a:gd name="T32" fmla="*/ 89 w 21600"/>
                <a:gd name="T33" fmla="*/ 117 h 21600"/>
                <a:gd name="T34" fmla="*/ 70 w 21600"/>
                <a:gd name="T35" fmla="*/ 130 h 21600"/>
                <a:gd name="T36" fmla="*/ 31 w 21600"/>
                <a:gd name="T37" fmla="*/ 116 h 21600"/>
                <a:gd name="T38" fmla="*/ 26 w 21600"/>
                <a:gd name="T39" fmla="*/ 112 h 21600"/>
                <a:gd name="T40" fmla="*/ 0 w 21600"/>
                <a:gd name="T41" fmla="*/ 137 h 21600"/>
                <a:gd name="T42" fmla="*/ 1 w 21600"/>
                <a:gd name="T43" fmla="*/ 139 h 21600"/>
                <a:gd name="T44" fmla="*/ 5 w 21600"/>
                <a:gd name="T45" fmla="*/ 141 h 21600"/>
                <a:gd name="T46" fmla="*/ 69 w 21600"/>
                <a:gd name="T47" fmla="*/ 164 h 21600"/>
                <a:gd name="T48" fmla="*/ 129 w 21600"/>
                <a:gd name="T49" fmla="*/ 114 h 21600"/>
                <a:gd name="T50" fmla="*/ 129 w 21600"/>
                <a:gd name="T51" fmla="*/ 113 h 21600"/>
                <a:gd name="T52" fmla="*/ 129 w 21600"/>
                <a:gd name="T53" fmla="*/ 113 h 216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1600"/>
                <a:gd name="T82" fmla="*/ 0 h 21600"/>
                <a:gd name="T83" fmla="*/ 21600 w 21600"/>
                <a:gd name="T84" fmla="*/ 21600 h 216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1600" h="21600">
                  <a:moveTo>
                    <a:pt x="21600" y="14902"/>
                  </a:moveTo>
                  <a:cubicBezTo>
                    <a:pt x="21600" y="11386"/>
                    <a:pt x="18606" y="9712"/>
                    <a:pt x="13473" y="8540"/>
                  </a:cubicBezTo>
                  <a:cubicBezTo>
                    <a:pt x="13259" y="8540"/>
                    <a:pt x="12618" y="8372"/>
                    <a:pt x="12404" y="8372"/>
                  </a:cubicBezTo>
                  <a:cubicBezTo>
                    <a:pt x="8341" y="7535"/>
                    <a:pt x="7699" y="7200"/>
                    <a:pt x="7699" y="6195"/>
                  </a:cubicBezTo>
                  <a:cubicBezTo>
                    <a:pt x="7699" y="6028"/>
                    <a:pt x="7699" y="6028"/>
                    <a:pt x="7699" y="6028"/>
                  </a:cubicBezTo>
                  <a:cubicBezTo>
                    <a:pt x="7699" y="5358"/>
                    <a:pt x="8554" y="4688"/>
                    <a:pt x="10693" y="4688"/>
                  </a:cubicBezTo>
                  <a:cubicBezTo>
                    <a:pt x="12190" y="4688"/>
                    <a:pt x="13901" y="5023"/>
                    <a:pt x="15826" y="5860"/>
                  </a:cubicBezTo>
                  <a:cubicBezTo>
                    <a:pt x="16040" y="6028"/>
                    <a:pt x="16253" y="6028"/>
                    <a:pt x="16467" y="6195"/>
                  </a:cubicBezTo>
                  <a:cubicBezTo>
                    <a:pt x="20958" y="2847"/>
                    <a:pt x="20958" y="2847"/>
                    <a:pt x="20958" y="2847"/>
                  </a:cubicBezTo>
                  <a:cubicBezTo>
                    <a:pt x="20745" y="2679"/>
                    <a:pt x="20745" y="2679"/>
                    <a:pt x="20745" y="2679"/>
                  </a:cubicBezTo>
                  <a:cubicBezTo>
                    <a:pt x="20531" y="2512"/>
                    <a:pt x="20317" y="2512"/>
                    <a:pt x="20103" y="2344"/>
                  </a:cubicBezTo>
                  <a:cubicBezTo>
                    <a:pt x="17537" y="837"/>
                    <a:pt x="14329" y="0"/>
                    <a:pt x="10693" y="0"/>
                  </a:cubicBezTo>
                  <a:cubicBezTo>
                    <a:pt x="5133" y="0"/>
                    <a:pt x="1283" y="2512"/>
                    <a:pt x="1283" y="6530"/>
                  </a:cubicBezTo>
                  <a:cubicBezTo>
                    <a:pt x="1069" y="10047"/>
                    <a:pt x="3636" y="11553"/>
                    <a:pt x="7271" y="12391"/>
                  </a:cubicBezTo>
                  <a:cubicBezTo>
                    <a:pt x="7699" y="12558"/>
                    <a:pt x="7913" y="12558"/>
                    <a:pt x="8341" y="12726"/>
                  </a:cubicBezTo>
                  <a:cubicBezTo>
                    <a:pt x="8768" y="12893"/>
                    <a:pt x="9410" y="12893"/>
                    <a:pt x="10051" y="13060"/>
                  </a:cubicBezTo>
                  <a:cubicBezTo>
                    <a:pt x="14543" y="14065"/>
                    <a:pt x="14970" y="14400"/>
                    <a:pt x="14970" y="15405"/>
                  </a:cubicBezTo>
                  <a:cubicBezTo>
                    <a:pt x="14970" y="16409"/>
                    <a:pt x="13901" y="17079"/>
                    <a:pt x="11762" y="17079"/>
                  </a:cubicBezTo>
                  <a:cubicBezTo>
                    <a:pt x="9196" y="17079"/>
                    <a:pt x="7057" y="16409"/>
                    <a:pt x="5133" y="15237"/>
                  </a:cubicBezTo>
                  <a:cubicBezTo>
                    <a:pt x="4919" y="15070"/>
                    <a:pt x="4705" y="14902"/>
                    <a:pt x="4277" y="14735"/>
                  </a:cubicBezTo>
                  <a:cubicBezTo>
                    <a:pt x="0" y="18084"/>
                    <a:pt x="0" y="18084"/>
                    <a:pt x="0" y="18084"/>
                  </a:cubicBezTo>
                  <a:cubicBezTo>
                    <a:pt x="214" y="18251"/>
                    <a:pt x="214" y="18251"/>
                    <a:pt x="214" y="18251"/>
                  </a:cubicBezTo>
                  <a:cubicBezTo>
                    <a:pt x="428" y="18419"/>
                    <a:pt x="642" y="18419"/>
                    <a:pt x="855" y="18586"/>
                  </a:cubicBezTo>
                  <a:cubicBezTo>
                    <a:pt x="3850" y="20595"/>
                    <a:pt x="7699" y="21600"/>
                    <a:pt x="11549" y="21600"/>
                  </a:cubicBezTo>
                  <a:cubicBezTo>
                    <a:pt x="17323" y="21600"/>
                    <a:pt x="21600" y="19256"/>
                    <a:pt x="21600" y="15070"/>
                  </a:cubicBezTo>
                  <a:lnTo>
                    <a:pt x="21600" y="14902"/>
                  </a:lnTo>
                  <a:close/>
                  <a:moveTo>
                    <a:pt x="21600" y="14902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10" name="Text Box 66"/>
          <p:cNvSpPr txBox="1">
            <a:spLocks noChangeArrowheads="1"/>
          </p:cNvSpPr>
          <p:nvPr userDrawn="1"/>
        </p:nvSpPr>
        <p:spPr bwMode="auto">
          <a:xfrm>
            <a:off x="366713" y="6575425"/>
            <a:ext cx="3808412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820738" eaLnBrk="0" hangingPunct="0">
              <a:spcBef>
                <a:spcPct val="50000"/>
              </a:spcBef>
              <a:defRPr/>
            </a:pPr>
            <a:r>
              <a:rPr lang="en-US" sz="1100" dirty="0">
                <a:solidFill>
                  <a:srgbClr val="FFFFFF"/>
                </a:solidFill>
                <a:ea typeface="MS PGothic" pitchFamily="34" charset="-128"/>
                <a:cs typeface="+mn-cs"/>
              </a:rPr>
              <a:t>CSC Proprietary and Confidential</a:t>
            </a: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8426450" y="6599238"/>
            <a:ext cx="36512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223E9A29-C8E6-4973-A75D-83B856313740}" type="slidenum">
              <a:rPr lang="en-US" sz="1000">
                <a:solidFill>
                  <a:srgbClr val="FFFFFF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‹#›</a:t>
            </a:fld>
            <a:r>
              <a:rPr lang="en-US" sz="1000" dirty="0">
                <a:solidFill>
                  <a:srgbClr val="FFFFFF"/>
                </a:solidFill>
                <a:ea typeface="MS PGothic" pitchFamily="34" charset="-128"/>
                <a:cs typeface="+mn-cs"/>
              </a:rPr>
              <a:t>    </a:t>
            </a:r>
          </a:p>
        </p:txBody>
      </p:sp>
      <p:sp>
        <p:nvSpPr>
          <p:cNvPr id="12" name="Text Box 115"/>
          <p:cNvSpPr txBox="1">
            <a:spLocks noChangeArrowheads="1"/>
          </p:cNvSpPr>
          <p:nvPr userDrawn="1"/>
        </p:nvSpPr>
        <p:spPr bwMode="auto">
          <a:xfrm>
            <a:off x="6564313" y="6599238"/>
            <a:ext cx="182880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03C7D0F0-10D5-4191-B6F4-99306F468FEF}" type="datetime4">
              <a:rPr lang="en-US" sz="1000">
                <a:solidFill>
                  <a:srgbClr val="FFFFFF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December 12, 2012</a:t>
            </a:fld>
            <a:endParaRPr lang="en-US" sz="1000" dirty="0">
              <a:solidFill>
                <a:srgbClr val="FFFFFF"/>
              </a:solidFill>
              <a:ea typeface="MS PGothic" pitchFamily="34" charset="-128"/>
              <a:cs typeface="+mn-cs"/>
            </a:endParaRPr>
          </a:p>
        </p:txBody>
      </p:sp>
      <p:grpSp>
        <p:nvGrpSpPr>
          <p:cNvPr id="13" name="Group 18"/>
          <p:cNvGrpSpPr/>
          <p:nvPr userDrawn="1"/>
        </p:nvGrpSpPr>
        <p:grpSpPr>
          <a:xfrm rot="10800000" flipH="1">
            <a:off x="3823605" y="3564293"/>
            <a:ext cx="4958444" cy="2932299"/>
            <a:chOff x="3834879" y="3564294"/>
            <a:chExt cx="4935897" cy="2932299"/>
          </a:xfrm>
          <a:solidFill>
            <a:srgbClr val="88BA41">
              <a:alpha val="75000"/>
            </a:srgbClr>
          </a:solidFill>
        </p:grpSpPr>
        <p:sp>
          <p:nvSpPr>
            <p:cNvPr id="16" name="Rectangle 15"/>
            <p:cNvSpPr/>
            <p:nvPr/>
          </p:nvSpPr>
          <p:spPr bwMode="auto">
            <a:xfrm>
              <a:off x="3834882" y="3564294"/>
              <a:ext cx="4935894" cy="13995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7" name="Right Triangle 16"/>
            <p:cNvSpPr/>
            <p:nvPr/>
          </p:nvSpPr>
          <p:spPr bwMode="auto">
            <a:xfrm rot="10800000">
              <a:off x="3834879" y="4963885"/>
              <a:ext cx="3760238" cy="1530220"/>
            </a:xfrm>
            <a:prstGeom prst="rt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7593873" y="4963884"/>
              <a:ext cx="1175658" cy="1532709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15" name="Rectangle 76"/>
          <p:cNvSpPr>
            <a:spLocks noGrp="1" noChangeArrowheads="1"/>
          </p:cNvSpPr>
          <p:nvPr>
            <p:ph type="subTitle" idx="1"/>
          </p:nvPr>
        </p:nvSpPr>
        <p:spPr>
          <a:xfrm>
            <a:off x="5125499" y="5898786"/>
            <a:ext cx="3491621" cy="193899"/>
          </a:xfrm>
        </p:spPr>
        <p:txBody>
          <a:bodyPr/>
          <a:lstStyle>
            <a:lvl1pPr marL="0" indent="0" algn="r">
              <a:spcBef>
                <a:spcPts val="400"/>
              </a:spcBef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4" name="Rectangle 75"/>
          <p:cNvSpPr>
            <a:spLocks noGrp="1" noChangeArrowheads="1"/>
          </p:cNvSpPr>
          <p:nvPr>
            <p:ph type="ctrTitle"/>
          </p:nvPr>
        </p:nvSpPr>
        <p:spPr>
          <a:xfrm>
            <a:off x="3861275" y="5103284"/>
            <a:ext cx="4746968" cy="626400"/>
          </a:xfrm>
        </p:spPr>
        <p:txBody>
          <a:bodyPr/>
          <a:lstStyle>
            <a:lvl1pPr algn="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and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7"/>
          <p:cNvGrpSpPr>
            <a:grpSpLocks/>
          </p:cNvGrpSpPr>
          <p:nvPr userDrawn="1"/>
        </p:nvGrpSpPr>
        <p:grpSpPr bwMode="auto">
          <a:xfrm>
            <a:off x="352425" y="327025"/>
            <a:ext cx="977900" cy="544513"/>
            <a:chOff x="0" y="0"/>
            <a:chExt cx="616" cy="343"/>
          </a:xfrm>
        </p:grpSpPr>
        <p:sp>
          <p:nvSpPr>
            <p:cNvPr id="5" name="Freeform 3"/>
            <p:cNvSpPr>
              <a:spLocks/>
            </p:cNvSpPr>
            <p:nvPr/>
          </p:nvSpPr>
          <p:spPr bwMode="auto">
            <a:xfrm>
              <a:off x="0" y="0"/>
              <a:ext cx="616" cy="343"/>
            </a:xfrm>
            <a:custGeom>
              <a:avLst/>
              <a:gdLst>
                <a:gd name="T0" fmla="*/ 523 w 21600"/>
                <a:gd name="T1" fmla="*/ 343 h 21600"/>
                <a:gd name="T2" fmla="*/ 616 w 21600"/>
                <a:gd name="T3" fmla="*/ 252 h 21600"/>
                <a:gd name="T4" fmla="*/ 616 w 21600"/>
                <a:gd name="T5" fmla="*/ 0 h 21600"/>
                <a:gd name="T6" fmla="*/ 93 w 21600"/>
                <a:gd name="T7" fmla="*/ 0 h 21600"/>
                <a:gd name="T8" fmla="*/ 0 w 21600"/>
                <a:gd name="T9" fmla="*/ 92 h 21600"/>
                <a:gd name="T10" fmla="*/ 0 w 21600"/>
                <a:gd name="T11" fmla="*/ 343 h 21600"/>
                <a:gd name="T12" fmla="*/ 523 w 21600"/>
                <a:gd name="T13" fmla="*/ 343 h 21600"/>
                <a:gd name="T14" fmla="*/ 523 w 21600"/>
                <a:gd name="T15" fmla="*/ 343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600"/>
                <a:gd name="T25" fmla="*/ 0 h 21600"/>
                <a:gd name="T26" fmla="*/ 21600 w 21600"/>
                <a:gd name="T27" fmla="*/ 21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18330" y="21600"/>
                  </a:moveTo>
                  <a:lnTo>
                    <a:pt x="21600" y="15845"/>
                  </a:lnTo>
                  <a:lnTo>
                    <a:pt x="21600" y="0"/>
                  </a:lnTo>
                  <a:lnTo>
                    <a:pt x="3270" y="0"/>
                  </a:lnTo>
                  <a:lnTo>
                    <a:pt x="0" y="5823"/>
                  </a:lnTo>
                  <a:lnTo>
                    <a:pt x="0" y="21600"/>
                  </a:lnTo>
                  <a:lnTo>
                    <a:pt x="18330" y="21600"/>
                  </a:lnTo>
                  <a:close/>
                  <a:moveTo>
                    <a:pt x="18330" y="21600"/>
                  </a:moveTo>
                </a:path>
              </a:pathLst>
            </a:custGeom>
            <a:solidFill>
              <a:srgbClr val="EE2525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6" name="Freeform 4"/>
            <p:cNvSpPr>
              <a:spLocks/>
            </p:cNvSpPr>
            <p:nvPr/>
          </p:nvSpPr>
          <p:spPr bwMode="auto">
            <a:xfrm>
              <a:off x="75" y="90"/>
              <a:ext cx="150" cy="166"/>
            </a:xfrm>
            <a:custGeom>
              <a:avLst/>
              <a:gdLst>
                <a:gd name="T0" fmla="*/ 124 w 21600"/>
                <a:gd name="T1" fmla="*/ 110 h 21600"/>
                <a:gd name="T2" fmla="*/ 123 w 21600"/>
                <a:gd name="T3" fmla="*/ 111 h 21600"/>
                <a:gd name="T4" fmla="*/ 83 w 21600"/>
                <a:gd name="T5" fmla="*/ 129 h 21600"/>
                <a:gd name="T6" fmla="*/ 55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3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3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2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4 w 21600"/>
                <a:gd name="T33" fmla="*/ 110 h 21600"/>
                <a:gd name="T34" fmla="*/ 124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7908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5877" y="15951"/>
                    <a:pt x="14585" y="16782"/>
                    <a:pt x="12000" y="16782"/>
                  </a:cubicBezTo>
                  <a:cubicBezTo>
                    <a:pt x="10338" y="16782"/>
                    <a:pt x="9046" y="16283"/>
                    <a:pt x="7938" y="15452"/>
                  </a:cubicBezTo>
                  <a:cubicBezTo>
                    <a:pt x="6646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000" y="4652"/>
                  </a:cubicBezTo>
                  <a:cubicBezTo>
                    <a:pt x="14215" y="4652"/>
                    <a:pt x="15692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015" y="1329"/>
                    <a:pt x="16431" y="0"/>
                    <a:pt x="12000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477" y="16948"/>
                    <a:pt x="4062" y="18942"/>
                  </a:cubicBezTo>
                  <a:cubicBezTo>
                    <a:pt x="6092" y="20603"/>
                    <a:pt x="8862" y="21600"/>
                    <a:pt x="11815" y="21600"/>
                  </a:cubicBezTo>
                  <a:cubicBezTo>
                    <a:pt x="16246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7908" y="14289"/>
                  </a:lnTo>
                  <a:close/>
                  <a:moveTo>
                    <a:pt x="17908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386" y="90"/>
              <a:ext cx="150" cy="166"/>
            </a:xfrm>
            <a:custGeom>
              <a:avLst/>
              <a:gdLst>
                <a:gd name="T0" fmla="*/ 126 w 21600"/>
                <a:gd name="T1" fmla="*/ 110 h 21600"/>
                <a:gd name="T2" fmla="*/ 123 w 21600"/>
                <a:gd name="T3" fmla="*/ 111 h 21600"/>
                <a:gd name="T4" fmla="*/ 85 w 21600"/>
                <a:gd name="T5" fmla="*/ 129 h 21600"/>
                <a:gd name="T6" fmla="*/ 56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5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5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3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6 w 21600"/>
                <a:gd name="T33" fmla="*/ 110 h 21600"/>
                <a:gd name="T34" fmla="*/ 126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8092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6062" y="15951"/>
                    <a:pt x="14585" y="16782"/>
                    <a:pt x="12185" y="16782"/>
                  </a:cubicBezTo>
                  <a:cubicBezTo>
                    <a:pt x="10523" y="16782"/>
                    <a:pt x="9046" y="16283"/>
                    <a:pt x="8123" y="15452"/>
                  </a:cubicBezTo>
                  <a:cubicBezTo>
                    <a:pt x="6831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185" y="4652"/>
                  </a:cubicBezTo>
                  <a:cubicBezTo>
                    <a:pt x="14215" y="4652"/>
                    <a:pt x="15877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200" y="1329"/>
                    <a:pt x="16431" y="0"/>
                    <a:pt x="12185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662" y="16948"/>
                    <a:pt x="4062" y="18942"/>
                  </a:cubicBezTo>
                  <a:cubicBezTo>
                    <a:pt x="6092" y="20603"/>
                    <a:pt x="8862" y="21600"/>
                    <a:pt x="12000" y="21600"/>
                  </a:cubicBezTo>
                  <a:cubicBezTo>
                    <a:pt x="16431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8092" y="14289"/>
                  </a:lnTo>
                  <a:close/>
                  <a:moveTo>
                    <a:pt x="18092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239" y="90"/>
              <a:ext cx="129" cy="164"/>
            </a:xfrm>
            <a:custGeom>
              <a:avLst/>
              <a:gdLst>
                <a:gd name="T0" fmla="*/ 129 w 21600"/>
                <a:gd name="T1" fmla="*/ 113 h 21600"/>
                <a:gd name="T2" fmla="*/ 80 w 21600"/>
                <a:gd name="T3" fmla="*/ 65 h 21600"/>
                <a:gd name="T4" fmla="*/ 74 w 21600"/>
                <a:gd name="T5" fmla="*/ 64 h 21600"/>
                <a:gd name="T6" fmla="*/ 46 w 21600"/>
                <a:gd name="T7" fmla="*/ 47 h 21600"/>
                <a:gd name="T8" fmla="*/ 46 w 21600"/>
                <a:gd name="T9" fmla="*/ 46 h 21600"/>
                <a:gd name="T10" fmla="*/ 64 w 21600"/>
                <a:gd name="T11" fmla="*/ 36 h 21600"/>
                <a:gd name="T12" fmla="*/ 95 w 21600"/>
                <a:gd name="T13" fmla="*/ 44 h 21600"/>
                <a:gd name="T14" fmla="*/ 98 w 21600"/>
                <a:gd name="T15" fmla="*/ 47 h 21600"/>
                <a:gd name="T16" fmla="*/ 125 w 21600"/>
                <a:gd name="T17" fmla="*/ 22 h 21600"/>
                <a:gd name="T18" fmla="*/ 124 w 21600"/>
                <a:gd name="T19" fmla="*/ 20 h 21600"/>
                <a:gd name="T20" fmla="*/ 120 w 21600"/>
                <a:gd name="T21" fmla="*/ 18 h 21600"/>
                <a:gd name="T22" fmla="*/ 64 w 21600"/>
                <a:gd name="T23" fmla="*/ 0 h 21600"/>
                <a:gd name="T24" fmla="*/ 8 w 21600"/>
                <a:gd name="T25" fmla="*/ 50 h 21600"/>
                <a:gd name="T26" fmla="*/ 43 w 21600"/>
                <a:gd name="T27" fmla="*/ 94 h 21600"/>
                <a:gd name="T28" fmla="*/ 50 w 21600"/>
                <a:gd name="T29" fmla="*/ 97 h 21600"/>
                <a:gd name="T30" fmla="*/ 60 w 21600"/>
                <a:gd name="T31" fmla="*/ 99 h 21600"/>
                <a:gd name="T32" fmla="*/ 89 w 21600"/>
                <a:gd name="T33" fmla="*/ 117 h 21600"/>
                <a:gd name="T34" fmla="*/ 70 w 21600"/>
                <a:gd name="T35" fmla="*/ 130 h 21600"/>
                <a:gd name="T36" fmla="*/ 31 w 21600"/>
                <a:gd name="T37" fmla="*/ 116 h 21600"/>
                <a:gd name="T38" fmla="*/ 26 w 21600"/>
                <a:gd name="T39" fmla="*/ 112 h 21600"/>
                <a:gd name="T40" fmla="*/ 0 w 21600"/>
                <a:gd name="T41" fmla="*/ 137 h 21600"/>
                <a:gd name="T42" fmla="*/ 1 w 21600"/>
                <a:gd name="T43" fmla="*/ 139 h 21600"/>
                <a:gd name="T44" fmla="*/ 5 w 21600"/>
                <a:gd name="T45" fmla="*/ 141 h 21600"/>
                <a:gd name="T46" fmla="*/ 69 w 21600"/>
                <a:gd name="T47" fmla="*/ 164 h 21600"/>
                <a:gd name="T48" fmla="*/ 129 w 21600"/>
                <a:gd name="T49" fmla="*/ 114 h 21600"/>
                <a:gd name="T50" fmla="*/ 129 w 21600"/>
                <a:gd name="T51" fmla="*/ 113 h 21600"/>
                <a:gd name="T52" fmla="*/ 129 w 21600"/>
                <a:gd name="T53" fmla="*/ 113 h 216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1600"/>
                <a:gd name="T82" fmla="*/ 0 h 21600"/>
                <a:gd name="T83" fmla="*/ 21600 w 21600"/>
                <a:gd name="T84" fmla="*/ 21600 h 216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1600" h="21600">
                  <a:moveTo>
                    <a:pt x="21600" y="14902"/>
                  </a:moveTo>
                  <a:cubicBezTo>
                    <a:pt x="21600" y="11386"/>
                    <a:pt x="18606" y="9712"/>
                    <a:pt x="13473" y="8540"/>
                  </a:cubicBezTo>
                  <a:cubicBezTo>
                    <a:pt x="13259" y="8540"/>
                    <a:pt x="12618" y="8372"/>
                    <a:pt x="12404" y="8372"/>
                  </a:cubicBezTo>
                  <a:cubicBezTo>
                    <a:pt x="8341" y="7535"/>
                    <a:pt x="7699" y="7200"/>
                    <a:pt x="7699" y="6195"/>
                  </a:cubicBezTo>
                  <a:cubicBezTo>
                    <a:pt x="7699" y="6028"/>
                    <a:pt x="7699" y="6028"/>
                    <a:pt x="7699" y="6028"/>
                  </a:cubicBezTo>
                  <a:cubicBezTo>
                    <a:pt x="7699" y="5358"/>
                    <a:pt x="8554" y="4688"/>
                    <a:pt x="10693" y="4688"/>
                  </a:cubicBezTo>
                  <a:cubicBezTo>
                    <a:pt x="12190" y="4688"/>
                    <a:pt x="13901" y="5023"/>
                    <a:pt x="15826" y="5860"/>
                  </a:cubicBezTo>
                  <a:cubicBezTo>
                    <a:pt x="16040" y="6028"/>
                    <a:pt x="16253" y="6028"/>
                    <a:pt x="16467" y="6195"/>
                  </a:cubicBezTo>
                  <a:cubicBezTo>
                    <a:pt x="20958" y="2847"/>
                    <a:pt x="20958" y="2847"/>
                    <a:pt x="20958" y="2847"/>
                  </a:cubicBezTo>
                  <a:cubicBezTo>
                    <a:pt x="20745" y="2679"/>
                    <a:pt x="20745" y="2679"/>
                    <a:pt x="20745" y="2679"/>
                  </a:cubicBezTo>
                  <a:cubicBezTo>
                    <a:pt x="20531" y="2512"/>
                    <a:pt x="20317" y="2512"/>
                    <a:pt x="20103" y="2344"/>
                  </a:cubicBezTo>
                  <a:cubicBezTo>
                    <a:pt x="17537" y="837"/>
                    <a:pt x="14329" y="0"/>
                    <a:pt x="10693" y="0"/>
                  </a:cubicBezTo>
                  <a:cubicBezTo>
                    <a:pt x="5133" y="0"/>
                    <a:pt x="1283" y="2512"/>
                    <a:pt x="1283" y="6530"/>
                  </a:cubicBezTo>
                  <a:cubicBezTo>
                    <a:pt x="1069" y="10047"/>
                    <a:pt x="3636" y="11553"/>
                    <a:pt x="7271" y="12391"/>
                  </a:cubicBezTo>
                  <a:cubicBezTo>
                    <a:pt x="7699" y="12558"/>
                    <a:pt x="7913" y="12558"/>
                    <a:pt x="8341" y="12726"/>
                  </a:cubicBezTo>
                  <a:cubicBezTo>
                    <a:pt x="8768" y="12893"/>
                    <a:pt x="9410" y="12893"/>
                    <a:pt x="10051" y="13060"/>
                  </a:cubicBezTo>
                  <a:cubicBezTo>
                    <a:pt x="14543" y="14065"/>
                    <a:pt x="14970" y="14400"/>
                    <a:pt x="14970" y="15405"/>
                  </a:cubicBezTo>
                  <a:cubicBezTo>
                    <a:pt x="14970" y="16409"/>
                    <a:pt x="13901" y="17079"/>
                    <a:pt x="11762" y="17079"/>
                  </a:cubicBezTo>
                  <a:cubicBezTo>
                    <a:pt x="9196" y="17079"/>
                    <a:pt x="7057" y="16409"/>
                    <a:pt x="5133" y="15237"/>
                  </a:cubicBezTo>
                  <a:cubicBezTo>
                    <a:pt x="4919" y="15070"/>
                    <a:pt x="4705" y="14902"/>
                    <a:pt x="4277" y="14735"/>
                  </a:cubicBezTo>
                  <a:cubicBezTo>
                    <a:pt x="0" y="18084"/>
                    <a:pt x="0" y="18084"/>
                    <a:pt x="0" y="18084"/>
                  </a:cubicBezTo>
                  <a:cubicBezTo>
                    <a:pt x="214" y="18251"/>
                    <a:pt x="214" y="18251"/>
                    <a:pt x="214" y="18251"/>
                  </a:cubicBezTo>
                  <a:cubicBezTo>
                    <a:pt x="428" y="18419"/>
                    <a:pt x="642" y="18419"/>
                    <a:pt x="855" y="18586"/>
                  </a:cubicBezTo>
                  <a:cubicBezTo>
                    <a:pt x="3850" y="20595"/>
                    <a:pt x="7699" y="21600"/>
                    <a:pt x="11549" y="21600"/>
                  </a:cubicBezTo>
                  <a:cubicBezTo>
                    <a:pt x="17323" y="21600"/>
                    <a:pt x="21600" y="19256"/>
                    <a:pt x="21600" y="15070"/>
                  </a:cubicBezTo>
                  <a:lnTo>
                    <a:pt x="21600" y="14902"/>
                  </a:lnTo>
                  <a:close/>
                  <a:moveTo>
                    <a:pt x="21600" y="14902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9" name="Text Box 66"/>
          <p:cNvSpPr txBox="1">
            <a:spLocks noChangeArrowheads="1"/>
          </p:cNvSpPr>
          <p:nvPr userDrawn="1"/>
        </p:nvSpPr>
        <p:spPr bwMode="auto">
          <a:xfrm>
            <a:off x="366713" y="6575425"/>
            <a:ext cx="3808412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820738" eaLnBrk="0" hangingPunct="0">
              <a:spcBef>
                <a:spcPct val="50000"/>
              </a:spcBef>
              <a:defRPr/>
            </a:pPr>
            <a:r>
              <a:rPr lang="en-US" sz="1100" dirty="0">
                <a:solidFill>
                  <a:srgbClr val="FFFFFF"/>
                </a:solidFill>
                <a:ea typeface="MS PGothic" pitchFamily="34" charset="-128"/>
                <a:cs typeface="+mn-cs"/>
              </a:rPr>
              <a:t>CSC Proprietary and Confidential</a:t>
            </a:r>
          </a:p>
        </p:txBody>
      </p:sp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8426450" y="6599238"/>
            <a:ext cx="36512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D2C84AC9-52DB-45D0-8970-A146F5DF66BD}" type="slidenum">
              <a:rPr lang="en-US" sz="1000">
                <a:solidFill>
                  <a:srgbClr val="FFFFFF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‹#›</a:t>
            </a:fld>
            <a:r>
              <a:rPr lang="en-US" sz="1000" dirty="0">
                <a:solidFill>
                  <a:srgbClr val="FFFFFF"/>
                </a:solidFill>
                <a:ea typeface="MS PGothic" pitchFamily="34" charset="-128"/>
                <a:cs typeface="+mn-cs"/>
              </a:rPr>
              <a:t>    </a:t>
            </a: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6564313" y="6599238"/>
            <a:ext cx="182880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03C7D0F0-10D5-4191-B6F4-99306F468FEF}" type="datetime4">
              <a:rPr lang="en-US" sz="1000">
                <a:solidFill>
                  <a:srgbClr val="FFFFFF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December 12, 2012</a:t>
            </a:fld>
            <a:endParaRPr lang="en-US" sz="1000" dirty="0">
              <a:solidFill>
                <a:srgbClr val="FFFFFF"/>
              </a:solidFill>
              <a:ea typeface="MS PGothic" pitchFamily="34" charset="-128"/>
              <a:cs typeface="+mn-cs"/>
            </a:endParaRPr>
          </a:p>
        </p:txBody>
      </p:sp>
      <p:pic>
        <p:nvPicPr>
          <p:cNvPr id="12" name="Picture 2" descr="C:\Users\bneubauer\Pictures\is_hs_011_a.png"/>
          <p:cNvPicPr>
            <a:picLocks noChangeAspect="1" noChangeArrowheads="1"/>
          </p:cNvPicPr>
          <p:nvPr userDrawn="1"/>
        </p:nvPicPr>
        <p:blipFill>
          <a:blip r:embed="rId2" cstate="email">
            <a:grayscl/>
          </a:blip>
          <a:srcRect/>
          <a:stretch>
            <a:fillRect/>
          </a:stretch>
        </p:blipFill>
        <p:spPr bwMode="auto">
          <a:xfrm>
            <a:off x="0" y="0"/>
            <a:ext cx="60531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3" name="Group 7"/>
          <p:cNvGrpSpPr>
            <a:grpSpLocks/>
          </p:cNvGrpSpPr>
          <p:nvPr userDrawn="1"/>
        </p:nvGrpSpPr>
        <p:grpSpPr bwMode="auto">
          <a:xfrm>
            <a:off x="352425" y="327025"/>
            <a:ext cx="977900" cy="544513"/>
            <a:chOff x="0" y="0"/>
            <a:chExt cx="616" cy="343"/>
          </a:xfrm>
        </p:grpSpPr>
        <p:sp>
          <p:nvSpPr>
            <p:cNvPr id="16" name="Freeform 3"/>
            <p:cNvSpPr>
              <a:spLocks/>
            </p:cNvSpPr>
            <p:nvPr/>
          </p:nvSpPr>
          <p:spPr bwMode="auto">
            <a:xfrm>
              <a:off x="0" y="0"/>
              <a:ext cx="616" cy="343"/>
            </a:xfrm>
            <a:custGeom>
              <a:avLst/>
              <a:gdLst>
                <a:gd name="T0" fmla="*/ 523 w 21600"/>
                <a:gd name="T1" fmla="*/ 343 h 21600"/>
                <a:gd name="T2" fmla="*/ 616 w 21600"/>
                <a:gd name="T3" fmla="*/ 252 h 21600"/>
                <a:gd name="T4" fmla="*/ 616 w 21600"/>
                <a:gd name="T5" fmla="*/ 0 h 21600"/>
                <a:gd name="T6" fmla="*/ 93 w 21600"/>
                <a:gd name="T7" fmla="*/ 0 h 21600"/>
                <a:gd name="T8" fmla="*/ 0 w 21600"/>
                <a:gd name="T9" fmla="*/ 92 h 21600"/>
                <a:gd name="T10" fmla="*/ 0 w 21600"/>
                <a:gd name="T11" fmla="*/ 343 h 21600"/>
                <a:gd name="T12" fmla="*/ 523 w 21600"/>
                <a:gd name="T13" fmla="*/ 343 h 21600"/>
                <a:gd name="T14" fmla="*/ 523 w 21600"/>
                <a:gd name="T15" fmla="*/ 343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600"/>
                <a:gd name="T25" fmla="*/ 0 h 21600"/>
                <a:gd name="T26" fmla="*/ 21600 w 21600"/>
                <a:gd name="T27" fmla="*/ 21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18330" y="21600"/>
                  </a:moveTo>
                  <a:lnTo>
                    <a:pt x="21600" y="15845"/>
                  </a:lnTo>
                  <a:lnTo>
                    <a:pt x="21600" y="0"/>
                  </a:lnTo>
                  <a:lnTo>
                    <a:pt x="3270" y="0"/>
                  </a:lnTo>
                  <a:lnTo>
                    <a:pt x="0" y="5823"/>
                  </a:lnTo>
                  <a:lnTo>
                    <a:pt x="0" y="21600"/>
                  </a:lnTo>
                  <a:lnTo>
                    <a:pt x="18330" y="21600"/>
                  </a:lnTo>
                  <a:close/>
                  <a:moveTo>
                    <a:pt x="18330" y="21600"/>
                  </a:moveTo>
                </a:path>
              </a:pathLst>
            </a:custGeom>
            <a:solidFill>
              <a:srgbClr val="EE2525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7" name="Freeform 4"/>
            <p:cNvSpPr>
              <a:spLocks/>
            </p:cNvSpPr>
            <p:nvPr/>
          </p:nvSpPr>
          <p:spPr bwMode="auto">
            <a:xfrm>
              <a:off x="75" y="90"/>
              <a:ext cx="150" cy="166"/>
            </a:xfrm>
            <a:custGeom>
              <a:avLst/>
              <a:gdLst>
                <a:gd name="T0" fmla="*/ 124 w 21600"/>
                <a:gd name="T1" fmla="*/ 110 h 21600"/>
                <a:gd name="T2" fmla="*/ 123 w 21600"/>
                <a:gd name="T3" fmla="*/ 111 h 21600"/>
                <a:gd name="T4" fmla="*/ 83 w 21600"/>
                <a:gd name="T5" fmla="*/ 129 h 21600"/>
                <a:gd name="T6" fmla="*/ 55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3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3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2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4 w 21600"/>
                <a:gd name="T33" fmla="*/ 110 h 21600"/>
                <a:gd name="T34" fmla="*/ 124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7908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5877" y="15951"/>
                    <a:pt x="14585" y="16782"/>
                    <a:pt x="12000" y="16782"/>
                  </a:cubicBezTo>
                  <a:cubicBezTo>
                    <a:pt x="10338" y="16782"/>
                    <a:pt x="9046" y="16283"/>
                    <a:pt x="7938" y="15452"/>
                  </a:cubicBezTo>
                  <a:cubicBezTo>
                    <a:pt x="6646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000" y="4652"/>
                  </a:cubicBezTo>
                  <a:cubicBezTo>
                    <a:pt x="14215" y="4652"/>
                    <a:pt x="15692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015" y="1329"/>
                    <a:pt x="16431" y="0"/>
                    <a:pt x="12000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477" y="16948"/>
                    <a:pt x="4062" y="18942"/>
                  </a:cubicBezTo>
                  <a:cubicBezTo>
                    <a:pt x="6092" y="20603"/>
                    <a:pt x="8862" y="21600"/>
                    <a:pt x="11815" y="21600"/>
                  </a:cubicBezTo>
                  <a:cubicBezTo>
                    <a:pt x="16246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7908" y="14289"/>
                  </a:lnTo>
                  <a:close/>
                  <a:moveTo>
                    <a:pt x="17908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386" y="90"/>
              <a:ext cx="150" cy="166"/>
            </a:xfrm>
            <a:custGeom>
              <a:avLst/>
              <a:gdLst>
                <a:gd name="T0" fmla="*/ 126 w 21600"/>
                <a:gd name="T1" fmla="*/ 110 h 21600"/>
                <a:gd name="T2" fmla="*/ 123 w 21600"/>
                <a:gd name="T3" fmla="*/ 111 h 21600"/>
                <a:gd name="T4" fmla="*/ 85 w 21600"/>
                <a:gd name="T5" fmla="*/ 129 h 21600"/>
                <a:gd name="T6" fmla="*/ 56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5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5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3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6 w 21600"/>
                <a:gd name="T33" fmla="*/ 110 h 21600"/>
                <a:gd name="T34" fmla="*/ 126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8092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6062" y="15951"/>
                    <a:pt x="14585" y="16782"/>
                    <a:pt x="12185" y="16782"/>
                  </a:cubicBezTo>
                  <a:cubicBezTo>
                    <a:pt x="10523" y="16782"/>
                    <a:pt x="9046" y="16283"/>
                    <a:pt x="8123" y="15452"/>
                  </a:cubicBezTo>
                  <a:cubicBezTo>
                    <a:pt x="6831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185" y="4652"/>
                  </a:cubicBezTo>
                  <a:cubicBezTo>
                    <a:pt x="14215" y="4652"/>
                    <a:pt x="15877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200" y="1329"/>
                    <a:pt x="16431" y="0"/>
                    <a:pt x="12185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662" y="16948"/>
                    <a:pt x="4062" y="18942"/>
                  </a:cubicBezTo>
                  <a:cubicBezTo>
                    <a:pt x="6092" y="20603"/>
                    <a:pt x="8862" y="21600"/>
                    <a:pt x="12000" y="21600"/>
                  </a:cubicBezTo>
                  <a:cubicBezTo>
                    <a:pt x="16431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8092" y="14289"/>
                  </a:lnTo>
                  <a:close/>
                  <a:moveTo>
                    <a:pt x="18092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239" y="90"/>
              <a:ext cx="129" cy="164"/>
            </a:xfrm>
            <a:custGeom>
              <a:avLst/>
              <a:gdLst>
                <a:gd name="T0" fmla="*/ 129 w 21600"/>
                <a:gd name="T1" fmla="*/ 113 h 21600"/>
                <a:gd name="T2" fmla="*/ 80 w 21600"/>
                <a:gd name="T3" fmla="*/ 65 h 21600"/>
                <a:gd name="T4" fmla="*/ 74 w 21600"/>
                <a:gd name="T5" fmla="*/ 64 h 21600"/>
                <a:gd name="T6" fmla="*/ 46 w 21600"/>
                <a:gd name="T7" fmla="*/ 47 h 21600"/>
                <a:gd name="T8" fmla="*/ 46 w 21600"/>
                <a:gd name="T9" fmla="*/ 46 h 21600"/>
                <a:gd name="T10" fmla="*/ 64 w 21600"/>
                <a:gd name="T11" fmla="*/ 36 h 21600"/>
                <a:gd name="T12" fmla="*/ 95 w 21600"/>
                <a:gd name="T13" fmla="*/ 44 h 21600"/>
                <a:gd name="T14" fmla="*/ 98 w 21600"/>
                <a:gd name="T15" fmla="*/ 47 h 21600"/>
                <a:gd name="T16" fmla="*/ 125 w 21600"/>
                <a:gd name="T17" fmla="*/ 22 h 21600"/>
                <a:gd name="T18" fmla="*/ 124 w 21600"/>
                <a:gd name="T19" fmla="*/ 20 h 21600"/>
                <a:gd name="T20" fmla="*/ 120 w 21600"/>
                <a:gd name="T21" fmla="*/ 18 h 21600"/>
                <a:gd name="T22" fmla="*/ 64 w 21600"/>
                <a:gd name="T23" fmla="*/ 0 h 21600"/>
                <a:gd name="T24" fmla="*/ 8 w 21600"/>
                <a:gd name="T25" fmla="*/ 50 h 21600"/>
                <a:gd name="T26" fmla="*/ 43 w 21600"/>
                <a:gd name="T27" fmla="*/ 94 h 21600"/>
                <a:gd name="T28" fmla="*/ 50 w 21600"/>
                <a:gd name="T29" fmla="*/ 97 h 21600"/>
                <a:gd name="T30" fmla="*/ 60 w 21600"/>
                <a:gd name="T31" fmla="*/ 99 h 21600"/>
                <a:gd name="T32" fmla="*/ 89 w 21600"/>
                <a:gd name="T33" fmla="*/ 117 h 21600"/>
                <a:gd name="T34" fmla="*/ 70 w 21600"/>
                <a:gd name="T35" fmla="*/ 130 h 21600"/>
                <a:gd name="T36" fmla="*/ 31 w 21600"/>
                <a:gd name="T37" fmla="*/ 116 h 21600"/>
                <a:gd name="T38" fmla="*/ 26 w 21600"/>
                <a:gd name="T39" fmla="*/ 112 h 21600"/>
                <a:gd name="T40" fmla="*/ 0 w 21600"/>
                <a:gd name="T41" fmla="*/ 137 h 21600"/>
                <a:gd name="T42" fmla="*/ 1 w 21600"/>
                <a:gd name="T43" fmla="*/ 139 h 21600"/>
                <a:gd name="T44" fmla="*/ 5 w 21600"/>
                <a:gd name="T45" fmla="*/ 141 h 21600"/>
                <a:gd name="T46" fmla="*/ 69 w 21600"/>
                <a:gd name="T47" fmla="*/ 164 h 21600"/>
                <a:gd name="T48" fmla="*/ 129 w 21600"/>
                <a:gd name="T49" fmla="*/ 114 h 21600"/>
                <a:gd name="T50" fmla="*/ 129 w 21600"/>
                <a:gd name="T51" fmla="*/ 113 h 21600"/>
                <a:gd name="T52" fmla="*/ 129 w 21600"/>
                <a:gd name="T53" fmla="*/ 113 h 216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1600"/>
                <a:gd name="T82" fmla="*/ 0 h 21600"/>
                <a:gd name="T83" fmla="*/ 21600 w 21600"/>
                <a:gd name="T84" fmla="*/ 21600 h 216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1600" h="21600">
                  <a:moveTo>
                    <a:pt x="21600" y="14902"/>
                  </a:moveTo>
                  <a:cubicBezTo>
                    <a:pt x="21600" y="11386"/>
                    <a:pt x="18606" y="9712"/>
                    <a:pt x="13473" y="8540"/>
                  </a:cubicBezTo>
                  <a:cubicBezTo>
                    <a:pt x="13259" y="8540"/>
                    <a:pt x="12618" y="8372"/>
                    <a:pt x="12404" y="8372"/>
                  </a:cubicBezTo>
                  <a:cubicBezTo>
                    <a:pt x="8341" y="7535"/>
                    <a:pt x="7699" y="7200"/>
                    <a:pt x="7699" y="6195"/>
                  </a:cubicBezTo>
                  <a:cubicBezTo>
                    <a:pt x="7699" y="6028"/>
                    <a:pt x="7699" y="6028"/>
                    <a:pt x="7699" y="6028"/>
                  </a:cubicBezTo>
                  <a:cubicBezTo>
                    <a:pt x="7699" y="5358"/>
                    <a:pt x="8554" y="4688"/>
                    <a:pt x="10693" y="4688"/>
                  </a:cubicBezTo>
                  <a:cubicBezTo>
                    <a:pt x="12190" y="4688"/>
                    <a:pt x="13901" y="5023"/>
                    <a:pt x="15826" y="5860"/>
                  </a:cubicBezTo>
                  <a:cubicBezTo>
                    <a:pt x="16040" y="6028"/>
                    <a:pt x="16253" y="6028"/>
                    <a:pt x="16467" y="6195"/>
                  </a:cubicBezTo>
                  <a:cubicBezTo>
                    <a:pt x="20958" y="2847"/>
                    <a:pt x="20958" y="2847"/>
                    <a:pt x="20958" y="2847"/>
                  </a:cubicBezTo>
                  <a:cubicBezTo>
                    <a:pt x="20745" y="2679"/>
                    <a:pt x="20745" y="2679"/>
                    <a:pt x="20745" y="2679"/>
                  </a:cubicBezTo>
                  <a:cubicBezTo>
                    <a:pt x="20531" y="2512"/>
                    <a:pt x="20317" y="2512"/>
                    <a:pt x="20103" y="2344"/>
                  </a:cubicBezTo>
                  <a:cubicBezTo>
                    <a:pt x="17537" y="837"/>
                    <a:pt x="14329" y="0"/>
                    <a:pt x="10693" y="0"/>
                  </a:cubicBezTo>
                  <a:cubicBezTo>
                    <a:pt x="5133" y="0"/>
                    <a:pt x="1283" y="2512"/>
                    <a:pt x="1283" y="6530"/>
                  </a:cubicBezTo>
                  <a:cubicBezTo>
                    <a:pt x="1069" y="10047"/>
                    <a:pt x="3636" y="11553"/>
                    <a:pt x="7271" y="12391"/>
                  </a:cubicBezTo>
                  <a:cubicBezTo>
                    <a:pt x="7699" y="12558"/>
                    <a:pt x="7913" y="12558"/>
                    <a:pt x="8341" y="12726"/>
                  </a:cubicBezTo>
                  <a:cubicBezTo>
                    <a:pt x="8768" y="12893"/>
                    <a:pt x="9410" y="12893"/>
                    <a:pt x="10051" y="13060"/>
                  </a:cubicBezTo>
                  <a:cubicBezTo>
                    <a:pt x="14543" y="14065"/>
                    <a:pt x="14970" y="14400"/>
                    <a:pt x="14970" y="15405"/>
                  </a:cubicBezTo>
                  <a:cubicBezTo>
                    <a:pt x="14970" y="16409"/>
                    <a:pt x="13901" y="17079"/>
                    <a:pt x="11762" y="17079"/>
                  </a:cubicBezTo>
                  <a:cubicBezTo>
                    <a:pt x="9196" y="17079"/>
                    <a:pt x="7057" y="16409"/>
                    <a:pt x="5133" y="15237"/>
                  </a:cubicBezTo>
                  <a:cubicBezTo>
                    <a:pt x="4919" y="15070"/>
                    <a:pt x="4705" y="14902"/>
                    <a:pt x="4277" y="14735"/>
                  </a:cubicBezTo>
                  <a:cubicBezTo>
                    <a:pt x="0" y="18084"/>
                    <a:pt x="0" y="18084"/>
                    <a:pt x="0" y="18084"/>
                  </a:cubicBezTo>
                  <a:cubicBezTo>
                    <a:pt x="214" y="18251"/>
                    <a:pt x="214" y="18251"/>
                    <a:pt x="214" y="18251"/>
                  </a:cubicBezTo>
                  <a:cubicBezTo>
                    <a:pt x="428" y="18419"/>
                    <a:pt x="642" y="18419"/>
                    <a:pt x="855" y="18586"/>
                  </a:cubicBezTo>
                  <a:cubicBezTo>
                    <a:pt x="3850" y="20595"/>
                    <a:pt x="7699" y="21600"/>
                    <a:pt x="11549" y="21600"/>
                  </a:cubicBezTo>
                  <a:cubicBezTo>
                    <a:pt x="17323" y="21600"/>
                    <a:pt x="21600" y="19256"/>
                    <a:pt x="21600" y="15070"/>
                  </a:cubicBezTo>
                  <a:lnTo>
                    <a:pt x="21600" y="14902"/>
                  </a:lnTo>
                  <a:close/>
                  <a:moveTo>
                    <a:pt x="21600" y="14902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</p:grpSp>
      <p:grpSp>
        <p:nvGrpSpPr>
          <p:cNvPr id="20" name="Group 31"/>
          <p:cNvGrpSpPr/>
          <p:nvPr userDrawn="1"/>
        </p:nvGrpSpPr>
        <p:grpSpPr>
          <a:xfrm>
            <a:off x="3834879" y="3564294"/>
            <a:ext cx="4935897" cy="2932299"/>
            <a:chOff x="3834879" y="3564294"/>
            <a:chExt cx="4935897" cy="2932299"/>
          </a:xfrm>
          <a:solidFill>
            <a:srgbClr val="382658">
              <a:alpha val="75000"/>
            </a:srgbClr>
          </a:solidFill>
        </p:grpSpPr>
        <p:sp>
          <p:nvSpPr>
            <p:cNvPr id="21" name="Rectangle 20"/>
            <p:cNvSpPr/>
            <p:nvPr/>
          </p:nvSpPr>
          <p:spPr bwMode="auto">
            <a:xfrm>
              <a:off x="3834882" y="3564294"/>
              <a:ext cx="4935894" cy="13995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22" name="Right Triangle 21"/>
            <p:cNvSpPr/>
            <p:nvPr/>
          </p:nvSpPr>
          <p:spPr bwMode="auto">
            <a:xfrm rot="10800000">
              <a:off x="3834879" y="4963885"/>
              <a:ext cx="3760238" cy="1530220"/>
            </a:xfrm>
            <a:prstGeom prst="rt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23" name="Rectangle 22"/>
            <p:cNvSpPr/>
            <p:nvPr/>
          </p:nvSpPr>
          <p:spPr bwMode="auto">
            <a:xfrm>
              <a:off x="7593873" y="4963884"/>
              <a:ext cx="1175658" cy="1532709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24" name="Text Box 66"/>
          <p:cNvSpPr txBox="1">
            <a:spLocks noChangeArrowheads="1"/>
          </p:cNvSpPr>
          <p:nvPr userDrawn="1"/>
        </p:nvSpPr>
        <p:spPr bwMode="auto">
          <a:xfrm>
            <a:off x="519113" y="6588125"/>
            <a:ext cx="3808412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820738" eaLnBrk="0" hangingPunct="0">
              <a:spcBef>
                <a:spcPct val="50000"/>
              </a:spcBef>
              <a:defRPr/>
            </a:pPr>
            <a:r>
              <a:rPr lang="en-US" sz="1100" dirty="0">
                <a:solidFill>
                  <a:srgbClr val="636466"/>
                </a:solidFill>
                <a:ea typeface="MS PGothic" pitchFamily="34" charset="-128"/>
                <a:cs typeface="+mn-cs"/>
              </a:rPr>
              <a:t>CSC Proprietary and Confidential</a:t>
            </a:r>
          </a:p>
        </p:txBody>
      </p:sp>
      <p:sp>
        <p:nvSpPr>
          <p:cNvPr id="25" name="Text Box 115"/>
          <p:cNvSpPr txBox="1">
            <a:spLocks noChangeArrowheads="1"/>
          </p:cNvSpPr>
          <p:nvPr userDrawn="1"/>
        </p:nvSpPr>
        <p:spPr bwMode="auto">
          <a:xfrm>
            <a:off x="8578850" y="6613525"/>
            <a:ext cx="3651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FEBB3844-1D8B-4495-8EDF-CF9CAD0570C4}" type="slidenum">
              <a:rPr lang="en-US" sz="1000">
                <a:solidFill>
                  <a:srgbClr val="636466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‹#›</a:t>
            </a:fld>
            <a:r>
              <a:rPr lang="en-US" sz="1000" dirty="0">
                <a:solidFill>
                  <a:srgbClr val="636466"/>
                </a:solidFill>
                <a:ea typeface="MS PGothic" pitchFamily="34" charset="-128"/>
                <a:cs typeface="+mn-cs"/>
              </a:rPr>
              <a:t>    </a:t>
            </a:r>
          </a:p>
        </p:txBody>
      </p:sp>
      <p:sp>
        <p:nvSpPr>
          <p:cNvPr id="26" name="Text Box 115"/>
          <p:cNvSpPr txBox="1">
            <a:spLocks noChangeArrowheads="1"/>
          </p:cNvSpPr>
          <p:nvPr userDrawn="1"/>
        </p:nvSpPr>
        <p:spPr bwMode="auto">
          <a:xfrm>
            <a:off x="6716713" y="6611938"/>
            <a:ext cx="182880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03C7D0F0-10D5-4191-B6F4-99306F468FEF}" type="datetime4">
              <a:rPr lang="en-US" sz="1000">
                <a:solidFill>
                  <a:srgbClr val="636466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December 12, 2012</a:t>
            </a:fld>
            <a:endParaRPr lang="en-US" sz="1000" dirty="0">
              <a:solidFill>
                <a:srgbClr val="636466"/>
              </a:solidFill>
              <a:ea typeface="MS PGothic" pitchFamily="34" charset="-128"/>
              <a:cs typeface="+mn-cs"/>
            </a:endParaRPr>
          </a:p>
        </p:txBody>
      </p:sp>
      <p:sp>
        <p:nvSpPr>
          <p:cNvPr id="15" name="Rectangle 76"/>
          <p:cNvSpPr>
            <a:spLocks noGrp="1" noChangeArrowheads="1"/>
          </p:cNvSpPr>
          <p:nvPr>
            <p:ph type="subTitle" idx="1"/>
          </p:nvPr>
        </p:nvSpPr>
        <p:spPr>
          <a:xfrm>
            <a:off x="5182649" y="4517661"/>
            <a:ext cx="3491621" cy="193899"/>
          </a:xfrm>
        </p:spPr>
        <p:txBody>
          <a:bodyPr/>
          <a:lstStyle>
            <a:lvl1pPr marL="0" indent="0" algn="r">
              <a:spcBef>
                <a:spcPts val="400"/>
              </a:spcBef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Rectangle 75"/>
          <p:cNvSpPr>
            <a:spLocks noGrp="1" noChangeArrowheads="1"/>
          </p:cNvSpPr>
          <p:nvPr>
            <p:ph type="ctrTitle"/>
          </p:nvPr>
        </p:nvSpPr>
        <p:spPr>
          <a:xfrm>
            <a:off x="3918425" y="3722159"/>
            <a:ext cx="4746968" cy="626400"/>
          </a:xfrm>
        </p:spPr>
        <p:txBody>
          <a:bodyPr/>
          <a:lstStyle>
            <a:lvl1pPr algn="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and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0"/>
            <a:ext cx="9140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7"/>
          <p:cNvGrpSpPr>
            <a:grpSpLocks/>
          </p:cNvGrpSpPr>
          <p:nvPr userDrawn="1"/>
        </p:nvGrpSpPr>
        <p:grpSpPr bwMode="auto">
          <a:xfrm>
            <a:off x="352425" y="327025"/>
            <a:ext cx="977900" cy="544513"/>
            <a:chOff x="0" y="0"/>
            <a:chExt cx="616" cy="343"/>
          </a:xfrm>
        </p:grpSpPr>
        <p:sp>
          <p:nvSpPr>
            <p:cNvPr id="6" name="Freeform 3"/>
            <p:cNvSpPr>
              <a:spLocks/>
            </p:cNvSpPr>
            <p:nvPr/>
          </p:nvSpPr>
          <p:spPr bwMode="auto">
            <a:xfrm>
              <a:off x="0" y="0"/>
              <a:ext cx="616" cy="343"/>
            </a:xfrm>
            <a:custGeom>
              <a:avLst/>
              <a:gdLst>
                <a:gd name="T0" fmla="*/ 523 w 21600"/>
                <a:gd name="T1" fmla="*/ 343 h 21600"/>
                <a:gd name="T2" fmla="*/ 616 w 21600"/>
                <a:gd name="T3" fmla="*/ 252 h 21600"/>
                <a:gd name="T4" fmla="*/ 616 w 21600"/>
                <a:gd name="T5" fmla="*/ 0 h 21600"/>
                <a:gd name="T6" fmla="*/ 93 w 21600"/>
                <a:gd name="T7" fmla="*/ 0 h 21600"/>
                <a:gd name="T8" fmla="*/ 0 w 21600"/>
                <a:gd name="T9" fmla="*/ 92 h 21600"/>
                <a:gd name="T10" fmla="*/ 0 w 21600"/>
                <a:gd name="T11" fmla="*/ 343 h 21600"/>
                <a:gd name="T12" fmla="*/ 523 w 21600"/>
                <a:gd name="T13" fmla="*/ 343 h 21600"/>
                <a:gd name="T14" fmla="*/ 523 w 21600"/>
                <a:gd name="T15" fmla="*/ 343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600"/>
                <a:gd name="T25" fmla="*/ 0 h 21600"/>
                <a:gd name="T26" fmla="*/ 21600 w 21600"/>
                <a:gd name="T27" fmla="*/ 21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18330" y="21600"/>
                  </a:moveTo>
                  <a:lnTo>
                    <a:pt x="21600" y="15845"/>
                  </a:lnTo>
                  <a:lnTo>
                    <a:pt x="21600" y="0"/>
                  </a:lnTo>
                  <a:lnTo>
                    <a:pt x="3270" y="0"/>
                  </a:lnTo>
                  <a:lnTo>
                    <a:pt x="0" y="5823"/>
                  </a:lnTo>
                  <a:lnTo>
                    <a:pt x="0" y="21600"/>
                  </a:lnTo>
                  <a:lnTo>
                    <a:pt x="18330" y="21600"/>
                  </a:lnTo>
                  <a:close/>
                  <a:moveTo>
                    <a:pt x="18330" y="21600"/>
                  </a:moveTo>
                </a:path>
              </a:pathLst>
            </a:custGeom>
            <a:solidFill>
              <a:srgbClr val="EE2525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7" name="Freeform 4"/>
            <p:cNvSpPr>
              <a:spLocks/>
            </p:cNvSpPr>
            <p:nvPr/>
          </p:nvSpPr>
          <p:spPr bwMode="auto">
            <a:xfrm>
              <a:off x="75" y="90"/>
              <a:ext cx="150" cy="166"/>
            </a:xfrm>
            <a:custGeom>
              <a:avLst/>
              <a:gdLst>
                <a:gd name="T0" fmla="*/ 124 w 21600"/>
                <a:gd name="T1" fmla="*/ 110 h 21600"/>
                <a:gd name="T2" fmla="*/ 123 w 21600"/>
                <a:gd name="T3" fmla="*/ 111 h 21600"/>
                <a:gd name="T4" fmla="*/ 83 w 21600"/>
                <a:gd name="T5" fmla="*/ 129 h 21600"/>
                <a:gd name="T6" fmla="*/ 55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3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3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2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4 w 21600"/>
                <a:gd name="T33" fmla="*/ 110 h 21600"/>
                <a:gd name="T34" fmla="*/ 124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7908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5877" y="15951"/>
                    <a:pt x="14585" y="16782"/>
                    <a:pt x="12000" y="16782"/>
                  </a:cubicBezTo>
                  <a:cubicBezTo>
                    <a:pt x="10338" y="16782"/>
                    <a:pt x="9046" y="16283"/>
                    <a:pt x="7938" y="15452"/>
                  </a:cubicBezTo>
                  <a:cubicBezTo>
                    <a:pt x="6646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000" y="4652"/>
                  </a:cubicBezTo>
                  <a:cubicBezTo>
                    <a:pt x="14215" y="4652"/>
                    <a:pt x="15692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015" y="1329"/>
                    <a:pt x="16431" y="0"/>
                    <a:pt x="12000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477" y="16948"/>
                    <a:pt x="4062" y="18942"/>
                  </a:cubicBezTo>
                  <a:cubicBezTo>
                    <a:pt x="6092" y="20603"/>
                    <a:pt x="8862" y="21600"/>
                    <a:pt x="11815" y="21600"/>
                  </a:cubicBezTo>
                  <a:cubicBezTo>
                    <a:pt x="16246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7908" y="14289"/>
                  </a:lnTo>
                  <a:close/>
                  <a:moveTo>
                    <a:pt x="17908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386" y="90"/>
              <a:ext cx="150" cy="166"/>
            </a:xfrm>
            <a:custGeom>
              <a:avLst/>
              <a:gdLst>
                <a:gd name="T0" fmla="*/ 126 w 21600"/>
                <a:gd name="T1" fmla="*/ 110 h 21600"/>
                <a:gd name="T2" fmla="*/ 123 w 21600"/>
                <a:gd name="T3" fmla="*/ 111 h 21600"/>
                <a:gd name="T4" fmla="*/ 85 w 21600"/>
                <a:gd name="T5" fmla="*/ 129 h 21600"/>
                <a:gd name="T6" fmla="*/ 56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5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5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3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6 w 21600"/>
                <a:gd name="T33" fmla="*/ 110 h 21600"/>
                <a:gd name="T34" fmla="*/ 126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8092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6062" y="15951"/>
                    <a:pt x="14585" y="16782"/>
                    <a:pt x="12185" y="16782"/>
                  </a:cubicBezTo>
                  <a:cubicBezTo>
                    <a:pt x="10523" y="16782"/>
                    <a:pt x="9046" y="16283"/>
                    <a:pt x="8123" y="15452"/>
                  </a:cubicBezTo>
                  <a:cubicBezTo>
                    <a:pt x="6831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185" y="4652"/>
                  </a:cubicBezTo>
                  <a:cubicBezTo>
                    <a:pt x="14215" y="4652"/>
                    <a:pt x="15877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200" y="1329"/>
                    <a:pt x="16431" y="0"/>
                    <a:pt x="12185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662" y="16948"/>
                    <a:pt x="4062" y="18942"/>
                  </a:cubicBezTo>
                  <a:cubicBezTo>
                    <a:pt x="6092" y="20603"/>
                    <a:pt x="8862" y="21600"/>
                    <a:pt x="12000" y="21600"/>
                  </a:cubicBezTo>
                  <a:cubicBezTo>
                    <a:pt x="16431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8092" y="14289"/>
                  </a:lnTo>
                  <a:close/>
                  <a:moveTo>
                    <a:pt x="18092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39" y="90"/>
              <a:ext cx="129" cy="164"/>
            </a:xfrm>
            <a:custGeom>
              <a:avLst/>
              <a:gdLst>
                <a:gd name="T0" fmla="*/ 129 w 21600"/>
                <a:gd name="T1" fmla="*/ 113 h 21600"/>
                <a:gd name="T2" fmla="*/ 80 w 21600"/>
                <a:gd name="T3" fmla="*/ 65 h 21600"/>
                <a:gd name="T4" fmla="*/ 74 w 21600"/>
                <a:gd name="T5" fmla="*/ 64 h 21600"/>
                <a:gd name="T6" fmla="*/ 46 w 21600"/>
                <a:gd name="T7" fmla="*/ 47 h 21600"/>
                <a:gd name="T8" fmla="*/ 46 w 21600"/>
                <a:gd name="T9" fmla="*/ 46 h 21600"/>
                <a:gd name="T10" fmla="*/ 64 w 21600"/>
                <a:gd name="T11" fmla="*/ 36 h 21600"/>
                <a:gd name="T12" fmla="*/ 95 w 21600"/>
                <a:gd name="T13" fmla="*/ 44 h 21600"/>
                <a:gd name="T14" fmla="*/ 98 w 21600"/>
                <a:gd name="T15" fmla="*/ 47 h 21600"/>
                <a:gd name="T16" fmla="*/ 125 w 21600"/>
                <a:gd name="T17" fmla="*/ 22 h 21600"/>
                <a:gd name="T18" fmla="*/ 124 w 21600"/>
                <a:gd name="T19" fmla="*/ 20 h 21600"/>
                <a:gd name="T20" fmla="*/ 120 w 21600"/>
                <a:gd name="T21" fmla="*/ 18 h 21600"/>
                <a:gd name="T22" fmla="*/ 64 w 21600"/>
                <a:gd name="T23" fmla="*/ 0 h 21600"/>
                <a:gd name="T24" fmla="*/ 8 w 21600"/>
                <a:gd name="T25" fmla="*/ 50 h 21600"/>
                <a:gd name="T26" fmla="*/ 43 w 21600"/>
                <a:gd name="T27" fmla="*/ 94 h 21600"/>
                <a:gd name="T28" fmla="*/ 50 w 21600"/>
                <a:gd name="T29" fmla="*/ 97 h 21600"/>
                <a:gd name="T30" fmla="*/ 60 w 21600"/>
                <a:gd name="T31" fmla="*/ 99 h 21600"/>
                <a:gd name="T32" fmla="*/ 89 w 21600"/>
                <a:gd name="T33" fmla="*/ 117 h 21600"/>
                <a:gd name="T34" fmla="*/ 70 w 21600"/>
                <a:gd name="T35" fmla="*/ 130 h 21600"/>
                <a:gd name="T36" fmla="*/ 31 w 21600"/>
                <a:gd name="T37" fmla="*/ 116 h 21600"/>
                <a:gd name="T38" fmla="*/ 26 w 21600"/>
                <a:gd name="T39" fmla="*/ 112 h 21600"/>
                <a:gd name="T40" fmla="*/ 0 w 21600"/>
                <a:gd name="T41" fmla="*/ 137 h 21600"/>
                <a:gd name="T42" fmla="*/ 1 w 21600"/>
                <a:gd name="T43" fmla="*/ 139 h 21600"/>
                <a:gd name="T44" fmla="*/ 5 w 21600"/>
                <a:gd name="T45" fmla="*/ 141 h 21600"/>
                <a:gd name="T46" fmla="*/ 69 w 21600"/>
                <a:gd name="T47" fmla="*/ 164 h 21600"/>
                <a:gd name="T48" fmla="*/ 129 w 21600"/>
                <a:gd name="T49" fmla="*/ 114 h 21600"/>
                <a:gd name="T50" fmla="*/ 129 w 21600"/>
                <a:gd name="T51" fmla="*/ 113 h 21600"/>
                <a:gd name="T52" fmla="*/ 129 w 21600"/>
                <a:gd name="T53" fmla="*/ 113 h 216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1600"/>
                <a:gd name="T82" fmla="*/ 0 h 21600"/>
                <a:gd name="T83" fmla="*/ 21600 w 21600"/>
                <a:gd name="T84" fmla="*/ 21600 h 216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1600" h="21600">
                  <a:moveTo>
                    <a:pt x="21600" y="14902"/>
                  </a:moveTo>
                  <a:cubicBezTo>
                    <a:pt x="21600" y="11386"/>
                    <a:pt x="18606" y="9712"/>
                    <a:pt x="13473" y="8540"/>
                  </a:cubicBezTo>
                  <a:cubicBezTo>
                    <a:pt x="13259" y="8540"/>
                    <a:pt x="12618" y="8372"/>
                    <a:pt x="12404" y="8372"/>
                  </a:cubicBezTo>
                  <a:cubicBezTo>
                    <a:pt x="8341" y="7535"/>
                    <a:pt x="7699" y="7200"/>
                    <a:pt x="7699" y="6195"/>
                  </a:cubicBezTo>
                  <a:cubicBezTo>
                    <a:pt x="7699" y="6028"/>
                    <a:pt x="7699" y="6028"/>
                    <a:pt x="7699" y="6028"/>
                  </a:cubicBezTo>
                  <a:cubicBezTo>
                    <a:pt x="7699" y="5358"/>
                    <a:pt x="8554" y="4688"/>
                    <a:pt x="10693" y="4688"/>
                  </a:cubicBezTo>
                  <a:cubicBezTo>
                    <a:pt x="12190" y="4688"/>
                    <a:pt x="13901" y="5023"/>
                    <a:pt x="15826" y="5860"/>
                  </a:cubicBezTo>
                  <a:cubicBezTo>
                    <a:pt x="16040" y="6028"/>
                    <a:pt x="16253" y="6028"/>
                    <a:pt x="16467" y="6195"/>
                  </a:cubicBezTo>
                  <a:cubicBezTo>
                    <a:pt x="20958" y="2847"/>
                    <a:pt x="20958" y="2847"/>
                    <a:pt x="20958" y="2847"/>
                  </a:cubicBezTo>
                  <a:cubicBezTo>
                    <a:pt x="20745" y="2679"/>
                    <a:pt x="20745" y="2679"/>
                    <a:pt x="20745" y="2679"/>
                  </a:cubicBezTo>
                  <a:cubicBezTo>
                    <a:pt x="20531" y="2512"/>
                    <a:pt x="20317" y="2512"/>
                    <a:pt x="20103" y="2344"/>
                  </a:cubicBezTo>
                  <a:cubicBezTo>
                    <a:pt x="17537" y="837"/>
                    <a:pt x="14329" y="0"/>
                    <a:pt x="10693" y="0"/>
                  </a:cubicBezTo>
                  <a:cubicBezTo>
                    <a:pt x="5133" y="0"/>
                    <a:pt x="1283" y="2512"/>
                    <a:pt x="1283" y="6530"/>
                  </a:cubicBezTo>
                  <a:cubicBezTo>
                    <a:pt x="1069" y="10047"/>
                    <a:pt x="3636" y="11553"/>
                    <a:pt x="7271" y="12391"/>
                  </a:cubicBezTo>
                  <a:cubicBezTo>
                    <a:pt x="7699" y="12558"/>
                    <a:pt x="7913" y="12558"/>
                    <a:pt x="8341" y="12726"/>
                  </a:cubicBezTo>
                  <a:cubicBezTo>
                    <a:pt x="8768" y="12893"/>
                    <a:pt x="9410" y="12893"/>
                    <a:pt x="10051" y="13060"/>
                  </a:cubicBezTo>
                  <a:cubicBezTo>
                    <a:pt x="14543" y="14065"/>
                    <a:pt x="14970" y="14400"/>
                    <a:pt x="14970" y="15405"/>
                  </a:cubicBezTo>
                  <a:cubicBezTo>
                    <a:pt x="14970" y="16409"/>
                    <a:pt x="13901" y="17079"/>
                    <a:pt x="11762" y="17079"/>
                  </a:cubicBezTo>
                  <a:cubicBezTo>
                    <a:pt x="9196" y="17079"/>
                    <a:pt x="7057" y="16409"/>
                    <a:pt x="5133" y="15237"/>
                  </a:cubicBezTo>
                  <a:cubicBezTo>
                    <a:pt x="4919" y="15070"/>
                    <a:pt x="4705" y="14902"/>
                    <a:pt x="4277" y="14735"/>
                  </a:cubicBezTo>
                  <a:cubicBezTo>
                    <a:pt x="0" y="18084"/>
                    <a:pt x="0" y="18084"/>
                    <a:pt x="0" y="18084"/>
                  </a:cubicBezTo>
                  <a:cubicBezTo>
                    <a:pt x="214" y="18251"/>
                    <a:pt x="214" y="18251"/>
                    <a:pt x="214" y="18251"/>
                  </a:cubicBezTo>
                  <a:cubicBezTo>
                    <a:pt x="428" y="18419"/>
                    <a:pt x="642" y="18419"/>
                    <a:pt x="855" y="18586"/>
                  </a:cubicBezTo>
                  <a:cubicBezTo>
                    <a:pt x="3850" y="20595"/>
                    <a:pt x="7699" y="21600"/>
                    <a:pt x="11549" y="21600"/>
                  </a:cubicBezTo>
                  <a:cubicBezTo>
                    <a:pt x="17323" y="21600"/>
                    <a:pt x="21600" y="19256"/>
                    <a:pt x="21600" y="15070"/>
                  </a:cubicBezTo>
                  <a:lnTo>
                    <a:pt x="21600" y="14902"/>
                  </a:lnTo>
                  <a:close/>
                  <a:moveTo>
                    <a:pt x="21600" y="14902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10" name="Text Box 66"/>
          <p:cNvSpPr txBox="1">
            <a:spLocks noChangeArrowheads="1"/>
          </p:cNvSpPr>
          <p:nvPr userDrawn="1"/>
        </p:nvSpPr>
        <p:spPr bwMode="auto">
          <a:xfrm>
            <a:off x="366713" y="6575425"/>
            <a:ext cx="3808412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820738" eaLnBrk="0" hangingPunct="0">
              <a:spcBef>
                <a:spcPct val="50000"/>
              </a:spcBef>
              <a:defRPr/>
            </a:pPr>
            <a:r>
              <a:rPr lang="en-US" sz="1100" dirty="0">
                <a:solidFill>
                  <a:srgbClr val="FFFFFF"/>
                </a:solidFill>
                <a:ea typeface="MS PGothic" pitchFamily="34" charset="-128"/>
                <a:cs typeface="+mn-cs"/>
              </a:rPr>
              <a:t>CSC Proprietary and Confidential</a:t>
            </a: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8426450" y="6599238"/>
            <a:ext cx="36512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6E762D70-0323-49B8-AA29-8C335C3D358A}" type="slidenum">
              <a:rPr lang="en-US" sz="1000">
                <a:solidFill>
                  <a:srgbClr val="FFFFFF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‹#›</a:t>
            </a:fld>
            <a:r>
              <a:rPr lang="en-US" sz="1000" dirty="0">
                <a:solidFill>
                  <a:srgbClr val="FFFFFF"/>
                </a:solidFill>
                <a:ea typeface="MS PGothic" pitchFamily="34" charset="-128"/>
                <a:cs typeface="+mn-cs"/>
              </a:rPr>
              <a:t>    </a:t>
            </a:r>
          </a:p>
        </p:txBody>
      </p:sp>
      <p:sp>
        <p:nvSpPr>
          <p:cNvPr id="12" name="Text Box 115"/>
          <p:cNvSpPr txBox="1">
            <a:spLocks noChangeArrowheads="1"/>
          </p:cNvSpPr>
          <p:nvPr userDrawn="1"/>
        </p:nvSpPr>
        <p:spPr bwMode="auto">
          <a:xfrm>
            <a:off x="6564313" y="6599238"/>
            <a:ext cx="182880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03C7D0F0-10D5-4191-B6F4-99306F468FEF}" type="datetime4">
              <a:rPr lang="en-US" sz="1000">
                <a:solidFill>
                  <a:srgbClr val="FFFFFF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December 12, 2012</a:t>
            </a:fld>
            <a:endParaRPr lang="en-US" sz="1000" dirty="0">
              <a:solidFill>
                <a:srgbClr val="FFFFFF"/>
              </a:solidFill>
              <a:ea typeface="MS PGothic" pitchFamily="34" charset="-128"/>
              <a:cs typeface="+mn-cs"/>
            </a:endParaRPr>
          </a:p>
        </p:txBody>
      </p:sp>
      <p:grpSp>
        <p:nvGrpSpPr>
          <p:cNvPr id="13" name="Group 7"/>
          <p:cNvGrpSpPr>
            <a:grpSpLocks/>
          </p:cNvGrpSpPr>
          <p:nvPr userDrawn="1"/>
        </p:nvGrpSpPr>
        <p:grpSpPr bwMode="auto">
          <a:xfrm>
            <a:off x="352425" y="327025"/>
            <a:ext cx="977900" cy="544513"/>
            <a:chOff x="0" y="0"/>
            <a:chExt cx="616" cy="343"/>
          </a:xfrm>
        </p:grpSpPr>
        <p:sp>
          <p:nvSpPr>
            <p:cNvPr id="16" name="Freeform 3"/>
            <p:cNvSpPr>
              <a:spLocks/>
            </p:cNvSpPr>
            <p:nvPr/>
          </p:nvSpPr>
          <p:spPr bwMode="auto">
            <a:xfrm>
              <a:off x="0" y="0"/>
              <a:ext cx="616" cy="343"/>
            </a:xfrm>
            <a:custGeom>
              <a:avLst/>
              <a:gdLst>
                <a:gd name="T0" fmla="*/ 523 w 21600"/>
                <a:gd name="T1" fmla="*/ 343 h 21600"/>
                <a:gd name="T2" fmla="*/ 616 w 21600"/>
                <a:gd name="T3" fmla="*/ 252 h 21600"/>
                <a:gd name="T4" fmla="*/ 616 w 21600"/>
                <a:gd name="T5" fmla="*/ 0 h 21600"/>
                <a:gd name="T6" fmla="*/ 93 w 21600"/>
                <a:gd name="T7" fmla="*/ 0 h 21600"/>
                <a:gd name="T8" fmla="*/ 0 w 21600"/>
                <a:gd name="T9" fmla="*/ 92 h 21600"/>
                <a:gd name="T10" fmla="*/ 0 w 21600"/>
                <a:gd name="T11" fmla="*/ 343 h 21600"/>
                <a:gd name="T12" fmla="*/ 523 w 21600"/>
                <a:gd name="T13" fmla="*/ 343 h 21600"/>
                <a:gd name="T14" fmla="*/ 523 w 21600"/>
                <a:gd name="T15" fmla="*/ 343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600"/>
                <a:gd name="T25" fmla="*/ 0 h 21600"/>
                <a:gd name="T26" fmla="*/ 21600 w 21600"/>
                <a:gd name="T27" fmla="*/ 21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18330" y="21600"/>
                  </a:moveTo>
                  <a:lnTo>
                    <a:pt x="21600" y="15845"/>
                  </a:lnTo>
                  <a:lnTo>
                    <a:pt x="21600" y="0"/>
                  </a:lnTo>
                  <a:lnTo>
                    <a:pt x="3270" y="0"/>
                  </a:lnTo>
                  <a:lnTo>
                    <a:pt x="0" y="5823"/>
                  </a:lnTo>
                  <a:lnTo>
                    <a:pt x="0" y="21600"/>
                  </a:lnTo>
                  <a:lnTo>
                    <a:pt x="18330" y="21600"/>
                  </a:lnTo>
                  <a:close/>
                  <a:moveTo>
                    <a:pt x="18330" y="21600"/>
                  </a:moveTo>
                </a:path>
              </a:pathLst>
            </a:custGeom>
            <a:solidFill>
              <a:srgbClr val="EE2525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7" name="Freeform 4"/>
            <p:cNvSpPr>
              <a:spLocks/>
            </p:cNvSpPr>
            <p:nvPr/>
          </p:nvSpPr>
          <p:spPr bwMode="auto">
            <a:xfrm>
              <a:off x="75" y="90"/>
              <a:ext cx="150" cy="166"/>
            </a:xfrm>
            <a:custGeom>
              <a:avLst/>
              <a:gdLst>
                <a:gd name="T0" fmla="*/ 124 w 21600"/>
                <a:gd name="T1" fmla="*/ 110 h 21600"/>
                <a:gd name="T2" fmla="*/ 123 w 21600"/>
                <a:gd name="T3" fmla="*/ 111 h 21600"/>
                <a:gd name="T4" fmla="*/ 83 w 21600"/>
                <a:gd name="T5" fmla="*/ 129 h 21600"/>
                <a:gd name="T6" fmla="*/ 55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3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3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2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4 w 21600"/>
                <a:gd name="T33" fmla="*/ 110 h 21600"/>
                <a:gd name="T34" fmla="*/ 124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7908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5877" y="15951"/>
                    <a:pt x="14585" y="16782"/>
                    <a:pt x="12000" y="16782"/>
                  </a:cubicBezTo>
                  <a:cubicBezTo>
                    <a:pt x="10338" y="16782"/>
                    <a:pt x="9046" y="16283"/>
                    <a:pt x="7938" y="15452"/>
                  </a:cubicBezTo>
                  <a:cubicBezTo>
                    <a:pt x="6646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000" y="4652"/>
                  </a:cubicBezTo>
                  <a:cubicBezTo>
                    <a:pt x="14215" y="4652"/>
                    <a:pt x="15692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015" y="1329"/>
                    <a:pt x="16431" y="0"/>
                    <a:pt x="12000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477" y="16948"/>
                    <a:pt x="4062" y="18942"/>
                  </a:cubicBezTo>
                  <a:cubicBezTo>
                    <a:pt x="6092" y="20603"/>
                    <a:pt x="8862" y="21600"/>
                    <a:pt x="11815" y="21600"/>
                  </a:cubicBezTo>
                  <a:cubicBezTo>
                    <a:pt x="16246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7908" y="14289"/>
                  </a:lnTo>
                  <a:close/>
                  <a:moveTo>
                    <a:pt x="17908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386" y="90"/>
              <a:ext cx="150" cy="166"/>
            </a:xfrm>
            <a:custGeom>
              <a:avLst/>
              <a:gdLst>
                <a:gd name="T0" fmla="*/ 126 w 21600"/>
                <a:gd name="T1" fmla="*/ 110 h 21600"/>
                <a:gd name="T2" fmla="*/ 123 w 21600"/>
                <a:gd name="T3" fmla="*/ 111 h 21600"/>
                <a:gd name="T4" fmla="*/ 85 w 21600"/>
                <a:gd name="T5" fmla="*/ 129 h 21600"/>
                <a:gd name="T6" fmla="*/ 56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5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5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3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6 w 21600"/>
                <a:gd name="T33" fmla="*/ 110 h 21600"/>
                <a:gd name="T34" fmla="*/ 126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8092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6062" y="15951"/>
                    <a:pt x="14585" y="16782"/>
                    <a:pt x="12185" y="16782"/>
                  </a:cubicBezTo>
                  <a:cubicBezTo>
                    <a:pt x="10523" y="16782"/>
                    <a:pt x="9046" y="16283"/>
                    <a:pt x="8123" y="15452"/>
                  </a:cubicBezTo>
                  <a:cubicBezTo>
                    <a:pt x="6831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185" y="4652"/>
                  </a:cubicBezTo>
                  <a:cubicBezTo>
                    <a:pt x="14215" y="4652"/>
                    <a:pt x="15877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200" y="1329"/>
                    <a:pt x="16431" y="0"/>
                    <a:pt x="12185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662" y="16948"/>
                    <a:pt x="4062" y="18942"/>
                  </a:cubicBezTo>
                  <a:cubicBezTo>
                    <a:pt x="6092" y="20603"/>
                    <a:pt x="8862" y="21600"/>
                    <a:pt x="12000" y="21600"/>
                  </a:cubicBezTo>
                  <a:cubicBezTo>
                    <a:pt x="16431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8092" y="14289"/>
                  </a:lnTo>
                  <a:close/>
                  <a:moveTo>
                    <a:pt x="18092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239" y="90"/>
              <a:ext cx="129" cy="164"/>
            </a:xfrm>
            <a:custGeom>
              <a:avLst/>
              <a:gdLst>
                <a:gd name="T0" fmla="*/ 129 w 21600"/>
                <a:gd name="T1" fmla="*/ 113 h 21600"/>
                <a:gd name="T2" fmla="*/ 80 w 21600"/>
                <a:gd name="T3" fmla="*/ 65 h 21600"/>
                <a:gd name="T4" fmla="*/ 74 w 21600"/>
                <a:gd name="T5" fmla="*/ 64 h 21600"/>
                <a:gd name="T6" fmla="*/ 46 w 21600"/>
                <a:gd name="T7" fmla="*/ 47 h 21600"/>
                <a:gd name="T8" fmla="*/ 46 w 21600"/>
                <a:gd name="T9" fmla="*/ 46 h 21600"/>
                <a:gd name="T10" fmla="*/ 64 w 21600"/>
                <a:gd name="T11" fmla="*/ 36 h 21600"/>
                <a:gd name="T12" fmla="*/ 95 w 21600"/>
                <a:gd name="T13" fmla="*/ 44 h 21600"/>
                <a:gd name="T14" fmla="*/ 98 w 21600"/>
                <a:gd name="T15" fmla="*/ 47 h 21600"/>
                <a:gd name="T16" fmla="*/ 125 w 21600"/>
                <a:gd name="T17" fmla="*/ 22 h 21600"/>
                <a:gd name="T18" fmla="*/ 124 w 21600"/>
                <a:gd name="T19" fmla="*/ 20 h 21600"/>
                <a:gd name="T20" fmla="*/ 120 w 21600"/>
                <a:gd name="T21" fmla="*/ 18 h 21600"/>
                <a:gd name="T22" fmla="*/ 64 w 21600"/>
                <a:gd name="T23" fmla="*/ 0 h 21600"/>
                <a:gd name="T24" fmla="*/ 8 w 21600"/>
                <a:gd name="T25" fmla="*/ 50 h 21600"/>
                <a:gd name="T26" fmla="*/ 43 w 21600"/>
                <a:gd name="T27" fmla="*/ 94 h 21600"/>
                <a:gd name="T28" fmla="*/ 50 w 21600"/>
                <a:gd name="T29" fmla="*/ 97 h 21600"/>
                <a:gd name="T30" fmla="*/ 60 w 21600"/>
                <a:gd name="T31" fmla="*/ 99 h 21600"/>
                <a:gd name="T32" fmla="*/ 89 w 21600"/>
                <a:gd name="T33" fmla="*/ 117 h 21600"/>
                <a:gd name="T34" fmla="*/ 70 w 21600"/>
                <a:gd name="T35" fmla="*/ 130 h 21600"/>
                <a:gd name="T36" fmla="*/ 31 w 21600"/>
                <a:gd name="T37" fmla="*/ 116 h 21600"/>
                <a:gd name="T38" fmla="*/ 26 w 21600"/>
                <a:gd name="T39" fmla="*/ 112 h 21600"/>
                <a:gd name="T40" fmla="*/ 0 w 21600"/>
                <a:gd name="T41" fmla="*/ 137 h 21600"/>
                <a:gd name="T42" fmla="*/ 1 w 21600"/>
                <a:gd name="T43" fmla="*/ 139 h 21600"/>
                <a:gd name="T44" fmla="*/ 5 w 21600"/>
                <a:gd name="T45" fmla="*/ 141 h 21600"/>
                <a:gd name="T46" fmla="*/ 69 w 21600"/>
                <a:gd name="T47" fmla="*/ 164 h 21600"/>
                <a:gd name="T48" fmla="*/ 129 w 21600"/>
                <a:gd name="T49" fmla="*/ 114 h 21600"/>
                <a:gd name="T50" fmla="*/ 129 w 21600"/>
                <a:gd name="T51" fmla="*/ 113 h 21600"/>
                <a:gd name="T52" fmla="*/ 129 w 21600"/>
                <a:gd name="T53" fmla="*/ 113 h 216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1600"/>
                <a:gd name="T82" fmla="*/ 0 h 21600"/>
                <a:gd name="T83" fmla="*/ 21600 w 21600"/>
                <a:gd name="T84" fmla="*/ 21600 h 216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1600" h="21600">
                  <a:moveTo>
                    <a:pt x="21600" y="14902"/>
                  </a:moveTo>
                  <a:cubicBezTo>
                    <a:pt x="21600" y="11386"/>
                    <a:pt x="18606" y="9712"/>
                    <a:pt x="13473" y="8540"/>
                  </a:cubicBezTo>
                  <a:cubicBezTo>
                    <a:pt x="13259" y="8540"/>
                    <a:pt x="12618" y="8372"/>
                    <a:pt x="12404" y="8372"/>
                  </a:cubicBezTo>
                  <a:cubicBezTo>
                    <a:pt x="8341" y="7535"/>
                    <a:pt x="7699" y="7200"/>
                    <a:pt x="7699" y="6195"/>
                  </a:cubicBezTo>
                  <a:cubicBezTo>
                    <a:pt x="7699" y="6028"/>
                    <a:pt x="7699" y="6028"/>
                    <a:pt x="7699" y="6028"/>
                  </a:cubicBezTo>
                  <a:cubicBezTo>
                    <a:pt x="7699" y="5358"/>
                    <a:pt x="8554" y="4688"/>
                    <a:pt x="10693" y="4688"/>
                  </a:cubicBezTo>
                  <a:cubicBezTo>
                    <a:pt x="12190" y="4688"/>
                    <a:pt x="13901" y="5023"/>
                    <a:pt x="15826" y="5860"/>
                  </a:cubicBezTo>
                  <a:cubicBezTo>
                    <a:pt x="16040" y="6028"/>
                    <a:pt x="16253" y="6028"/>
                    <a:pt x="16467" y="6195"/>
                  </a:cubicBezTo>
                  <a:cubicBezTo>
                    <a:pt x="20958" y="2847"/>
                    <a:pt x="20958" y="2847"/>
                    <a:pt x="20958" y="2847"/>
                  </a:cubicBezTo>
                  <a:cubicBezTo>
                    <a:pt x="20745" y="2679"/>
                    <a:pt x="20745" y="2679"/>
                    <a:pt x="20745" y="2679"/>
                  </a:cubicBezTo>
                  <a:cubicBezTo>
                    <a:pt x="20531" y="2512"/>
                    <a:pt x="20317" y="2512"/>
                    <a:pt x="20103" y="2344"/>
                  </a:cubicBezTo>
                  <a:cubicBezTo>
                    <a:pt x="17537" y="837"/>
                    <a:pt x="14329" y="0"/>
                    <a:pt x="10693" y="0"/>
                  </a:cubicBezTo>
                  <a:cubicBezTo>
                    <a:pt x="5133" y="0"/>
                    <a:pt x="1283" y="2512"/>
                    <a:pt x="1283" y="6530"/>
                  </a:cubicBezTo>
                  <a:cubicBezTo>
                    <a:pt x="1069" y="10047"/>
                    <a:pt x="3636" y="11553"/>
                    <a:pt x="7271" y="12391"/>
                  </a:cubicBezTo>
                  <a:cubicBezTo>
                    <a:pt x="7699" y="12558"/>
                    <a:pt x="7913" y="12558"/>
                    <a:pt x="8341" y="12726"/>
                  </a:cubicBezTo>
                  <a:cubicBezTo>
                    <a:pt x="8768" y="12893"/>
                    <a:pt x="9410" y="12893"/>
                    <a:pt x="10051" y="13060"/>
                  </a:cubicBezTo>
                  <a:cubicBezTo>
                    <a:pt x="14543" y="14065"/>
                    <a:pt x="14970" y="14400"/>
                    <a:pt x="14970" y="15405"/>
                  </a:cubicBezTo>
                  <a:cubicBezTo>
                    <a:pt x="14970" y="16409"/>
                    <a:pt x="13901" y="17079"/>
                    <a:pt x="11762" y="17079"/>
                  </a:cubicBezTo>
                  <a:cubicBezTo>
                    <a:pt x="9196" y="17079"/>
                    <a:pt x="7057" y="16409"/>
                    <a:pt x="5133" y="15237"/>
                  </a:cubicBezTo>
                  <a:cubicBezTo>
                    <a:pt x="4919" y="15070"/>
                    <a:pt x="4705" y="14902"/>
                    <a:pt x="4277" y="14735"/>
                  </a:cubicBezTo>
                  <a:cubicBezTo>
                    <a:pt x="0" y="18084"/>
                    <a:pt x="0" y="18084"/>
                    <a:pt x="0" y="18084"/>
                  </a:cubicBezTo>
                  <a:cubicBezTo>
                    <a:pt x="214" y="18251"/>
                    <a:pt x="214" y="18251"/>
                    <a:pt x="214" y="18251"/>
                  </a:cubicBezTo>
                  <a:cubicBezTo>
                    <a:pt x="428" y="18419"/>
                    <a:pt x="642" y="18419"/>
                    <a:pt x="855" y="18586"/>
                  </a:cubicBezTo>
                  <a:cubicBezTo>
                    <a:pt x="3850" y="20595"/>
                    <a:pt x="7699" y="21600"/>
                    <a:pt x="11549" y="21600"/>
                  </a:cubicBezTo>
                  <a:cubicBezTo>
                    <a:pt x="17323" y="21600"/>
                    <a:pt x="21600" y="19256"/>
                    <a:pt x="21600" y="15070"/>
                  </a:cubicBezTo>
                  <a:lnTo>
                    <a:pt x="21600" y="14902"/>
                  </a:lnTo>
                  <a:close/>
                  <a:moveTo>
                    <a:pt x="21600" y="14902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</p:grpSp>
      <p:grpSp>
        <p:nvGrpSpPr>
          <p:cNvPr id="20" name="Group 31"/>
          <p:cNvGrpSpPr/>
          <p:nvPr userDrawn="1"/>
        </p:nvGrpSpPr>
        <p:grpSpPr>
          <a:xfrm>
            <a:off x="3834879" y="3564294"/>
            <a:ext cx="4935897" cy="2932299"/>
            <a:chOff x="3834879" y="3564294"/>
            <a:chExt cx="4935897" cy="2932299"/>
          </a:xfrm>
          <a:solidFill>
            <a:srgbClr val="003F60">
              <a:alpha val="75000"/>
            </a:srgbClr>
          </a:solidFill>
        </p:grpSpPr>
        <p:sp>
          <p:nvSpPr>
            <p:cNvPr id="21" name="Rectangle 20"/>
            <p:cNvSpPr/>
            <p:nvPr/>
          </p:nvSpPr>
          <p:spPr bwMode="auto">
            <a:xfrm>
              <a:off x="3834882" y="3564294"/>
              <a:ext cx="4935894" cy="139959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22" name="Right Triangle 21"/>
            <p:cNvSpPr/>
            <p:nvPr/>
          </p:nvSpPr>
          <p:spPr bwMode="auto">
            <a:xfrm rot="10800000">
              <a:off x="3834879" y="4963885"/>
              <a:ext cx="3760238" cy="1530220"/>
            </a:xfrm>
            <a:prstGeom prst="rt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23" name="Rectangle 22"/>
            <p:cNvSpPr/>
            <p:nvPr/>
          </p:nvSpPr>
          <p:spPr bwMode="auto">
            <a:xfrm>
              <a:off x="7593873" y="4963884"/>
              <a:ext cx="1175658" cy="1532709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24" name="AutoShape 2" descr="http://s3.amazonaws.com/assets1.csc.com/styleguide/images/MountainTop_ISP2120777.jpg?AWSAccessKeyId=14GXKRGR5Y5AFT68GT02&amp;Expires=1334574863&amp;Signature=VF91gF1ZYWbbIn7HjCsviARdud0%3D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/>
          <a:lstStyle/>
          <a:p>
            <a:pPr algn="ctr" eaLnBrk="0" hangingPunct="0">
              <a:defRPr/>
            </a:pPr>
            <a:endParaRPr lang="en-US">
              <a:ea typeface="MS PGothic" pitchFamily="34" charset="-128"/>
              <a:cs typeface="+mn-cs"/>
            </a:endParaRPr>
          </a:p>
        </p:txBody>
      </p:sp>
      <p:sp>
        <p:nvSpPr>
          <p:cNvPr id="14" name="Rectangle 75"/>
          <p:cNvSpPr>
            <a:spLocks noGrp="1" noChangeArrowheads="1"/>
          </p:cNvSpPr>
          <p:nvPr>
            <p:ph type="ctrTitle"/>
          </p:nvPr>
        </p:nvSpPr>
        <p:spPr>
          <a:xfrm>
            <a:off x="3935298" y="4000288"/>
            <a:ext cx="4746968" cy="626400"/>
          </a:xfrm>
        </p:spPr>
        <p:txBody>
          <a:bodyPr/>
          <a:lstStyle>
            <a:lvl1pPr algn="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76"/>
          <p:cNvSpPr>
            <a:spLocks noGrp="1" noChangeArrowheads="1"/>
          </p:cNvSpPr>
          <p:nvPr>
            <p:ph type="subTitle" idx="1"/>
          </p:nvPr>
        </p:nvSpPr>
        <p:spPr>
          <a:xfrm>
            <a:off x="5225647" y="5039631"/>
            <a:ext cx="3491621" cy="193899"/>
          </a:xfrm>
        </p:spPr>
        <p:txBody>
          <a:bodyPr/>
          <a:lstStyle>
            <a:lvl1pPr marL="0" indent="0" algn="r">
              <a:spcBef>
                <a:spcPts val="400"/>
              </a:spcBef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13" y="455962"/>
            <a:ext cx="8408987" cy="785813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6713" y="1412532"/>
            <a:ext cx="8408987" cy="15890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13" y="457200"/>
            <a:ext cx="8408987" cy="785813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6713" y="1412532"/>
            <a:ext cx="4151312" cy="1597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4387" y="1412532"/>
            <a:ext cx="4151313" cy="1597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115"/>
          <p:cNvSpPr txBox="1">
            <a:spLocks noChangeArrowheads="1"/>
          </p:cNvSpPr>
          <p:nvPr/>
        </p:nvSpPr>
        <p:spPr bwMode="auto">
          <a:xfrm>
            <a:off x="8426450" y="6599238"/>
            <a:ext cx="36512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6DF88B24-0CBB-455C-90D3-E83294481CCB}" type="slidenum">
              <a:rPr lang="en-US" sz="1000">
                <a:solidFill>
                  <a:srgbClr val="777777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‹#›</a:t>
            </a:fld>
            <a:r>
              <a:rPr lang="en-US" sz="1000" dirty="0">
                <a:solidFill>
                  <a:srgbClr val="777777"/>
                </a:solidFill>
                <a:ea typeface="MS PGothic" pitchFamily="34" charset="-128"/>
                <a:cs typeface="+mn-cs"/>
              </a:rPr>
              <a:t>    </a:t>
            </a:r>
          </a:p>
        </p:txBody>
      </p:sp>
      <p:sp>
        <p:nvSpPr>
          <p:cNvPr id="2048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6713" y="457200"/>
            <a:ext cx="8408987" cy="7858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5125" y="1412875"/>
            <a:ext cx="8407400" cy="15890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29570" name="Text Box 66"/>
          <p:cNvSpPr txBox="1">
            <a:spLocks noChangeArrowheads="1"/>
          </p:cNvSpPr>
          <p:nvPr/>
        </p:nvSpPr>
        <p:spPr bwMode="auto">
          <a:xfrm>
            <a:off x="366713" y="6575425"/>
            <a:ext cx="3808412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820738" eaLnBrk="0" hangingPunct="0">
              <a:spcBef>
                <a:spcPct val="50000"/>
              </a:spcBef>
              <a:defRPr/>
            </a:pPr>
            <a:r>
              <a:rPr lang="en-US" sz="1100" dirty="0">
                <a:solidFill>
                  <a:srgbClr val="777777"/>
                </a:solidFill>
                <a:ea typeface="MS PGothic" pitchFamily="34" charset="-128"/>
                <a:cs typeface="+mn-cs"/>
              </a:rPr>
              <a:t>CSC Proprietary and Confidential</a:t>
            </a:r>
          </a:p>
        </p:txBody>
      </p:sp>
      <p:grpSp>
        <p:nvGrpSpPr>
          <p:cNvPr id="20486" name="Group 7"/>
          <p:cNvGrpSpPr>
            <a:grpSpLocks/>
          </p:cNvGrpSpPr>
          <p:nvPr/>
        </p:nvGrpSpPr>
        <p:grpSpPr bwMode="auto">
          <a:xfrm>
            <a:off x="366713" y="6240463"/>
            <a:ext cx="460375" cy="255587"/>
            <a:chOff x="0" y="0"/>
            <a:chExt cx="616" cy="343"/>
          </a:xfrm>
        </p:grpSpPr>
        <p:sp>
          <p:nvSpPr>
            <p:cNvPr id="16" name="Freeform 3"/>
            <p:cNvSpPr>
              <a:spLocks/>
            </p:cNvSpPr>
            <p:nvPr/>
          </p:nvSpPr>
          <p:spPr bwMode="auto">
            <a:xfrm>
              <a:off x="0" y="0"/>
              <a:ext cx="616" cy="343"/>
            </a:xfrm>
            <a:custGeom>
              <a:avLst/>
              <a:gdLst>
                <a:gd name="T0" fmla="*/ 523 w 21600"/>
                <a:gd name="T1" fmla="*/ 343 h 21600"/>
                <a:gd name="T2" fmla="*/ 616 w 21600"/>
                <a:gd name="T3" fmla="*/ 252 h 21600"/>
                <a:gd name="T4" fmla="*/ 616 w 21600"/>
                <a:gd name="T5" fmla="*/ 0 h 21600"/>
                <a:gd name="T6" fmla="*/ 93 w 21600"/>
                <a:gd name="T7" fmla="*/ 0 h 21600"/>
                <a:gd name="T8" fmla="*/ 0 w 21600"/>
                <a:gd name="T9" fmla="*/ 92 h 21600"/>
                <a:gd name="T10" fmla="*/ 0 w 21600"/>
                <a:gd name="T11" fmla="*/ 343 h 21600"/>
                <a:gd name="T12" fmla="*/ 523 w 21600"/>
                <a:gd name="T13" fmla="*/ 343 h 21600"/>
                <a:gd name="T14" fmla="*/ 523 w 21600"/>
                <a:gd name="T15" fmla="*/ 343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600"/>
                <a:gd name="T25" fmla="*/ 0 h 21600"/>
                <a:gd name="T26" fmla="*/ 21600 w 21600"/>
                <a:gd name="T27" fmla="*/ 2160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18330" y="21600"/>
                  </a:moveTo>
                  <a:lnTo>
                    <a:pt x="21600" y="15845"/>
                  </a:lnTo>
                  <a:lnTo>
                    <a:pt x="21600" y="0"/>
                  </a:lnTo>
                  <a:lnTo>
                    <a:pt x="3270" y="0"/>
                  </a:lnTo>
                  <a:lnTo>
                    <a:pt x="0" y="5823"/>
                  </a:lnTo>
                  <a:lnTo>
                    <a:pt x="0" y="21600"/>
                  </a:lnTo>
                  <a:lnTo>
                    <a:pt x="18330" y="21600"/>
                  </a:lnTo>
                  <a:close/>
                  <a:moveTo>
                    <a:pt x="18330" y="21600"/>
                  </a:moveTo>
                </a:path>
              </a:pathLst>
            </a:custGeom>
            <a:solidFill>
              <a:srgbClr val="EE2525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7" name="Freeform 4"/>
            <p:cNvSpPr>
              <a:spLocks/>
            </p:cNvSpPr>
            <p:nvPr/>
          </p:nvSpPr>
          <p:spPr bwMode="auto">
            <a:xfrm>
              <a:off x="74" y="89"/>
              <a:ext cx="151" cy="166"/>
            </a:xfrm>
            <a:custGeom>
              <a:avLst/>
              <a:gdLst>
                <a:gd name="T0" fmla="*/ 124 w 21600"/>
                <a:gd name="T1" fmla="*/ 110 h 21600"/>
                <a:gd name="T2" fmla="*/ 123 w 21600"/>
                <a:gd name="T3" fmla="*/ 111 h 21600"/>
                <a:gd name="T4" fmla="*/ 83 w 21600"/>
                <a:gd name="T5" fmla="*/ 129 h 21600"/>
                <a:gd name="T6" fmla="*/ 55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3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3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2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4 w 21600"/>
                <a:gd name="T33" fmla="*/ 110 h 21600"/>
                <a:gd name="T34" fmla="*/ 124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7908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5877" y="15951"/>
                    <a:pt x="14585" y="16782"/>
                    <a:pt x="12000" y="16782"/>
                  </a:cubicBezTo>
                  <a:cubicBezTo>
                    <a:pt x="10338" y="16782"/>
                    <a:pt x="9046" y="16283"/>
                    <a:pt x="7938" y="15452"/>
                  </a:cubicBezTo>
                  <a:cubicBezTo>
                    <a:pt x="6646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000" y="4652"/>
                  </a:cubicBezTo>
                  <a:cubicBezTo>
                    <a:pt x="14215" y="4652"/>
                    <a:pt x="15692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015" y="1329"/>
                    <a:pt x="16431" y="0"/>
                    <a:pt x="12000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477" y="16948"/>
                    <a:pt x="4062" y="18942"/>
                  </a:cubicBezTo>
                  <a:cubicBezTo>
                    <a:pt x="6092" y="20603"/>
                    <a:pt x="8862" y="21600"/>
                    <a:pt x="11815" y="21600"/>
                  </a:cubicBezTo>
                  <a:cubicBezTo>
                    <a:pt x="16246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7908" y="14289"/>
                  </a:lnTo>
                  <a:close/>
                  <a:moveTo>
                    <a:pt x="17908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387" y="89"/>
              <a:ext cx="149" cy="166"/>
            </a:xfrm>
            <a:custGeom>
              <a:avLst/>
              <a:gdLst>
                <a:gd name="T0" fmla="*/ 126 w 21600"/>
                <a:gd name="T1" fmla="*/ 110 h 21600"/>
                <a:gd name="T2" fmla="*/ 123 w 21600"/>
                <a:gd name="T3" fmla="*/ 111 h 21600"/>
                <a:gd name="T4" fmla="*/ 85 w 21600"/>
                <a:gd name="T5" fmla="*/ 129 h 21600"/>
                <a:gd name="T6" fmla="*/ 56 w 21600"/>
                <a:gd name="T7" fmla="*/ 119 h 21600"/>
                <a:gd name="T8" fmla="*/ 41 w 21600"/>
                <a:gd name="T9" fmla="*/ 83 h 21600"/>
                <a:gd name="T10" fmla="*/ 41 w 21600"/>
                <a:gd name="T11" fmla="*/ 82 h 21600"/>
                <a:gd name="T12" fmla="*/ 85 w 21600"/>
                <a:gd name="T13" fmla="*/ 36 h 21600"/>
                <a:gd name="T14" fmla="*/ 122 w 21600"/>
                <a:gd name="T15" fmla="*/ 52 h 21600"/>
                <a:gd name="T16" fmla="*/ 149 w 21600"/>
                <a:gd name="T17" fmla="*/ 26 h 21600"/>
                <a:gd name="T18" fmla="*/ 147 w 21600"/>
                <a:gd name="T19" fmla="*/ 24 h 21600"/>
                <a:gd name="T20" fmla="*/ 85 w 21600"/>
                <a:gd name="T21" fmla="*/ 0 h 21600"/>
                <a:gd name="T22" fmla="*/ 0 w 21600"/>
                <a:gd name="T23" fmla="*/ 83 h 21600"/>
                <a:gd name="T24" fmla="*/ 28 w 21600"/>
                <a:gd name="T25" fmla="*/ 146 h 21600"/>
                <a:gd name="T26" fmla="*/ 83 w 21600"/>
                <a:gd name="T27" fmla="*/ 166 h 21600"/>
                <a:gd name="T28" fmla="*/ 149 w 21600"/>
                <a:gd name="T29" fmla="*/ 137 h 21600"/>
                <a:gd name="T30" fmla="*/ 150 w 21600"/>
                <a:gd name="T31" fmla="*/ 135 h 21600"/>
                <a:gd name="T32" fmla="*/ 126 w 21600"/>
                <a:gd name="T33" fmla="*/ 110 h 21600"/>
                <a:gd name="T34" fmla="*/ 126 w 21600"/>
                <a:gd name="T35" fmla="*/ 110 h 2160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600"/>
                <a:gd name="T55" fmla="*/ 0 h 21600"/>
                <a:gd name="T56" fmla="*/ 21600 w 21600"/>
                <a:gd name="T57" fmla="*/ 21600 h 2160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600" h="21600">
                  <a:moveTo>
                    <a:pt x="18092" y="14289"/>
                  </a:moveTo>
                  <a:cubicBezTo>
                    <a:pt x="17723" y="14455"/>
                    <a:pt x="17723" y="14455"/>
                    <a:pt x="17723" y="14455"/>
                  </a:cubicBezTo>
                  <a:cubicBezTo>
                    <a:pt x="16062" y="15951"/>
                    <a:pt x="14585" y="16782"/>
                    <a:pt x="12185" y="16782"/>
                  </a:cubicBezTo>
                  <a:cubicBezTo>
                    <a:pt x="10523" y="16782"/>
                    <a:pt x="9046" y="16283"/>
                    <a:pt x="8123" y="15452"/>
                  </a:cubicBezTo>
                  <a:cubicBezTo>
                    <a:pt x="6831" y="14289"/>
                    <a:pt x="5908" y="12628"/>
                    <a:pt x="5908" y="10800"/>
                  </a:cubicBezTo>
                  <a:cubicBezTo>
                    <a:pt x="5908" y="10634"/>
                    <a:pt x="5908" y="10634"/>
                    <a:pt x="5908" y="10634"/>
                  </a:cubicBezTo>
                  <a:cubicBezTo>
                    <a:pt x="5908" y="7311"/>
                    <a:pt x="8492" y="4652"/>
                    <a:pt x="12185" y="4652"/>
                  </a:cubicBezTo>
                  <a:cubicBezTo>
                    <a:pt x="14215" y="4652"/>
                    <a:pt x="15877" y="5483"/>
                    <a:pt x="17538" y="6812"/>
                  </a:cubicBezTo>
                  <a:cubicBezTo>
                    <a:pt x="21415" y="3323"/>
                    <a:pt x="21415" y="3323"/>
                    <a:pt x="21415" y="3323"/>
                  </a:cubicBezTo>
                  <a:cubicBezTo>
                    <a:pt x="21231" y="3157"/>
                    <a:pt x="21231" y="3157"/>
                    <a:pt x="21231" y="3157"/>
                  </a:cubicBezTo>
                  <a:cubicBezTo>
                    <a:pt x="19200" y="1329"/>
                    <a:pt x="16431" y="0"/>
                    <a:pt x="12185" y="0"/>
                  </a:cubicBezTo>
                  <a:cubicBezTo>
                    <a:pt x="4985" y="0"/>
                    <a:pt x="0" y="4818"/>
                    <a:pt x="0" y="10800"/>
                  </a:cubicBezTo>
                  <a:cubicBezTo>
                    <a:pt x="0" y="14123"/>
                    <a:pt x="1662" y="16948"/>
                    <a:pt x="4062" y="18942"/>
                  </a:cubicBezTo>
                  <a:cubicBezTo>
                    <a:pt x="6092" y="20603"/>
                    <a:pt x="8862" y="21600"/>
                    <a:pt x="12000" y="21600"/>
                  </a:cubicBezTo>
                  <a:cubicBezTo>
                    <a:pt x="16431" y="21600"/>
                    <a:pt x="19015" y="20105"/>
                    <a:pt x="21415" y="17778"/>
                  </a:cubicBezTo>
                  <a:cubicBezTo>
                    <a:pt x="21600" y="17612"/>
                    <a:pt x="21600" y="17612"/>
                    <a:pt x="21600" y="17612"/>
                  </a:cubicBezTo>
                  <a:lnTo>
                    <a:pt x="18092" y="14289"/>
                  </a:lnTo>
                  <a:close/>
                  <a:moveTo>
                    <a:pt x="18092" y="14289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240" y="89"/>
              <a:ext cx="127" cy="164"/>
            </a:xfrm>
            <a:custGeom>
              <a:avLst/>
              <a:gdLst>
                <a:gd name="T0" fmla="*/ 129 w 21600"/>
                <a:gd name="T1" fmla="*/ 113 h 21600"/>
                <a:gd name="T2" fmla="*/ 80 w 21600"/>
                <a:gd name="T3" fmla="*/ 65 h 21600"/>
                <a:gd name="T4" fmla="*/ 74 w 21600"/>
                <a:gd name="T5" fmla="*/ 64 h 21600"/>
                <a:gd name="T6" fmla="*/ 46 w 21600"/>
                <a:gd name="T7" fmla="*/ 47 h 21600"/>
                <a:gd name="T8" fmla="*/ 46 w 21600"/>
                <a:gd name="T9" fmla="*/ 46 h 21600"/>
                <a:gd name="T10" fmla="*/ 64 w 21600"/>
                <a:gd name="T11" fmla="*/ 36 h 21600"/>
                <a:gd name="T12" fmla="*/ 95 w 21600"/>
                <a:gd name="T13" fmla="*/ 44 h 21600"/>
                <a:gd name="T14" fmla="*/ 98 w 21600"/>
                <a:gd name="T15" fmla="*/ 47 h 21600"/>
                <a:gd name="T16" fmla="*/ 125 w 21600"/>
                <a:gd name="T17" fmla="*/ 22 h 21600"/>
                <a:gd name="T18" fmla="*/ 124 w 21600"/>
                <a:gd name="T19" fmla="*/ 20 h 21600"/>
                <a:gd name="T20" fmla="*/ 120 w 21600"/>
                <a:gd name="T21" fmla="*/ 18 h 21600"/>
                <a:gd name="T22" fmla="*/ 64 w 21600"/>
                <a:gd name="T23" fmla="*/ 0 h 21600"/>
                <a:gd name="T24" fmla="*/ 8 w 21600"/>
                <a:gd name="T25" fmla="*/ 50 h 21600"/>
                <a:gd name="T26" fmla="*/ 43 w 21600"/>
                <a:gd name="T27" fmla="*/ 94 h 21600"/>
                <a:gd name="T28" fmla="*/ 50 w 21600"/>
                <a:gd name="T29" fmla="*/ 97 h 21600"/>
                <a:gd name="T30" fmla="*/ 60 w 21600"/>
                <a:gd name="T31" fmla="*/ 99 h 21600"/>
                <a:gd name="T32" fmla="*/ 89 w 21600"/>
                <a:gd name="T33" fmla="*/ 117 h 21600"/>
                <a:gd name="T34" fmla="*/ 70 w 21600"/>
                <a:gd name="T35" fmla="*/ 130 h 21600"/>
                <a:gd name="T36" fmla="*/ 31 w 21600"/>
                <a:gd name="T37" fmla="*/ 116 h 21600"/>
                <a:gd name="T38" fmla="*/ 26 w 21600"/>
                <a:gd name="T39" fmla="*/ 112 h 21600"/>
                <a:gd name="T40" fmla="*/ 0 w 21600"/>
                <a:gd name="T41" fmla="*/ 137 h 21600"/>
                <a:gd name="T42" fmla="*/ 1 w 21600"/>
                <a:gd name="T43" fmla="*/ 139 h 21600"/>
                <a:gd name="T44" fmla="*/ 5 w 21600"/>
                <a:gd name="T45" fmla="*/ 141 h 21600"/>
                <a:gd name="T46" fmla="*/ 69 w 21600"/>
                <a:gd name="T47" fmla="*/ 164 h 21600"/>
                <a:gd name="T48" fmla="*/ 129 w 21600"/>
                <a:gd name="T49" fmla="*/ 114 h 21600"/>
                <a:gd name="T50" fmla="*/ 129 w 21600"/>
                <a:gd name="T51" fmla="*/ 113 h 21600"/>
                <a:gd name="T52" fmla="*/ 129 w 21600"/>
                <a:gd name="T53" fmla="*/ 113 h 2160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1600"/>
                <a:gd name="T82" fmla="*/ 0 h 21600"/>
                <a:gd name="T83" fmla="*/ 21600 w 21600"/>
                <a:gd name="T84" fmla="*/ 21600 h 2160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1600" h="21600">
                  <a:moveTo>
                    <a:pt x="21600" y="14902"/>
                  </a:moveTo>
                  <a:cubicBezTo>
                    <a:pt x="21600" y="11386"/>
                    <a:pt x="18606" y="9712"/>
                    <a:pt x="13473" y="8540"/>
                  </a:cubicBezTo>
                  <a:cubicBezTo>
                    <a:pt x="13259" y="8540"/>
                    <a:pt x="12618" y="8372"/>
                    <a:pt x="12404" y="8372"/>
                  </a:cubicBezTo>
                  <a:cubicBezTo>
                    <a:pt x="8341" y="7535"/>
                    <a:pt x="7699" y="7200"/>
                    <a:pt x="7699" y="6195"/>
                  </a:cubicBezTo>
                  <a:cubicBezTo>
                    <a:pt x="7699" y="6028"/>
                    <a:pt x="7699" y="6028"/>
                    <a:pt x="7699" y="6028"/>
                  </a:cubicBezTo>
                  <a:cubicBezTo>
                    <a:pt x="7699" y="5358"/>
                    <a:pt x="8554" y="4688"/>
                    <a:pt x="10693" y="4688"/>
                  </a:cubicBezTo>
                  <a:cubicBezTo>
                    <a:pt x="12190" y="4688"/>
                    <a:pt x="13901" y="5023"/>
                    <a:pt x="15826" y="5860"/>
                  </a:cubicBezTo>
                  <a:cubicBezTo>
                    <a:pt x="16040" y="6028"/>
                    <a:pt x="16253" y="6028"/>
                    <a:pt x="16467" y="6195"/>
                  </a:cubicBezTo>
                  <a:cubicBezTo>
                    <a:pt x="20958" y="2847"/>
                    <a:pt x="20958" y="2847"/>
                    <a:pt x="20958" y="2847"/>
                  </a:cubicBezTo>
                  <a:cubicBezTo>
                    <a:pt x="20745" y="2679"/>
                    <a:pt x="20745" y="2679"/>
                    <a:pt x="20745" y="2679"/>
                  </a:cubicBezTo>
                  <a:cubicBezTo>
                    <a:pt x="20531" y="2512"/>
                    <a:pt x="20317" y="2512"/>
                    <a:pt x="20103" y="2344"/>
                  </a:cubicBezTo>
                  <a:cubicBezTo>
                    <a:pt x="17537" y="837"/>
                    <a:pt x="14329" y="0"/>
                    <a:pt x="10693" y="0"/>
                  </a:cubicBezTo>
                  <a:cubicBezTo>
                    <a:pt x="5133" y="0"/>
                    <a:pt x="1283" y="2512"/>
                    <a:pt x="1283" y="6530"/>
                  </a:cubicBezTo>
                  <a:cubicBezTo>
                    <a:pt x="1069" y="10047"/>
                    <a:pt x="3636" y="11553"/>
                    <a:pt x="7271" y="12391"/>
                  </a:cubicBezTo>
                  <a:cubicBezTo>
                    <a:pt x="7699" y="12558"/>
                    <a:pt x="7913" y="12558"/>
                    <a:pt x="8341" y="12726"/>
                  </a:cubicBezTo>
                  <a:cubicBezTo>
                    <a:pt x="8768" y="12893"/>
                    <a:pt x="9410" y="12893"/>
                    <a:pt x="10051" y="13060"/>
                  </a:cubicBezTo>
                  <a:cubicBezTo>
                    <a:pt x="14543" y="14065"/>
                    <a:pt x="14970" y="14400"/>
                    <a:pt x="14970" y="15405"/>
                  </a:cubicBezTo>
                  <a:cubicBezTo>
                    <a:pt x="14970" y="16409"/>
                    <a:pt x="13901" y="17079"/>
                    <a:pt x="11762" y="17079"/>
                  </a:cubicBezTo>
                  <a:cubicBezTo>
                    <a:pt x="9196" y="17079"/>
                    <a:pt x="7057" y="16409"/>
                    <a:pt x="5133" y="15237"/>
                  </a:cubicBezTo>
                  <a:cubicBezTo>
                    <a:pt x="4919" y="15070"/>
                    <a:pt x="4705" y="14902"/>
                    <a:pt x="4277" y="14735"/>
                  </a:cubicBezTo>
                  <a:cubicBezTo>
                    <a:pt x="0" y="18084"/>
                    <a:pt x="0" y="18084"/>
                    <a:pt x="0" y="18084"/>
                  </a:cubicBezTo>
                  <a:cubicBezTo>
                    <a:pt x="214" y="18251"/>
                    <a:pt x="214" y="18251"/>
                    <a:pt x="214" y="18251"/>
                  </a:cubicBezTo>
                  <a:cubicBezTo>
                    <a:pt x="428" y="18419"/>
                    <a:pt x="642" y="18419"/>
                    <a:pt x="855" y="18586"/>
                  </a:cubicBezTo>
                  <a:cubicBezTo>
                    <a:pt x="3850" y="20595"/>
                    <a:pt x="7699" y="21600"/>
                    <a:pt x="11549" y="21600"/>
                  </a:cubicBezTo>
                  <a:cubicBezTo>
                    <a:pt x="17323" y="21600"/>
                    <a:pt x="21600" y="19256"/>
                    <a:pt x="21600" y="15070"/>
                  </a:cubicBezTo>
                  <a:lnTo>
                    <a:pt x="21600" y="14902"/>
                  </a:lnTo>
                  <a:close/>
                  <a:moveTo>
                    <a:pt x="21600" y="14902"/>
                  </a:moveTo>
                </a:path>
              </a:pathLst>
            </a:custGeom>
            <a:solidFill>
              <a:srgbClr val="FFFFFF"/>
            </a:solidFill>
            <a:ln w="9525" cap="flat">
              <a:noFill/>
              <a:round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 algn="ctr" eaLnBrk="0" hangingPunct="0">
                <a:defRPr/>
              </a:pPr>
              <a:endParaRPr lang="en-US"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11" name="Text Box 115"/>
          <p:cNvSpPr txBox="1">
            <a:spLocks noChangeArrowheads="1"/>
          </p:cNvSpPr>
          <p:nvPr/>
        </p:nvSpPr>
        <p:spPr bwMode="auto">
          <a:xfrm>
            <a:off x="6564313" y="6599238"/>
            <a:ext cx="182880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820738" eaLnBrk="0" hangingPunct="0">
              <a:spcBef>
                <a:spcPct val="50000"/>
              </a:spcBef>
              <a:defRPr/>
            </a:pPr>
            <a:fld id="{03C7D0F0-10D5-4191-B6F4-99306F468FEF}" type="datetime4">
              <a:rPr lang="en-US" sz="1000">
                <a:solidFill>
                  <a:srgbClr val="777777"/>
                </a:solidFill>
                <a:ea typeface="MS PGothic" pitchFamily="34" charset="-128"/>
                <a:cs typeface="+mn-cs"/>
              </a:rPr>
              <a:pPr algn="r" defTabSz="820738" eaLnBrk="0" hangingPunct="0">
                <a:spcBef>
                  <a:spcPct val="50000"/>
                </a:spcBef>
                <a:defRPr/>
              </a:pPr>
              <a:t>December 12, 2012</a:t>
            </a:fld>
            <a:endParaRPr lang="en-US" sz="1000" dirty="0">
              <a:solidFill>
                <a:srgbClr val="777777"/>
              </a:solidFill>
              <a:ea typeface="MS PGothic" pitchFamily="34" charset="-128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9" r:id="rId2"/>
    <p:sldLayoutId id="2147484091" r:id="rId3"/>
    <p:sldLayoutId id="2147484093" r:id="rId4"/>
    <p:sldLayoutId id="2147484095" r:id="rId5"/>
    <p:sldLayoutId id="2147484096" r:id="rId6"/>
    <p:sldLayoutId id="2147484097" r:id="rId7"/>
    <p:sldLayoutId id="2147484078" r:id="rId8"/>
    <p:sldLayoutId id="2147484079" r:id="rId9"/>
    <p:sldLayoutId id="2147484080" r:id="rId10"/>
    <p:sldLayoutId id="2147484081" r:id="rId11"/>
    <p:sldLayoutId id="2147484098" r:id="rId12"/>
    <p:sldLayoutId id="2147484082" r:id="rId13"/>
    <p:sldLayoutId id="2147484083" r:id="rId14"/>
    <p:sldLayoutId id="2147484108" r:id="rId15"/>
  </p:sldLayoutIdLst>
  <p:transition/>
  <p:timing>
    <p:tnLst>
      <p:par>
        <p:cTn id="1" dur="indefinite" restart="never" nodeType="tmRoot"/>
      </p:par>
    </p:tnLst>
  </p:timing>
  <p:txStyles>
    <p:titleStyle>
      <a:lvl1pPr algn="l" defTabSz="944563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defRPr sz="2200" b="1">
          <a:solidFill>
            <a:srgbClr val="7F7F7F"/>
          </a:solidFill>
          <a:latin typeface="+mj-lt"/>
          <a:ea typeface="+mj-ea"/>
          <a:cs typeface="+mj-cs"/>
        </a:defRPr>
      </a:lvl1pPr>
      <a:lvl2pPr algn="l" defTabSz="944563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defRPr sz="2200" b="1">
          <a:solidFill>
            <a:srgbClr val="7F7F7F"/>
          </a:solidFill>
          <a:latin typeface="Arial" pitchFamily="34" charset="0"/>
        </a:defRPr>
      </a:lvl2pPr>
      <a:lvl3pPr algn="l" defTabSz="944563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defRPr sz="2200" b="1">
          <a:solidFill>
            <a:srgbClr val="7F7F7F"/>
          </a:solidFill>
          <a:latin typeface="Arial" pitchFamily="34" charset="0"/>
        </a:defRPr>
      </a:lvl3pPr>
      <a:lvl4pPr algn="l" defTabSz="944563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defRPr sz="2200" b="1">
          <a:solidFill>
            <a:srgbClr val="7F7F7F"/>
          </a:solidFill>
          <a:latin typeface="Arial" pitchFamily="34" charset="0"/>
        </a:defRPr>
      </a:lvl4pPr>
      <a:lvl5pPr algn="l" defTabSz="944563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defRPr sz="2200" b="1">
          <a:solidFill>
            <a:srgbClr val="7F7F7F"/>
          </a:solidFill>
          <a:latin typeface="Arial" pitchFamily="34" charset="0"/>
        </a:defRPr>
      </a:lvl5pPr>
      <a:lvl6pPr marL="457200" algn="l" defTabSz="944563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</a:defRPr>
      </a:lvl6pPr>
      <a:lvl7pPr marL="914400" algn="l" defTabSz="944563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</a:defRPr>
      </a:lvl7pPr>
      <a:lvl8pPr marL="1371600" algn="l" defTabSz="944563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</a:defRPr>
      </a:lvl8pPr>
      <a:lvl9pPr marL="1828800" algn="l" defTabSz="944563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</a:defRPr>
      </a:lvl9pPr>
    </p:titleStyle>
    <p:bodyStyle>
      <a:lvl1pPr marL="166688" indent="-166688" algn="l" defTabSz="944563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41313" indent="-173038" algn="l" defTabSz="944563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>
          <a:solidFill>
            <a:schemeClr val="tx1"/>
          </a:solidFill>
          <a:latin typeface="+mn-lt"/>
        </a:defRPr>
      </a:lvl2pPr>
      <a:lvl3pPr marL="506413" indent="-163513" algn="l" defTabSz="944563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688975" indent="-180975" algn="l" defTabSz="944563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852488" indent="-161925" algn="l" defTabSz="944563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5pPr>
      <a:lvl6pPr marL="1309688" indent="-161925" algn="l" defTabSz="944563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chemeClr val="tx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6pPr>
      <a:lvl7pPr marL="1766888" indent="-161925" algn="l" defTabSz="944563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chemeClr val="tx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7pPr>
      <a:lvl8pPr marL="2224088" indent="-161925" algn="l" defTabSz="944563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chemeClr val="tx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8pPr>
      <a:lvl9pPr marL="2681288" indent="-161925" algn="l" defTabSz="944563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chemeClr val="tx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8.png"/><Relationship Id="rId18" Type="http://schemas.openxmlformats.org/officeDocument/2006/relationships/image" Target="../media/image22.png"/><Relationship Id="rId26" Type="http://schemas.openxmlformats.org/officeDocument/2006/relationships/image" Target="../media/image30.jpeg"/><Relationship Id="rId39" Type="http://schemas.openxmlformats.org/officeDocument/2006/relationships/image" Target="../media/image41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25.png"/><Relationship Id="rId34" Type="http://schemas.openxmlformats.org/officeDocument/2006/relationships/image" Target="../media/image38.jpeg"/><Relationship Id="rId42" Type="http://schemas.openxmlformats.org/officeDocument/2006/relationships/image" Target="../media/image43.png"/><Relationship Id="rId47" Type="http://schemas.openxmlformats.org/officeDocument/2006/relationships/image" Target="../media/image48.png"/><Relationship Id="rId7" Type="http://schemas.openxmlformats.org/officeDocument/2006/relationships/image" Target="../media/image13.jpeg"/><Relationship Id="rId12" Type="http://schemas.openxmlformats.org/officeDocument/2006/relationships/hyperlink" Target="http://www.baesystems.com/index.htm" TargetMode="External"/><Relationship Id="rId17" Type="http://schemas.openxmlformats.org/officeDocument/2006/relationships/image" Target="../media/image21.png"/><Relationship Id="rId25" Type="http://schemas.openxmlformats.org/officeDocument/2006/relationships/image" Target="../media/image29.jpeg"/><Relationship Id="rId33" Type="http://schemas.openxmlformats.org/officeDocument/2006/relationships/image" Target="../media/image37.jpeg"/><Relationship Id="rId38" Type="http://schemas.openxmlformats.org/officeDocument/2006/relationships/hyperlink" Target="http://www.networkrail.co.uk/" TargetMode="External"/><Relationship Id="rId46" Type="http://schemas.openxmlformats.org/officeDocument/2006/relationships/image" Target="../media/image47.jpeg"/><Relationship Id="rId2" Type="http://schemas.openxmlformats.org/officeDocument/2006/relationships/slideLayout" Target="../slideLayouts/slideLayout15.xml"/><Relationship Id="rId16" Type="http://schemas.openxmlformats.org/officeDocument/2006/relationships/hyperlink" Target="http://www.peugeot.co.uk/home/" TargetMode="External"/><Relationship Id="rId20" Type="http://schemas.openxmlformats.org/officeDocument/2006/relationships/image" Target="../media/image24.png"/><Relationship Id="rId29" Type="http://schemas.openxmlformats.org/officeDocument/2006/relationships/image" Target="../media/image33.jpeg"/><Relationship Id="rId41" Type="http://schemas.openxmlformats.org/officeDocument/2006/relationships/hyperlink" Target="http://www.woodside.com.au/" TargetMode="External"/><Relationship Id="rId1" Type="http://schemas.openxmlformats.org/officeDocument/2006/relationships/tags" Target="../tags/tag10.xml"/><Relationship Id="rId6" Type="http://schemas.openxmlformats.org/officeDocument/2006/relationships/image" Target="../media/image12.jpeg"/><Relationship Id="rId11" Type="http://schemas.openxmlformats.org/officeDocument/2006/relationships/image" Target="../media/image17.png"/><Relationship Id="rId24" Type="http://schemas.openxmlformats.org/officeDocument/2006/relationships/image" Target="../media/image28.png"/><Relationship Id="rId32" Type="http://schemas.openxmlformats.org/officeDocument/2006/relationships/image" Target="../media/image36.jpeg"/><Relationship Id="rId37" Type="http://schemas.openxmlformats.org/officeDocument/2006/relationships/image" Target="../media/image40.jpeg"/><Relationship Id="rId40" Type="http://schemas.openxmlformats.org/officeDocument/2006/relationships/image" Target="../media/image42.png"/><Relationship Id="rId45" Type="http://schemas.openxmlformats.org/officeDocument/2006/relationships/image" Target="../media/image46.png"/><Relationship Id="rId5" Type="http://schemas.openxmlformats.org/officeDocument/2006/relationships/image" Target="../media/image11.jpeg"/><Relationship Id="rId15" Type="http://schemas.openxmlformats.org/officeDocument/2006/relationships/image" Target="../media/image20.png"/><Relationship Id="rId23" Type="http://schemas.openxmlformats.org/officeDocument/2006/relationships/image" Target="../media/image27.png"/><Relationship Id="rId28" Type="http://schemas.openxmlformats.org/officeDocument/2006/relationships/image" Target="../media/image32.jpeg"/><Relationship Id="rId36" Type="http://schemas.openxmlformats.org/officeDocument/2006/relationships/image" Target="../media/image39.png"/><Relationship Id="rId10" Type="http://schemas.openxmlformats.org/officeDocument/2006/relationships/image" Target="../media/image16.jpeg"/><Relationship Id="rId19" Type="http://schemas.openxmlformats.org/officeDocument/2006/relationships/image" Target="../media/image23.png"/><Relationship Id="rId31" Type="http://schemas.openxmlformats.org/officeDocument/2006/relationships/image" Target="../media/image35.png"/><Relationship Id="rId44" Type="http://schemas.openxmlformats.org/officeDocument/2006/relationships/image" Target="../media/image45.png"/><Relationship Id="rId4" Type="http://schemas.openxmlformats.org/officeDocument/2006/relationships/image" Target="../media/image10.png"/><Relationship Id="rId9" Type="http://schemas.openxmlformats.org/officeDocument/2006/relationships/image" Target="../media/image15.jpeg"/><Relationship Id="rId14" Type="http://schemas.openxmlformats.org/officeDocument/2006/relationships/image" Target="../media/image19.png"/><Relationship Id="rId22" Type="http://schemas.openxmlformats.org/officeDocument/2006/relationships/image" Target="../media/image26.png"/><Relationship Id="rId27" Type="http://schemas.openxmlformats.org/officeDocument/2006/relationships/image" Target="../media/image31.jpeg"/><Relationship Id="rId30" Type="http://schemas.openxmlformats.org/officeDocument/2006/relationships/image" Target="../media/image34.jpeg"/><Relationship Id="rId35" Type="http://schemas.openxmlformats.org/officeDocument/2006/relationships/hyperlink" Target="http://www.eaton.com/EatonCom/index.htm" TargetMode="External"/><Relationship Id="rId43" Type="http://schemas.openxmlformats.org/officeDocument/2006/relationships/image" Target="../media/image4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slideLayout" Target="../slideLayouts/slideLayout1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26" Type="http://schemas.openxmlformats.org/officeDocument/2006/relationships/tags" Target="../tags/tag41.xml"/><Relationship Id="rId39" Type="http://schemas.openxmlformats.org/officeDocument/2006/relationships/image" Target="../media/image54.png"/><Relationship Id="rId3" Type="http://schemas.openxmlformats.org/officeDocument/2006/relationships/tags" Target="../tags/tag18.xml"/><Relationship Id="rId21" Type="http://schemas.openxmlformats.org/officeDocument/2006/relationships/tags" Target="../tags/tag36.xml"/><Relationship Id="rId34" Type="http://schemas.openxmlformats.org/officeDocument/2006/relationships/image" Target="../media/image49.jpeg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5" Type="http://schemas.openxmlformats.org/officeDocument/2006/relationships/tags" Target="../tags/tag40.xml"/><Relationship Id="rId33" Type="http://schemas.openxmlformats.org/officeDocument/2006/relationships/oleObject" Target="../embeddings/oleObject2.bin"/><Relationship Id="rId38" Type="http://schemas.openxmlformats.org/officeDocument/2006/relationships/image" Target="../media/image53.jpeg"/><Relationship Id="rId2" Type="http://schemas.openxmlformats.org/officeDocument/2006/relationships/tags" Target="../tags/tag17.xml"/><Relationship Id="rId16" Type="http://schemas.openxmlformats.org/officeDocument/2006/relationships/tags" Target="../tags/tag31.xml"/><Relationship Id="rId20" Type="http://schemas.openxmlformats.org/officeDocument/2006/relationships/tags" Target="../tags/tag35.xml"/><Relationship Id="rId29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24" Type="http://schemas.openxmlformats.org/officeDocument/2006/relationships/tags" Target="../tags/tag39.xml"/><Relationship Id="rId32" Type="http://schemas.openxmlformats.org/officeDocument/2006/relationships/notesSlide" Target="../notesSlides/notesSlide2.xml"/><Relationship Id="rId37" Type="http://schemas.openxmlformats.org/officeDocument/2006/relationships/image" Target="../media/image52.jpeg"/><Relationship Id="rId5" Type="http://schemas.openxmlformats.org/officeDocument/2006/relationships/tags" Target="../tags/tag20.xml"/><Relationship Id="rId15" Type="http://schemas.openxmlformats.org/officeDocument/2006/relationships/tags" Target="../tags/tag30.xml"/><Relationship Id="rId23" Type="http://schemas.openxmlformats.org/officeDocument/2006/relationships/tags" Target="../tags/tag38.xml"/><Relationship Id="rId28" Type="http://schemas.openxmlformats.org/officeDocument/2006/relationships/tags" Target="../tags/tag43.xml"/><Relationship Id="rId36" Type="http://schemas.openxmlformats.org/officeDocument/2006/relationships/image" Target="../media/image51.jpeg"/><Relationship Id="rId10" Type="http://schemas.openxmlformats.org/officeDocument/2006/relationships/tags" Target="../tags/tag25.xml"/><Relationship Id="rId19" Type="http://schemas.openxmlformats.org/officeDocument/2006/relationships/tags" Target="../tags/tag34.xml"/><Relationship Id="rId31" Type="http://schemas.openxmlformats.org/officeDocument/2006/relationships/slideLayout" Target="../slideLayouts/slideLayout8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tags" Target="../tags/tag37.xml"/><Relationship Id="rId27" Type="http://schemas.openxmlformats.org/officeDocument/2006/relationships/tags" Target="../tags/tag42.xml"/><Relationship Id="rId30" Type="http://schemas.openxmlformats.org/officeDocument/2006/relationships/tags" Target="../tags/tag45.xml"/><Relationship Id="rId35" Type="http://schemas.openxmlformats.org/officeDocument/2006/relationships/image" Target="../media/image50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chart" Target="../charts/chart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oleObject" Target="../embeddings/oleObject3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tags" Target="../tags/tag50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49.xm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56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71.xml"/><Relationship Id="rId18" Type="http://schemas.openxmlformats.org/officeDocument/2006/relationships/notesSlide" Target="../notesSlides/notesSlide5.xml"/><Relationship Id="rId26" Type="http://schemas.openxmlformats.org/officeDocument/2006/relationships/image" Target="../media/image63.png"/><Relationship Id="rId39" Type="http://schemas.openxmlformats.org/officeDocument/2006/relationships/image" Target="../media/image74.png"/><Relationship Id="rId21" Type="http://schemas.openxmlformats.org/officeDocument/2006/relationships/image" Target="../media/image58.png"/><Relationship Id="rId34" Type="http://schemas.openxmlformats.org/officeDocument/2006/relationships/image" Target="../media/image70.png"/><Relationship Id="rId42" Type="http://schemas.openxmlformats.org/officeDocument/2006/relationships/image" Target="../media/image77.png"/><Relationship Id="rId47" Type="http://schemas.openxmlformats.org/officeDocument/2006/relationships/image" Target="../media/image81.png"/><Relationship Id="rId50" Type="http://schemas.openxmlformats.org/officeDocument/2006/relationships/image" Target="../media/image84.jpeg"/><Relationship Id="rId55" Type="http://schemas.openxmlformats.org/officeDocument/2006/relationships/image" Target="../media/image89.jpeg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slideLayout" Target="../slideLayouts/slideLayout8.xml"/><Relationship Id="rId25" Type="http://schemas.openxmlformats.org/officeDocument/2006/relationships/image" Target="../media/image62.png"/><Relationship Id="rId33" Type="http://schemas.openxmlformats.org/officeDocument/2006/relationships/image" Target="../media/image69.png"/><Relationship Id="rId38" Type="http://schemas.openxmlformats.org/officeDocument/2006/relationships/image" Target="../media/image73.png"/><Relationship Id="rId46" Type="http://schemas.openxmlformats.org/officeDocument/2006/relationships/image" Target="../media/image80.jpeg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20" Type="http://schemas.openxmlformats.org/officeDocument/2006/relationships/image" Target="../media/image57.png"/><Relationship Id="rId29" Type="http://schemas.openxmlformats.org/officeDocument/2006/relationships/image" Target="../media/image66.png"/><Relationship Id="rId41" Type="http://schemas.openxmlformats.org/officeDocument/2006/relationships/image" Target="../media/image76.png"/><Relationship Id="rId54" Type="http://schemas.openxmlformats.org/officeDocument/2006/relationships/image" Target="../media/image88.gif"/><Relationship Id="rId1" Type="http://schemas.openxmlformats.org/officeDocument/2006/relationships/vmlDrawing" Target="../drawings/vmlDrawing4.v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24" Type="http://schemas.openxmlformats.org/officeDocument/2006/relationships/image" Target="../media/image61.png"/><Relationship Id="rId32" Type="http://schemas.openxmlformats.org/officeDocument/2006/relationships/image" Target="../media/image68.png"/><Relationship Id="rId37" Type="http://schemas.openxmlformats.org/officeDocument/2006/relationships/oleObject" Target="../embeddings/oleObject5.bin"/><Relationship Id="rId40" Type="http://schemas.openxmlformats.org/officeDocument/2006/relationships/image" Target="../media/image75.png"/><Relationship Id="rId45" Type="http://schemas.openxmlformats.org/officeDocument/2006/relationships/image" Target="../media/image79.png"/><Relationship Id="rId53" Type="http://schemas.openxmlformats.org/officeDocument/2006/relationships/image" Target="../media/image87.jpeg"/><Relationship Id="rId58" Type="http://schemas.openxmlformats.org/officeDocument/2006/relationships/image" Target="../media/image92.jpeg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23" Type="http://schemas.openxmlformats.org/officeDocument/2006/relationships/image" Target="../media/image60.png"/><Relationship Id="rId28" Type="http://schemas.openxmlformats.org/officeDocument/2006/relationships/image" Target="../media/image65.jpeg"/><Relationship Id="rId36" Type="http://schemas.openxmlformats.org/officeDocument/2006/relationships/image" Target="../media/image72.png"/><Relationship Id="rId49" Type="http://schemas.openxmlformats.org/officeDocument/2006/relationships/image" Target="../media/image83.jpeg"/><Relationship Id="rId57" Type="http://schemas.openxmlformats.org/officeDocument/2006/relationships/image" Target="../media/image91.jpeg"/><Relationship Id="rId10" Type="http://schemas.openxmlformats.org/officeDocument/2006/relationships/tags" Target="../tags/tag68.xml"/><Relationship Id="rId19" Type="http://schemas.openxmlformats.org/officeDocument/2006/relationships/oleObject" Target="../embeddings/oleObject4.bin"/><Relationship Id="rId31" Type="http://schemas.openxmlformats.org/officeDocument/2006/relationships/hyperlink" Target="http://www.asfinag.at/index.php" TargetMode="External"/><Relationship Id="rId44" Type="http://schemas.openxmlformats.org/officeDocument/2006/relationships/oleObject" Target="../embeddings/oleObject6.bin"/><Relationship Id="rId52" Type="http://schemas.openxmlformats.org/officeDocument/2006/relationships/image" Target="../media/image86.gif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image" Target="../media/image59.png"/><Relationship Id="rId27" Type="http://schemas.openxmlformats.org/officeDocument/2006/relationships/image" Target="../media/image64.png"/><Relationship Id="rId30" Type="http://schemas.openxmlformats.org/officeDocument/2006/relationships/image" Target="../media/image67.png"/><Relationship Id="rId35" Type="http://schemas.openxmlformats.org/officeDocument/2006/relationships/image" Target="../media/image71.jpeg"/><Relationship Id="rId43" Type="http://schemas.openxmlformats.org/officeDocument/2006/relationships/image" Target="../media/image78.png"/><Relationship Id="rId48" Type="http://schemas.openxmlformats.org/officeDocument/2006/relationships/image" Target="../media/image82.png"/><Relationship Id="rId56" Type="http://schemas.openxmlformats.org/officeDocument/2006/relationships/image" Target="../media/image90.jpeg"/><Relationship Id="rId8" Type="http://schemas.openxmlformats.org/officeDocument/2006/relationships/tags" Target="../tags/tag66.xml"/><Relationship Id="rId51" Type="http://schemas.openxmlformats.org/officeDocument/2006/relationships/image" Target="../media/image85.jpeg"/><Relationship Id="rId3" Type="http://schemas.openxmlformats.org/officeDocument/2006/relationships/tags" Target="../tags/tag6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image" Target="../media/image93.jpeg"/><Relationship Id="rId2" Type="http://schemas.openxmlformats.org/officeDocument/2006/relationships/tags" Target="../tags/tag75.xml"/><Relationship Id="rId1" Type="http://schemas.openxmlformats.org/officeDocument/2006/relationships/vmlDrawing" Target="../drawings/vmlDrawing5.vml"/><Relationship Id="rId6" Type="http://schemas.openxmlformats.org/officeDocument/2006/relationships/tags" Target="../tags/tag79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8.xml"/><Relationship Id="rId10" Type="http://schemas.openxmlformats.org/officeDocument/2006/relationships/slideLayout" Target="../slideLayouts/slideLayout8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ctrTitle"/>
          </p:nvPr>
        </p:nvSpPr>
        <p:spPr>
          <a:xfrm>
            <a:off x="3887788" y="3804552"/>
            <a:ext cx="4746625" cy="1083129"/>
          </a:xfrm>
        </p:spPr>
        <p:txBody>
          <a:bodyPr/>
          <a:lstStyle/>
          <a:p>
            <a:r>
              <a:rPr lang="sk-SK" sz="2900" dirty="0" smtClean="0"/>
              <a:t>ROBÍME ÚŽASNÉ VECI</a:t>
            </a:r>
            <a:r>
              <a:rPr lang="de-AT" sz="2900" dirty="0" smtClean="0"/>
              <a:t/>
            </a:r>
            <a:br>
              <a:rPr lang="de-AT" sz="2900" dirty="0" smtClean="0"/>
            </a:br>
            <a:r>
              <a:rPr lang="sk-SK" sz="2900" dirty="0" smtClean="0"/>
              <a:t/>
            </a:r>
            <a:br>
              <a:rPr lang="sk-SK" sz="2900" dirty="0" smtClean="0"/>
            </a:br>
            <a:r>
              <a:rPr lang="sk-SK" dirty="0" smtClean="0"/>
              <a:t>CSC Slovensko</a:t>
            </a:r>
            <a:endParaRPr lang="en-US" dirty="0" smtClean="0"/>
          </a:p>
        </p:txBody>
      </p:sp>
      <p:sp>
        <p:nvSpPr>
          <p:cNvPr id="35843" name="Subtitle 2"/>
          <p:cNvSpPr>
            <a:spLocks noGrp="1"/>
          </p:cNvSpPr>
          <p:nvPr>
            <p:ph type="subTitle" idx="1"/>
          </p:nvPr>
        </p:nvSpPr>
        <p:spPr>
          <a:xfrm>
            <a:off x="5111750" y="5290691"/>
            <a:ext cx="3490913" cy="929485"/>
          </a:xfrm>
        </p:spPr>
        <p:txBody>
          <a:bodyPr/>
          <a:lstStyle/>
          <a:p>
            <a:r>
              <a:rPr lang="sk-SK" b="1" dirty="0" smtClean="0"/>
              <a:t>Jaroslav Kmeť</a:t>
            </a:r>
          </a:p>
          <a:p>
            <a:r>
              <a:rPr lang="sk-SK" b="1" dirty="0" smtClean="0"/>
              <a:t>Ľubomír Mindek</a:t>
            </a:r>
          </a:p>
          <a:p>
            <a:endParaRPr lang="sk-SK" dirty="0" smtClean="0"/>
          </a:p>
          <a:p>
            <a:r>
              <a:rPr lang="sk-SK" b="1" dirty="0" smtClean="0"/>
              <a:t>December </a:t>
            </a:r>
            <a:r>
              <a:rPr lang="de-AT" b="1" dirty="0" smtClean="0"/>
              <a:t>2012</a:t>
            </a:r>
            <a:endParaRPr lang="en-US" b="1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TextBox 10"/>
          <p:cNvSpPr txBox="1">
            <a:spLocks noChangeArrowheads="1"/>
          </p:cNvSpPr>
          <p:nvPr/>
        </p:nvSpPr>
        <p:spPr bwMode="auto">
          <a:xfrm>
            <a:off x="190500" y="5481638"/>
            <a:ext cx="8643938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endParaRPr lang="en-US" sz="1000"/>
          </a:p>
        </p:txBody>
      </p:sp>
      <p:grpSp>
        <p:nvGrpSpPr>
          <p:cNvPr id="2" name="Group 36"/>
          <p:cNvGrpSpPr>
            <a:grpSpLocks/>
          </p:cNvGrpSpPr>
          <p:nvPr/>
        </p:nvGrpSpPr>
        <p:grpSpPr bwMode="auto">
          <a:xfrm>
            <a:off x="2968925" y="1549400"/>
            <a:ext cx="3406475" cy="2451100"/>
            <a:chOff x="2255" y="2092"/>
            <a:chExt cx="3296" cy="180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Freeform 37"/>
            <p:cNvSpPr>
              <a:spLocks/>
            </p:cNvSpPr>
            <p:nvPr/>
          </p:nvSpPr>
          <p:spPr bwMode="auto">
            <a:xfrm>
              <a:off x="4648" y="3148"/>
              <a:ext cx="30" cy="14"/>
            </a:xfrm>
            <a:custGeom>
              <a:avLst/>
              <a:gdLst>
                <a:gd name="T0" fmla="*/ 1 w 50"/>
                <a:gd name="T1" fmla="*/ 1 h 26"/>
                <a:gd name="T2" fmla="*/ 1 w 50"/>
                <a:gd name="T3" fmla="*/ 0 h 26"/>
                <a:gd name="T4" fmla="*/ 1 w 50"/>
                <a:gd name="T5" fmla="*/ 1 h 26"/>
                <a:gd name="T6" fmla="*/ 0 w 50"/>
                <a:gd name="T7" fmla="*/ 1 h 26"/>
                <a:gd name="T8" fmla="*/ 1 w 50"/>
                <a:gd name="T9" fmla="*/ 1 h 26"/>
                <a:gd name="T10" fmla="*/ 1 w 50"/>
                <a:gd name="T11" fmla="*/ 1 h 26"/>
                <a:gd name="T12" fmla="*/ 1 w 50"/>
                <a:gd name="T13" fmla="*/ 1 h 26"/>
                <a:gd name="T14" fmla="*/ 1 w 50"/>
                <a:gd name="T15" fmla="*/ 1 h 2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0"/>
                <a:gd name="T25" fmla="*/ 0 h 26"/>
                <a:gd name="T26" fmla="*/ 50 w 50"/>
                <a:gd name="T27" fmla="*/ 26 h 2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0" h="26">
                  <a:moveTo>
                    <a:pt x="45" y="7"/>
                  </a:moveTo>
                  <a:lnTo>
                    <a:pt x="16" y="0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7" y="26"/>
                  </a:lnTo>
                  <a:lnTo>
                    <a:pt x="42" y="23"/>
                  </a:lnTo>
                  <a:lnTo>
                    <a:pt x="50" y="18"/>
                  </a:lnTo>
                  <a:lnTo>
                    <a:pt x="45" y="7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0" name="Freeform 38"/>
            <p:cNvSpPr>
              <a:spLocks/>
            </p:cNvSpPr>
            <p:nvPr/>
          </p:nvSpPr>
          <p:spPr bwMode="auto">
            <a:xfrm>
              <a:off x="4516" y="2884"/>
              <a:ext cx="539" cy="331"/>
            </a:xfrm>
            <a:custGeom>
              <a:avLst/>
              <a:gdLst>
                <a:gd name="T0" fmla="*/ 6 w 911"/>
                <a:gd name="T1" fmla="*/ 2 h 635"/>
                <a:gd name="T2" fmla="*/ 7 w 911"/>
                <a:gd name="T3" fmla="*/ 2 h 635"/>
                <a:gd name="T4" fmla="*/ 10 w 911"/>
                <a:gd name="T5" fmla="*/ 3 h 635"/>
                <a:gd name="T6" fmla="*/ 13 w 911"/>
                <a:gd name="T7" fmla="*/ 3 h 635"/>
                <a:gd name="T8" fmla="*/ 14 w 911"/>
                <a:gd name="T9" fmla="*/ 2 h 635"/>
                <a:gd name="T10" fmla="*/ 15 w 911"/>
                <a:gd name="T11" fmla="*/ 2 h 635"/>
                <a:gd name="T12" fmla="*/ 17 w 911"/>
                <a:gd name="T13" fmla="*/ 2 h 635"/>
                <a:gd name="T14" fmla="*/ 17 w 911"/>
                <a:gd name="T15" fmla="*/ 2 h 635"/>
                <a:gd name="T16" fmla="*/ 16 w 911"/>
                <a:gd name="T17" fmla="*/ 1 h 635"/>
                <a:gd name="T18" fmla="*/ 18 w 911"/>
                <a:gd name="T19" fmla="*/ 1 h 635"/>
                <a:gd name="T20" fmla="*/ 18 w 911"/>
                <a:gd name="T21" fmla="*/ 1 h 635"/>
                <a:gd name="T22" fmla="*/ 20 w 911"/>
                <a:gd name="T23" fmla="*/ 1 h 635"/>
                <a:gd name="T24" fmla="*/ 21 w 911"/>
                <a:gd name="T25" fmla="*/ 1 h 635"/>
                <a:gd name="T26" fmla="*/ 22 w 911"/>
                <a:gd name="T27" fmla="*/ 2 h 635"/>
                <a:gd name="T28" fmla="*/ 22 w 911"/>
                <a:gd name="T29" fmla="*/ 2 h 635"/>
                <a:gd name="T30" fmla="*/ 22 w 911"/>
                <a:gd name="T31" fmla="*/ 3 h 635"/>
                <a:gd name="T32" fmla="*/ 21 w 911"/>
                <a:gd name="T33" fmla="*/ 3 h 635"/>
                <a:gd name="T34" fmla="*/ 21 w 911"/>
                <a:gd name="T35" fmla="*/ 3 h 635"/>
                <a:gd name="T36" fmla="*/ 19 w 911"/>
                <a:gd name="T37" fmla="*/ 3 h 635"/>
                <a:gd name="T38" fmla="*/ 18 w 911"/>
                <a:gd name="T39" fmla="*/ 3 h 635"/>
                <a:gd name="T40" fmla="*/ 18 w 911"/>
                <a:gd name="T41" fmla="*/ 3 h 635"/>
                <a:gd name="T42" fmla="*/ 17 w 911"/>
                <a:gd name="T43" fmla="*/ 3 h 635"/>
                <a:gd name="T44" fmla="*/ 17 w 911"/>
                <a:gd name="T45" fmla="*/ 4 h 635"/>
                <a:gd name="T46" fmla="*/ 18 w 911"/>
                <a:gd name="T47" fmla="*/ 4 h 635"/>
                <a:gd name="T48" fmla="*/ 17 w 911"/>
                <a:gd name="T49" fmla="*/ 4 h 635"/>
                <a:gd name="T50" fmla="*/ 18 w 911"/>
                <a:gd name="T51" fmla="*/ 5 h 635"/>
                <a:gd name="T52" fmla="*/ 18 w 911"/>
                <a:gd name="T53" fmla="*/ 5 h 635"/>
                <a:gd name="T54" fmla="*/ 18 w 911"/>
                <a:gd name="T55" fmla="*/ 5 h 635"/>
                <a:gd name="T56" fmla="*/ 18 w 911"/>
                <a:gd name="T57" fmla="*/ 6 h 635"/>
                <a:gd name="T58" fmla="*/ 17 w 911"/>
                <a:gd name="T59" fmla="*/ 6 h 635"/>
                <a:gd name="T60" fmla="*/ 15 w 911"/>
                <a:gd name="T61" fmla="*/ 6 h 635"/>
                <a:gd name="T62" fmla="*/ 15 w 911"/>
                <a:gd name="T63" fmla="*/ 6 h 635"/>
                <a:gd name="T64" fmla="*/ 14 w 911"/>
                <a:gd name="T65" fmla="*/ 7 h 635"/>
                <a:gd name="T66" fmla="*/ 13 w 911"/>
                <a:gd name="T67" fmla="*/ 6 h 635"/>
                <a:gd name="T68" fmla="*/ 12 w 911"/>
                <a:gd name="T69" fmla="*/ 6 h 635"/>
                <a:gd name="T70" fmla="*/ 11 w 911"/>
                <a:gd name="T71" fmla="*/ 6 h 635"/>
                <a:gd name="T72" fmla="*/ 11 w 911"/>
                <a:gd name="T73" fmla="*/ 6 h 635"/>
                <a:gd name="T74" fmla="*/ 11 w 911"/>
                <a:gd name="T75" fmla="*/ 6 h 635"/>
                <a:gd name="T76" fmla="*/ 10 w 911"/>
                <a:gd name="T77" fmla="*/ 6 h 635"/>
                <a:gd name="T78" fmla="*/ 9 w 911"/>
                <a:gd name="T79" fmla="*/ 6 h 635"/>
                <a:gd name="T80" fmla="*/ 9 w 911"/>
                <a:gd name="T81" fmla="*/ 5 h 635"/>
                <a:gd name="T82" fmla="*/ 8 w 911"/>
                <a:gd name="T83" fmla="*/ 5 h 635"/>
                <a:gd name="T84" fmla="*/ 7 w 911"/>
                <a:gd name="T85" fmla="*/ 5 h 635"/>
                <a:gd name="T86" fmla="*/ 5 w 911"/>
                <a:gd name="T87" fmla="*/ 5 h 635"/>
                <a:gd name="T88" fmla="*/ 4 w 911"/>
                <a:gd name="T89" fmla="*/ 5 h 635"/>
                <a:gd name="T90" fmla="*/ 3 w 911"/>
                <a:gd name="T91" fmla="*/ 5 h 635"/>
                <a:gd name="T92" fmla="*/ 2 w 911"/>
                <a:gd name="T93" fmla="*/ 5 h 635"/>
                <a:gd name="T94" fmla="*/ 2 w 911"/>
                <a:gd name="T95" fmla="*/ 5 h 635"/>
                <a:gd name="T96" fmla="*/ 2 w 911"/>
                <a:gd name="T97" fmla="*/ 4 h 635"/>
                <a:gd name="T98" fmla="*/ 1 w 911"/>
                <a:gd name="T99" fmla="*/ 4 h 635"/>
                <a:gd name="T100" fmla="*/ 1 w 911"/>
                <a:gd name="T101" fmla="*/ 4 h 635"/>
                <a:gd name="T102" fmla="*/ 1 w 911"/>
                <a:gd name="T103" fmla="*/ 4 h 635"/>
                <a:gd name="T104" fmla="*/ 1 w 911"/>
                <a:gd name="T105" fmla="*/ 4 h 635"/>
                <a:gd name="T106" fmla="*/ 1 w 911"/>
                <a:gd name="T107" fmla="*/ 3 h 635"/>
                <a:gd name="T108" fmla="*/ 2 w 911"/>
                <a:gd name="T109" fmla="*/ 3 h 635"/>
                <a:gd name="T110" fmla="*/ 2 w 911"/>
                <a:gd name="T111" fmla="*/ 2 h 635"/>
                <a:gd name="T112" fmla="*/ 4 w 911"/>
                <a:gd name="T113" fmla="*/ 2 h 635"/>
                <a:gd name="T114" fmla="*/ 5 w 911"/>
                <a:gd name="T115" fmla="*/ 2 h 6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11"/>
                <a:gd name="T175" fmla="*/ 0 h 635"/>
                <a:gd name="T176" fmla="*/ 911 w 911"/>
                <a:gd name="T177" fmla="*/ 635 h 6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11" h="635">
                  <a:moveTo>
                    <a:pt x="193" y="116"/>
                  </a:moveTo>
                  <a:lnTo>
                    <a:pt x="210" y="106"/>
                  </a:lnTo>
                  <a:lnTo>
                    <a:pt x="224" y="130"/>
                  </a:lnTo>
                  <a:lnTo>
                    <a:pt x="243" y="135"/>
                  </a:lnTo>
                  <a:lnTo>
                    <a:pt x="252" y="154"/>
                  </a:lnTo>
                  <a:lnTo>
                    <a:pt x="252" y="187"/>
                  </a:lnTo>
                  <a:lnTo>
                    <a:pt x="316" y="206"/>
                  </a:lnTo>
                  <a:lnTo>
                    <a:pt x="344" y="239"/>
                  </a:lnTo>
                  <a:lnTo>
                    <a:pt x="401" y="239"/>
                  </a:lnTo>
                  <a:lnTo>
                    <a:pt x="427" y="253"/>
                  </a:lnTo>
                  <a:lnTo>
                    <a:pt x="465" y="262"/>
                  </a:lnTo>
                  <a:lnTo>
                    <a:pt x="505" y="246"/>
                  </a:lnTo>
                  <a:lnTo>
                    <a:pt x="536" y="246"/>
                  </a:lnTo>
                  <a:lnTo>
                    <a:pt x="540" y="243"/>
                  </a:lnTo>
                  <a:lnTo>
                    <a:pt x="569" y="220"/>
                  </a:lnTo>
                  <a:lnTo>
                    <a:pt x="562" y="203"/>
                  </a:lnTo>
                  <a:lnTo>
                    <a:pt x="576" y="191"/>
                  </a:lnTo>
                  <a:lnTo>
                    <a:pt x="592" y="198"/>
                  </a:lnTo>
                  <a:lnTo>
                    <a:pt x="623" y="180"/>
                  </a:lnTo>
                  <a:lnTo>
                    <a:pt x="642" y="158"/>
                  </a:lnTo>
                  <a:lnTo>
                    <a:pt x="677" y="158"/>
                  </a:lnTo>
                  <a:lnTo>
                    <a:pt x="675" y="142"/>
                  </a:lnTo>
                  <a:lnTo>
                    <a:pt x="666" y="130"/>
                  </a:lnTo>
                  <a:lnTo>
                    <a:pt x="642" y="139"/>
                  </a:lnTo>
                  <a:lnTo>
                    <a:pt x="626" y="137"/>
                  </a:lnTo>
                  <a:lnTo>
                    <a:pt x="626" y="99"/>
                  </a:lnTo>
                  <a:lnTo>
                    <a:pt x="635" y="85"/>
                  </a:lnTo>
                  <a:lnTo>
                    <a:pt x="656" y="95"/>
                  </a:lnTo>
                  <a:lnTo>
                    <a:pt x="677" y="83"/>
                  </a:lnTo>
                  <a:lnTo>
                    <a:pt x="689" y="47"/>
                  </a:lnTo>
                  <a:lnTo>
                    <a:pt x="696" y="40"/>
                  </a:lnTo>
                  <a:lnTo>
                    <a:pt x="699" y="26"/>
                  </a:lnTo>
                  <a:lnTo>
                    <a:pt x="689" y="26"/>
                  </a:lnTo>
                  <a:lnTo>
                    <a:pt x="703" y="7"/>
                  </a:lnTo>
                  <a:lnTo>
                    <a:pt x="739" y="0"/>
                  </a:lnTo>
                  <a:lnTo>
                    <a:pt x="770" y="12"/>
                  </a:lnTo>
                  <a:lnTo>
                    <a:pt x="784" y="28"/>
                  </a:lnTo>
                  <a:lnTo>
                    <a:pt x="800" y="92"/>
                  </a:lnTo>
                  <a:lnTo>
                    <a:pt x="826" y="97"/>
                  </a:lnTo>
                  <a:lnTo>
                    <a:pt x="848" y="111"/>
                  </a:lnTo>
                  <a:lnTo>
                    <a:pt x="855" y="135"/>
                  </a:lnTo>
                  <a:lnTo>
                    <a:pt x="869" y="135"/>
                  </a:lnTo>
                  <a:lnTo>
                    <a:pt x="911" y="118"/>
                  </a:lnTo>
                  <a:lnTo>
                    <a:pt x="909" y="137"/>
                  </a:lnTo>
                  <a:lnTo>
                    <a:pt x="883" y="194"/>
                  </a:lnTo>
                  <a:lnTo>
                    <a:pt x="866" y="189"/>
                  </a:lnTo>
                  <a:lnTo>
                    <a:pt x="855" y="201"/>
                  </a:lnTo>
                  <a:lnTo>
                    <a:pt x="859" y="229"/>
                  </a:lnTo>
                  <a:lnTo>
                    <a:pt x="850" y="246"/>
                  </a:lnTo>
                  <a:lnTo>
                    <a:pt x="838" y="241"/>
                  </a:lnTo>
                  <a:lnTo>
                    <a:pt x="824" y="255"/>
                  </a:lnTo>
                  <a:lnTo>
                    <a:pt x="812" y="258"/>
                  </a:lnTo>
                  <a:lnTo>
                    <a:pt x="807" y="267"/>
                  </a:lnTo>
                  <a:lnTo>
                    <a:pt x="793" y="265"/>
                  </a:lnTo>
                  <a:lnTo>
                    <a:pt x="755" y="295"/>
                  </a:lnTo>
                  <a:lnTo>
                    <a:pt x="755" y="298"/>
                  </a:lnTo>
                  <a:lnTo>
                    <a:pt x="741" y="300"/>
                  </a:lnTo>
                  <a:lnTo>
                    <a:pt x="706" y="319"/>
                  </a:lnTo>
                  <a:lnTo>
                    <a:pt x="713" y="310"/>
                  </a:lnTo>
                  <a:lnTo>
                    <a:pt x="708" y="305"/>
                  </a:lnTo>
                  <a:lnTo>
                    <a:pt x="722" y="286"/>
                  </a:lnTo>
                  <a:lnTo>
                    <a:pt x="718" y="279"/>
                  </a:lnTo>
                  <a:lnTo>
                    <a:pt x="708" y="276"/>
                  </a:lnTo>
                  <a:lnTo>
                    <a:pt x="680" y="300"/>
                  </a:lnTo>
                  <a:lnTo>
                    <a:pt x="675" y="310"/>
                  </a:lnTo>
                  <a:lnTo>
                    <a:pt x="659" y="310"/>
                  </a:lnTo>
                  <a:lnTo>
                    <a:pt x="654" y="321"/>
                  </a:lnTo>
                  <a:lnTo>
                    <a:pt x="680" y="350"/>
                  </a:lnTo>
                  <a:lnTo>
                    <a:pt x="701" y="338"/>
                  </a:lnTo>
                  <a:lnTo>
                    <a:pt x="727" y="345"/>
                  </a:lnTo>
                  <a:lnTo>
                    <a:pt x="725" y="354"/>
                  </a:lnTo>
                  <a:lnTo>
                    <a:pt x="718" y="352"/>
                  </a:lnTo>
                  <a:lnTo>
                    <a:pt x="701" y="359"/>
                  </a:lnTo>
                  <a:lnTo>
                    <a:pt x="677" y="390"/>
                  </a:lnTo>
                  <a:lnTo>
                    <a:pt x="694" y="399"/>
                  </a:lnTo>
                  <a:lnTo>
                    <a:pt x="703" y="432"/>
                  </a:lnTo>
                  <a:lnTo>
                    <a:pt x="718" y="446"/>
                  </a:lnTo>
                  <a:lnTo>
                    <a:pt x="708" y="446"/>
                  </a:lnTo>
                  <a:lnTo>
                    <a:pt x="718" y="461"/>
                  </a:lnTo>
                  <a:lnTo>
                    <a:pt x="694" y="470"/>
                  </a:lnTo>
                  <a:lnTo>
                    <a:pt x="720" y="475"/>
                  </a:lnTo>
                  <a:lnTo>
                    <a:pt x="711" y="508"/>
                  </a:lnTo>
                  <a:lnTo>
                    <a:pt x="706" y="508"/>
                  </a:lnTo>
                  <a:lnTo>
                    <a:pt x="689" y="532"/>
                  </a:lnTo>
                  <a:lnTo>
                    <a:pt x="685" y="532"/>
                  </a:lnTo>
                  <a:lnTo>
                    <a:pt x="685" y="543"/>
                  </a:lnTo>
                  <a:lnTo>
                    <a:pt x="670" y="567"/>
                  </a:lnTo>
                  <a:lnTo>
                    <a:pt x="661" y="567"/>
                  </a:lnTo>
                  <a:lnTo>
                    <a:pt x="661" y="572"/>
                  </a:lnTo>
                  <a:lnTo>
                    <a:pt x="637" y="591"/>
                  </a:lnTo>
                  <a:lnTo>
                    <a:pt x="607" y="598"/>
                  </a:lnTo>
                  <a:lnTo>
                    <a:pt x="602" y="605"/>
                  </a:lnTo>
                  <a:lnTo>
                    <a:pt x="595" y="598"/>
                  </a:lnTo>
                  <a:lnTo>
                    <a:pt x="592" y="607"/>
                  </a:lnTo>
                  <a:lnTo>
                    <a:pt x="585" y="600"/>
                  </a:lnTo>
                  <a:lnTo>
                    <a:pt x="585" y="607"/>
                  </a:lnTo>
                  <a:lnTo>
                    <a:pt x="548" y="621"/>
                  </a:lnTo>
                  <a:lnTo>
                    <a:pt x="543" y="635"/>
                  </a:lnTo>
                  <a:lnTo>
                    <a:pt x="538" y="635"/>
                  </a:lnTo>
                  <a:lnTo>
                    <a:pt x="536" y="617"/>
                  </a:lnTo>
                  <a:lnTo>
                    <a:pt x="517" y="614"/>
                  </a:lnTo>
                  <a:lnTo>
                    <a:pt x="510" y="617"/>
                  </a:lnTo>
                  <a:lnTo>
                    <a:pt x="512" y="617"/>
                  </a:lnTo>
                  <a:lnTo>
                    <a:pt x="493" y="612"/>
                  </a:lnTo>
                  <a:lnTo>
                    <a:pt x="488" y="595"/>
                  </a:lnTo>
                  <a:lnTo>
                    <a:pt x="472" y="591"/>
                  </a:lnTo>
                  <a:lnTo>
                    <a:pt x="437" y="600"/>
                  </a:lnTo>
                  <a:lnTo>
                    <a:pt x="427" y="598"/>
                  </a:lnTo>
                  <a:lnTo>
                    <a:pt x="425" y="602"/>
                  </a:lnTo>
                  <a:lnTo>
                    <a:pt x="418" y="600"/>
                  </a:lnTo>
                  <a:lnTo>
                    <a:pt x="415" y="619"/>
                  </a:lnTo>
                  <a:lnTo>
                    <a:pt x="411" y="621"/>
                  </a:lnTo>
                  <a:lnTo>
                    <a:pt x="408" y="614"/>
                  </a:lnTo>
                  <a:lnTo>
                    <a:pt x="394" y="617"/>
                  </a:lnTo>
                  <a:lnTo>
                    <a:pt x="382" y="605"/>
                  </a:lnTo>
                  <a:lnTo>
                    <a:pt x="382" y="593"/>
                  </a:lnTo>
                  <a:lnTo>
                    <a:pt x="375" y="588"/>
                  </a:lnTo>
                  <a:lnTo>
                    <a:pt x="373" y="574"/>
                  </a:lnTo>
                  <a:lnTo>
                    <a:pt x="356" y="579"/>
                  </a:lnTo>
                  <a:lnTo>
                    <a:pt x="373" y="532"/>
                  </a:lnTo>
                  <a:lnTo>
                    <a:pt x="363" y="510"/>
                  </a:lnTo>
                  <a:lnTo>
                    <a:pt x="351" y="508"/>
                  </a:lnTo>
                  <a:lnTo>
                    <a:pt x="328" y="487"/>
                  </a:lnTo>
                  <a:lnTo>
                    <a:pt x="309" y="489"/>
                  </a:lnTo>
                  <a:lnTo>
                    <a:pt x="269" y="513"/>
                  </a:lnTo>
                  <a:lnTo>
                    <a:pt x="240" y="506"/>
                  </a:lnTo>
                  <a:lnTo>
                    <a:pt x="226" y="522"/>
                  </a:lnTo>
                  <a:lnTo>
                    <a:pt x="222" y="508"/>
                  </a:lnTo>
                  <a:lnTo>
                    <a:pt x="212" y="513"/>
                  </a:lnTo>
                  <a:lnTo>
                    <a:pt x="181" y="513"/>
                  </a:lnTo>
                  <a:lnTo>
                    <a:pt x="158" y="498"/>
                  </a:lnTo>
                  <a:lnTo>
                    <a:pt x="153" y="489"/>
                  </a:lnTo>
                  <a:lnTo>
                    <a:pt x="144" y="491"/>
                  </a:lnTo>
                  <a:lnTo>
                    <a:pt x="127" y="475"/>
                  </a:lnTo>
                  <a:lnTo>
                    <a:pt x="108" y="472"/>
                  </a:lnTo>
                  <a:lnTo>
                    <a:pt x="80" y="461"/>
                  </a:lnTo>
                  <a:lnTo>
                    <a:pt x="70" y="437"/>
                  </a:lnTo>
                  <a:lnTo>
                    <a:pt x="70" y="432"/>
                  </a:lnTo>
                  <a:lnTo>
                    <a:pt x="85" y="432"/>
                  </a:lnTo>
                  <a:lnTo>
                    <a:pt x="77" y="411"/>
                  </a:lnTo>
                  <a:lnTo>
                    <a:pt x="94" y="395"/>
                  </a:lnTo>
                  <a:lnTo>
                    <a:pt x="99" y="378"/>
                  </a:lnTo>
                  <a:lnTo>
                    <a:pt x="94" y="380"/>
                  </a:lnTo>
                  <a:lnTo>
                    <a:pt x="82" y="371"/>
                  </a:lnTo>
                  <a:lnTo>
                    <a:pt x="59" y="380"/>
                  </a:lnTo>
                  <a:lnTo>
                    <a:pt x="35" y="371"/>
                  </a:lnTo>
                  <a:lnTo>
                    <a:pt x="28" y="357"/>
                  </a:lnTo>
                  <a:lnTo>
                    <a:pt x="14" y="352"/>
                  </a:lnTo>
                  <a:lnTo>
                    <a:pt x="11" y="347"/>
                  </a:lnTo>
                  <a:lnTo>
                    <a:pt x="16" y="347"/>
                  </a:lnTo>
                  <a:lnTo>
                    <a:pt x="16" y="345"/>
                  </a:lnTo>
                  <a:lnTo>
                    <a:pt x="16" y="324"/>
                  </a:lnTo>
                  <a:lnTo>
                    <a:pt x="2" y="324"/>
                  </a:lnTo>
                  <a:lnTo>
                    <a:pt x="0" y="317"/>
                  </a:lnTo>
                  <a:lnTo>
                    <a:pt x="4" y="295"/>
                  </a:lnTo>
                  <a:lnTo>
                    <a:pt x="16" y="286"/>
                  </a:lnTo>
                  <a:lnTo>
                    <a:pt x="42" y="286"/>
                  </a:lnTo>
                  <a:lnTo>
                    <a:pt x="47" y="276"/>
                  </a:lnTo>
                  <a:lnTo>
                    <a:pt x="63" y="274"/>
                  </a:lnTo>
                  <a:lnTo>
                    <a:pt x="92" y="258"/>
                  </a:lnTo>
                  <a:lnTo>
                    <a:pt x="103" y="232"/>
                  </a:lnTo>
                  <a:lnTo>
                    <a:pt x="94" y="198"/>
                  </a:lnTo>
                  <a:lnTo>
                    <a:pt x="99" y="191"/>
                  </a:lnTo>
                  <a:lnTo>
                    <a:pt x="127" y="189"/>
                  </a:lnTo>
                  <a:lnTo>
                    <a:pt x="137" y="147"/>
                  </a:lnTo>
                  <a:lnTo>
                    <a:pt x="165" y="154"/>
                  </a:lnTo>
                  <a:lnTo>
                    <a:pt x="174" y="149"/>
                  </a:lnTo>
                  <a:lnTo>
                    <a:pt x="179" y="121"/>
                  </a:lnTo>
                  <a:lnTo>
                    <a:pt x="193" y="116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1" name="Freeform 39"/>
            <p:cNvSpPr>
              <a:spLocks/>
            </p:cNvSpPr>
            <p:nvPr/>
          </p:nvSpPr>
          <p:spPr bwMode="auto">
            <a:xfrm>
              <a:off x="4465" y="3078"/>
              <a:ext cx="258" cy="235"/>
            </a:xfrm>
            <a:custGeom>
              <a:avLst/>
              <a:gdLst>
                <a:gd name="T0" fmla="*/ 11 w 437"/>
                <a:gd name="T1" fmla="*/ 1 h 451"/>
                <a:gd name="T2" fmla="*/ 11 w 437"/>
                <a:gd name="T3" fmla="*/ 2 h 451"/>
                <a:gd name="T4" fmla="*/ 11 w 437"/>
                <a:gd name="T5" fmla="*/ 2 h 451"/>
                <a:gd name="T6" fmla="*/ 9 w 437"/>
                <a:gd name="T7" fmla="*/ 2 h 451"/>
                <a:gd name="T8" fmla="*/ 9 w 437"/>
                <a:gd name="T9" fmla="*/ 3 h 451"/>
                <a:gd name="T10" fmla="*/ 9 w 437"/>
                <a:gd name="T11" fmla="*/ 2 h 451"/>
                <a:gd name="T12" fmla="*/ 9 w 437"/>
                <a:gd name="T13" fmla="*/ 2 h 451"/>
                <a:gd name="T14" fmla="*/ 9 w 437"/>
                <a:gd name="T15" fmla="*/ 2 h 451"/>
                <a:gd name="T16" fmla="*/ 8 w 437"/>
                <a:gd name="T17" fmla="*/ 2 h 451"/>
                <a:gd name="T18" fmla="*/ 8 w 437"/>
                <a:gd name="T19" fmla="*/ 2 h 451"/>
                <a:gd name="T20" fmla="*/ 8 w 437"/>
                <a:gd name="T21" fmla="*/ 2 h 451"/>
                <a:gd name="T22" fmla="*/ 7 w 437"/>
                <a:gd name="T23" fmla="*/ 2 h 451"/>
                <a:gd name="T24" fmla="*/ 7 w 437"/>
                <a:gd name="T25" fmla="*/ 2 h 451"/>
                <a:gd name="T26" fmla="*/ 8 w 437"/>
                <a:gd name="T27" fmla="*/ 3 h 451"/>
                <a:gd name="T28" fmla="*/ 8 w 437"/>
                <a:gd name="T29" fmla="*/ 3 h 451"/>
                <a:gd name="T30" fmla="*/ 7 w 437"/>
                <a:gd name="T31" fmla="*/ 3 h 451"/>
                <a:gd name="T32" fmla="*/ 6 w 437"/>
                <a:gd name="T33" fmla="*/ 3 h 451"/>
                <a:gd name="T34" fmla="*/ 5 w 437"/>
                <a:gd name="T35" fmla="*/ 4 h 451"/>
                <a:gd name="T36" fmla="*/ 5 w 437"/>
                <a:gd name="T37" fmla="*/ 4 h 451"/>
                <a:gd name="T38" fmla="*/ 5 w 437"/>
                <a:gd name="T39" fmla="*/ 4 h 451"/>
                <a:gd name="T40" fmla="*/ 4 w 437"/>
                <a:gd name="T41" fmla="*/ 4 h 451"/>
                <a:gd name="T42" fmla="*/ 4 w 437"/>
                <a:gd name="T43" fmla="*/ 4 h 451"/>
                <a:gd name="T44" fmla="*/ 4 w 437"/>
                <a:gd name="T45" fmla="*/ 5 h 451"/>
                <a:gd name="T46" fmla="*/ 3 w 437"/>
                <a:gd name="T47" fmla="*/ 5 h 451"/>
                <a:gd name="T48" fmla="*/ 2 w 437"/>
                <a:gd name="T49" fmla="*/ 4 h 451"/>
                <a:gd name="T50" fmla="*/ 2 w 437"/>
                <a:gd name="T51" fmla="*/ 3 h 451"/>
                <a:gd name="T52" fmla="*/ 1 w 437"/>
                <a:gd name="T53" fmla="*/ 3 h 451"/>
                <a:gd name="T54" fmla="*/ 1 w 437"/>
                <a:gd name="T55" fmla="*/ 3 h 451"/>
                <a:gd name="T56" fmla="*/ 1 w 437"/>
                <a:gd name="T57" fmla="*/ 2 h 451"/>
                <a:gd name="T58" fmla="*/ 0 w 437"/>
                <a:gd name="T59" fmla="*/ 2 h 451"/>
                <a:gd name="T60" fmla="*/ 1 w 437"/>
                <a:gd name="T61" fmla="*/ 2 h 451"/>
                <a:gd name="T62" fmla="*/ 1 w 437"/>
                <a:gd name="T63" fmla="*/ 2 h 451"/>
                <a:gd name="T64" fmla="*/ 1 w 437"/>
                <a:gd name="T65" fmla="*/ 2 h 451"/>
                <a:gd name="T66" fmla="*/ 1 w 437"/>
                <a:gd name="T67" fmla="*/ 2 h 451"/>
                <a:gd name="T68" fmla="*/ 1 w 437"/>
                <a:gd name="T69" fmla="*/ 2 h 451"/>
                <a:gd name="T70" fmla="*/ 1 w 437"/>
                <a:gd name="T71" fmla="*/ 2 h 451"/>
                <a:gd name="T72" fmla="*/ 2 w 437"/>
                <a:gd name="T73" fmla="*/ 1 h 451"/>
                <a:gd name="T74" fmla="*/ 3 w 437"/>
                <a:gd name="T75" fmla="*/ 1 h 451"/>
                <a:gd name="T76" fmla="*/ 2 w 437"/>
                <a:gd name="T77" fmla="*/ 1 h 451"/>
                <a:gd name="T78" fmla="*/ 2 w 437"/>
                <a:gd name="T79" fmla="*/ 1 h 451"/>
                <a:gd name="T80" fmla="*/ 4 w 437"/>
                <a:gd name="T81" fmla="*/ 1 h 451"/>
                <a:gd name="T82" fmla="*/ 4 w 437"/>
                <a:gd name="T83" fmla="*/ 0 h 451"/>
                <a:gd name="T84" fmla="*/ 5 w 437"/>
                <a:gd name="T85" fmla="*/ 1 h 451"/>
                <a:gd name="T86" fmla="*/ 4 w 437"/>
                <a:gd name="T87" fmla="*/ 1 h 451"/>
                <a:gd name="T88" fmla="*/ 4 w 437"/>
                <a:gd name="T89" fmla="*/ 1 h 451"/>
                <a:gd name="T90" fmla="*/ 4 w 437"/>
                <a:gd name="T91" fmla="*/ 1 h 451"/>
                <a:gd name="T92" fmla="*/ 5 w 437"/>
                <a:gd name="T93" fmla="*/ 1 h 451"/>
                <a:gd name="T94" fmla="*/ 5 w 437"/>
                <a:gd name="T95" fmla="*/ 2 h 451"/>
                <a:gd name="T96" fmla="*/ 7 w 437"/>
                <a:gd name="T97" fmla="*/ 2 h 451"/>
                <a:gd name="T98" fmla="*/ 7 w 437"/>
                <a:gd name="T99" fmla="*/ 2 h 451"/>
                <a:gd name="T100" fmla="*/ 8 w 437"/>
                <a:gd name="T101" fmla="*/ 2 h 451"/>
                <a:gd name="T102" fmla="*/ 8 w 437"/>
                <a:gd name="T103" fmla="*/ 2 h 451"/>
                <a:gd name="T104" fmla="*/ 8 w 437"/>
                <a:gd name="T105" fmla="*/ 2 h 451"/>
                <a:gd name="T106" fmla="*/ 9 w 437"/>
                <a:gd name="T107" fmla="*/ 2 h 451"/>
                <a:gd name="T108" fmla="*/ 10 w 437"/>
                <a:gd name="T109" fmla="*/ 2 h 45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7"/>
                <a:gd name="T166" fmla="*/ 0 h 451"/>
                <a:gd name="T167" fmla="*/ 437 w 437"/>
                <a:gd name="T168" fmla="*/ 451 h 45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7" h="451">
                  <a:moveTo>
                    <a:pt x="395" y="118"/>
                  </a:moveTo>
                  <a:lnTo>
                    <a:pt x="414" y="116"/>
                  </a:lnTo>
                  <a:lnTo>
                    <a:pt x="437" y="137"/>
                  </a:lnTo>
                  <a:lnTo>
                    <a:pt x="433" y="153"/>
                  </a:lnTo>
                  <a:lnTo>
                    <a:pt x="419" y="153"/>
                  </a:lnTo>
                  <a:lnTo>
                    <a:pt x="407" y="165"/>
                  </a:lnTo>
                  <a:lnTo>
                    <a:pt x="390" y="205"/>
                  </a:lnTo>
                  <a:lnTo>
                    <a:pt x="378" y="210"/>
                  </a:lnTo>
                  <a:lnTo>
                    <a:pt x="374" y="234"/>
                  </a:lnTo>
                  <a:lnTo>
                    <a:pt x="369" y="238"/>
                  </a:lnTo>
                  <a:lnTo>
                    <a:pt x="367" y="238"/>
                  </a:lnTo>
                  <a:lnTo>
                    <a:pt x="362" y="212"/>
                  </a:lnTo>
                  <a:lnTo>
                    <a:pt x="357" y="208"/>
                  </a:lnTo>
                  <a:lnTo>
                    <a:pt x="352" y="217"/>
                  </a:lnTo>
                  <a:lnTo>
                    <a:pt x="343" y="210"/>
                  </a:lnTo>
                  <a:lnTo>
                    <a:pt x="343" y="203"/>
                  </a:lnTo>
                  <a:lnTo>
                    <a:pt x="360" y="189"/>
                  </a:lnTo>
                  <a:lnTo>
                    <a:pt x="326" y="184"/>
                  </a:lnTo>
                  <a:lnTo>
                    <a:pt x="322" y="170"/>
                  </a:lnTo>
                  <a:lnTo>
                    <a:pt x="312" y="165"/>
                  </a:lnTo>
                  <a:lnTo>
                    <a:pt x="308" y="170"/>
                  </a:lnTo>
                  <a:lnTo>
                    <a:pt x="305" y="165"/>
                  </a:lnTo>
                  <a:lnTo>
                    <a:pt x="300" y="170"/>
                  </a:lnTo>
                  <a:lnTo>
                    <a:pt x="300" y="179"/>
                  </a:lnTo>
                  <a:lnTo>
                    <a:pt x="305" y="179"/>
                  </a:lnTo>
                  <a:lnTo>
                    <a:pt x="296" y="194"/>
                  </a:lnTo>
                  <a:lnTo>
                    <a:pt x="305" y="198"/>
                  </a:lnTo>
                  <a:lnTo>
                    <a:pt x="312" y="243"/>
                  </a:lnTo>
                  <a:lnTo>
                    <a:pt x="312" y="246"/>
                  </a:lnTo>
                  <a:lnTo>
                    <a:pt x="303" y="246"/>
                  </a:lnTo>
                  <a:lnTo>
                    <a:pt x="300" y="236"/>
                  </a:lnTo>
                  <a:lnTo>
                    <a:pt x="284" y="246"/>
                  </a:lnTo>
                  <a:lnTo>
                    <a:pt x="274" y="269"/>
                  </a:lnTo>
                  <a:lnTo>
                    <a:pt x="256" y="279"/>
                  </a:lnTo>
                  <a:lnTo>
                    <a:pt x="213" y="316"/>
                  </a:lnTo>
                  <a:lnTo>
                    <a:pt x="208" y="326"/>
                  </a:lnTo>
                  <a:lnTo>
                    <a:pt x="197" y="328"/>
                  </a:lnTo>
                  <a:lnTo>
                    <a:pt x="194" y="335"/>
                  </a:lnTo>
                  <a:lnTo>
                    <a:pt x="185" y="335"/>
                  </a:lnTo>
                  <a:lnTo>
                    <a:pt x="180" y="347"/>
                  </a:lnTo>
                  <a:lnTo>
                    <a:pt x="185" y="373"/>
                  </a:lnTo>
                  <a:lnTo>
                    <a:pt x="175" y="397"/>
                  </a:lnTo>
                  <a:lnTo>
                    <a:pt x="175" y="418"/>
                  </a:lnTo>
                  <a:lnTo>
                    <a:pt x="168" y="418"/>
                  </a:lnTo>
                  <a:lnTo>
                    <a:pt x="163" y="435"/>
                  </a:lnTo>
                  <a:lnTo>
                    <a:pt x="152" y="439"/>
                  </a:lnTo>
                  <a:lnTo>
                    <a:pt x="142" y="451"/>
                  </a:lnTo>
                  <a:lnTo>
                    <a:pt x="126" y="437"/>
                  </a:lnTo>
                  <a:lnTo>
                    <a:pt x="95" y="354"/>
                  </a:lnTo>
                  <a:lnTo>
                    <a:pt x="81" y="326"/>
                  </a:lnTo>
                  <a:lnTo>
                    <a:pt x="69" y="274"/>
                  </a:lnTo>
                  <a:lnTo>
                    <a:pt x="69" y="236"/>
                  </a:lnTo>
                  <a:lnTo>
                    <a:pt x="64" y="234"/>
                  </a:lnTo>
                  <a:lnTo>
                    <a:pt x="55" y="255"/>
                  </a:lnTo>
                  <a:lnTo>
                    <a:pt x="38" y="257"/>
                  </a:lnTo>
                  <a:lnTo>
                    <a:pt x="15" y="234"/>
                  </a:lnTo>
                  <a:lnTo>
                    <a:pt x="34" y="231"/>
                  </a:lnTo>
                  <a:lnTo>
                    <a:pt x="34" y="222"/>
                  </a:lnTo>
                  <a:lnTo>
                    <a:pt x="17" y="227"/>
                  </a:lnTo>
                  <a:lnTo>
                    <a:pt x="0" y="210"/>
                  </a:lnTo>
                  <a:lnTo>
                    <a:pt x="15" y="201"/>
                  </a:lnTo>
                  <a:lnTo>
                    <a:pt x="43" y="201"/>
                  </a:lnTo>
                  <a:lnTo>
                    <a:pt x="43" y="191"/>
                  </a:lnTo>
                  <a:lnTo>
                    <a:pt x="38" y="177"/>
                  </a:lnTo>
                  <a:lnTo>
                    <a:pt x="31" y="175"/>
                  </a:lnTo>
                  <a:lnTo>
                    <a:pt x="31" y="163"/>
                  </a:lnTo>
                  <a:lnTo>
                    <a:pt x="24" y="163"/>
                  </a:lnTo>
                  <a:lnTo>
                    <a:pt x="24" y="151"/>
                  </a:lnTo>
                  <a:lnTo>
                    <a:pt x="34" y="142"/>
                  </a:lnTo>
                  <a:lnTo>
                    <a:pt x="43" y="144"/>
                  </a:lnTo>
                  <a:lnTo>
                    <a:pt x="57" y="139"/>
                  </a:lnTo>
                  <a:lnTo>
                    <a:pt x="102" y="85"/>
                  </a:lnTo>
                  <a:lnTo>
                    <a:pt x="100" y="71"/>
                  </a:lnTo>
                  <a:lnTo>
                    <a:pt x="109" y="71"/>
                  </a:lnTo>
                  <a:lnTo>
                    <a:pt x="109" y="64"/>
                  </a:lnTo>
                  <a:lnTo>
                    <a:pt x="90" y="52"/>
                  </a:lnTo>
                  <a:lnTo>
                    <a:pt x="93" y="33"/>
                  </a:lnTo>
                  <a:lnTo>
                    <a:pt x="86" y="26"/>
                  </a:lnTo>
                  <a:lnTo>
                    <a:pt x="95" y="19"/>
                  </a:lnTo>
                  <a:lnTo>
                    <a:pt x="116" y="26"/>
                  </a:lnTo>
                  <a:lnTo>
                    <a:pt x="133" y="19"/>
                  </a:lnTo>
                  <a:lnTo>
                    <a:pt x="145" y="9"/>
                  </a:lnTo>
                  <a:lnTo>
                    <a:pt x="168" y="0"/>
                  </a:lnTo>
                  <a:lnTo>
                    <a:pt x="180" y="9"/>
                  </a:lnTo>
                  <a:lnTo>
                    <a:pt x="185" y="7"/>
                  </a:lnTo>
                  <a:lnTo>
                    <a:pt x="180" y="24"/>
                  </a:lnTo>
                  <a:lnTo>
                    <a:pt x="163" y="40"/>
                  </a:lnTo>
                  <a:lnTo>
                    <a:pt x="171" y="61"/>
                  </a:lnTo>
                  <a:lnTo>
                    <a:pt x="156" y="61"/>
                  </a:lnTo>
                  <a:lnTo>
                    <a:pt x="156" y="66"/>
                  </a:lnTo>
                  <a:lnTo>
                    <a:pt x="166" y="90"/>
                  </a:lnTo>
                  <a:lnTo>
                    <a:pt x="194" y="101"/>
                  </a:lnTo>
                  <a:lnTo>
                    <a:pt x="180" y="127"/>
                  </a:lnTo>
                  <a:lnTo>
                    <a:pt x="204" y="142"/>
                  </a:lnTo>
                  <a:lnTo>
                    <a:pt x="284" y="165"/>
                  </a:lnTo>
                  <a:lnTo>
                    <a:pt x="298" y="165"/>
                  </a:lnTo>
                  <a:lnTo>
                    <a:pt x="298" y="153"/>
                  </a:lnTo>
                  <a:lnTo>
                    <a:pt x="298" y="142"/>
                  </a:lnTo>
                  <a:lnTo>
                    <a:pt x="308" y="137"/>
                  </a:lnTo>
                  <a:lnTo>
                    <a:pt x="312" y="151"/>
                  </a:lnTo>
                  <a:lnTo>
                    <a:pt x="310" y="153"/>
                  </a:lnTo>
                  <a:lnTo>
                    <a:pt x="317" y="161"/>
                  </a:lnTo>
                  <a:lnTo>
                    <a:pt x="352" y="158"/>
                  </a:lnTo>
                  <a:lnTo>
                    <a:pt x="360" y="153"/>
                  </a:lnTo>
                  <a:lnTo>
                    <a:pt x="355" y="142"/>
                  </a:lnTo>
                  <a:lnTo>
                    <a:pt x="395" y="118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2" name="Freeform 40"/>
            <p:cNvSpPr>
              <a:spLocks/>
            </p:cNvSpPr>
            <p:nvPr/>
          </p:nvSpPr>
          <p:spPr bwMode="auto">
            <a:xfrm>
              <a:off x="3197" y="3513"/>
              <a:ext cx="73" cy="358"/>
            </a:xfrm>
            <a:custGeom>
              <a:avLst/>
              <a:gdLst>
                <a:gd name="T0" fmla="*/ 2 w 123"/>
                <a:gd name="T1" fmla="*/ 0 h 687"/>
                <a:gd name="T2" fmla="*/ 2 w 123"/>
                <a:gd name="T3" fmla="*/ 1 h 687"/>
                <a:gd name="T4" fmla="*/ 3 w 123"/>
                <a:gd name="T5" fmla="*/ 1 h 687"/>
                <a:gd name="T6" fmla="*/ 3 w 123"/>
                <a:gd name="T7" fmla="*/ 1 h 687"/>
                <a:gd name="T8" fmla="*/ 2 w 123"/>
                <a:gd name="T9" fmla="*/ 2 h 687"/>
                <a:gd name="T10" fmla="*/ 2 w 123"/>
                <a:gd name="T11" fmla="*/ 3 h 687"/>
                <a:gd name="T12" fmla="*/ 2 w 123"/>
                <a:gd name="T13" fmla="*/ 3 h 687"/>
                <a:gd name="T14" fmla="*/ 2 w 123"/>
                <a:gd name="T15" fmla="*/ 4 h 687"/>
                <a:gd name="T16" fmla="*/ 1 w 123"/>
                <a:gd name="T17" fmla="*/ 4 h 687"/>
                <a:gd name="T18" fmla="*/ 1 w 123"/>
                <a:gd name="T19" fmla="*/ 5 h 687"/>
                <a:gd name="T20" fmla="*/ 2 w 123"/>
                <a:gd name="T21" fmla="*/ 5 h 687"/>
                <a:gd name="T22" fmla="*/ 1 w 123"/>
                <a:gd name="T23" fmla="*/ 5 h 687"/>
                <a:gd name="T24" fmla="*/ 1 w 123"/>
                <a:gd name="T25" fmla="*/ 6 h 687"/>
                <a:gd name="T26" fmla="*/ 1 w 123"/>
                <a:gd name="T27" fmla="*/ 6 h 687"/>
                <a:gd name="T28" fmla="*/ 1 w 123"/>
                <a:gd name="T29" fmla="*/ 6 h 687"/>
                <a:gd name="T30" fmla="*/ 1 w 123"/>
                <a:gd name="T31" fmla="*/ 7 h 687"/>
                <a:gd name="T32" fmla="*/ 2 w 123"/>
                <a:gd name="T33" fmla="*/ 7 h 687"/>
                <a:gd name="T34" fmla="*/ 3 w 123"/>
                <a:gd name="T35" fmla="*/ 7 h 687"/>
                <a:gd name="T36" fmla="*/ 2 w 123"/>
                <a:gd name="T37" fmla="*/ 7 h 687"/>
                <a:gd name="T38" fmla="*/ 2 w 123"/>
                <a:gd name="T39" fmla="*/ 7 h 687"/>
                <a:gd name="T40" fmla="*/ 1 w 123"/>
                <a:gd name="T41" fmla="*/ 7 h 687"/>
                <a:gd name="T42" fmla="*/ 2 w 123"/>
                <a:gd name="T43" fmla="*/ 7 h 687"/>
                <a:gd name="T44" fmla="*/ 1 w 123"/>
                <a:gd name="T45" fmla="*/ 7 h 687"/>
                <a:gd name="T46" fmla="*/ 1 w 123"/>
                <a:gd name="T47" fmla="*/ 7 h 687"/>
                <a:gd name="T48" fmla="*/ 1 w 123"/>
                <a:gd name="T49" fmla="*/ 7 h 687"/>
                <a:gd name="T50" fmla="*/ 1 w 123"/>
                <a:gd name="T51" fmla="*/ 7 h 687"/>
                <a:gd name="T52" fmla="*/ 1 w 123"/>
                <a:gd name="T53" fmla="*/ 7 h 687"/>
                <a:gd name="T54" fmla="*/ 1 w 123"/>
                <a:gd name="T55" fmla="*/ 7 h 687"/>
                <a:gd name="T56" fmla="*/ 1 w 123"/>
                <a:gd name="T57" fmla="*/ 7 h 687"/>
                <a:gd name="T58" fmla="*/ 1 w 123"/>
                <a:gd name="T59" fmla="*/ 6 h 687"/>
                <a:gd name="T60" fmla="*/ 1 w 123"/>
                <a:gd name="T61" fmla="*/ 6 h 687"/>
                <a:gd name="T62" fmla="*/ 0 w 123"/>
                <a:gd name="T63" fmla="*/ 6 h 687"/>
                <a:gd name="T64" fmla="*/ 1 w 123"/>
                <a:gd name="T65" fmla="*/ 6 h 687"/>
                <a:gd name="T66" fmla="*/ 1 w 123"/>
                <a:gd name="T67" fmla="*/ 6 h 687"/>
                <a:gd name="T68" fmla="*/ 1 w 123"/>
                <a:gd name="T69" fmla="*/ 5 h 687"/>
                <a:gd name="T70" fmla="*/ 0 w 123"/>
                <a:gd name="T71" fmla="*/ 5 h 687"/>
                <a:gd name="T72" fmla="*/ 1 w 123"/>
                <a:gd name="T73" fmla="*/ 5 h 687"/>
                <a:gd name="T74" fmla="*/ 1 w 123"/>
                <a:gd name="T75" fmla="*/ 5 h 687"/>
                <a:gd name="T76" fmla="*/ 1 w 123"/>
                <a:gd name="T77" fmla="*/ 5 h 687"/>
                <a:gd name="T78" fmla="*/ 1 w 123"/>
                <a:gd name="T79" fmla="*/ 5 h 687"/>
                <a:gd name="T80" fmla="*/ 1 w 123"/>
                <a:gd name="T81" fmla="*/ 4 h 687"/>
                <a:gd name="T82" fmla="*/ 1 w 123"/>
                <a:gd name="T83" fmla="*/ 4 h 687"/>
                <a:gd name="T84" fmla="*/ 1 w 123"/>
                <a:gd name="T85" fmla="*/ 4 h 687"/>
                <a:gd name="T86" fmla="*/ 1 w 123"/>
                <a:gd name="T87" fmla="*/ 4 h 687"/>
                <a:gd name="T88" fmla="*/ 1 w 123"/>
                <a:gd name="T89" fmla="*/ 4 h 687"/>
                <a:gd name="T90" fmla="*/ 2 w 123"/>
                <a:gd name="T91" fmla="*/ 3 h 687"/>
                <a:gd name="T92" fmla="*/ 2 w 123"/>
                <a:gd name="T93" fmla="*/ 2 h 687"/>
                <a:gd name="T94" fmla="*/ 2 w 123"/>
                <a:gd name="T95" fmla="*/ 2 h 687"/>
                <a:gd name="T96" fmla="*/ 2 w 123"/>
                <a:gd name="T97" fmla="*/ 1 h 68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23"/>
                <a:gd name="T148" fmla="*/ 0 h 687"/>
                <a:gd name="T149" fmla="*/ 123 w 123"/>
                <a:gd name="T150" fmla="*/ 687 h 68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23" h="687">
                  <a:moveTo>
                    <a:pt x="73" y="10"/>
                  </a:moveTo>
                  <a:lnTo>
                    <a:pt x="88" y="0"/>
                  </a:lnTo>
                  <a:lnTo>
                    <a:pt x="102" y="26"/>
                  </a:lnTo>
                  <a:lnTo>
                    <a:pt x="99" y="40"/>
                  </a:lnTo>
                  <a:lnTo>
                    <a:pt x="114" y="83"/>
                  </a:lnTo>
                  <a:lnTo>
                    <a:pt x="123" y="83"/>
                  </a:lnTo>
                  <a:lnTo>
                    <a:pt x="121" y="104"/>
                  </a:lnTo>
                  <a:lnTo>
                    <a:pt x="104" y="111"/>
                  </a:lnTo>
                  <a:lnTo>
                    <a:pt x="107" y="147"/>
                  </a:lnTo>
                  <a:lnTo>
                    <a:pt x="88" y="172"/>
                  </a:lnTo>
                  <a:lnTo>
                    <a:pt x="76" y="224"/>
                  </a:lnTo>
                  <a:lnTo>
                    <a:pt x="85" y="269"/>
                  </a:lnTo>
                  <a:lnTo>
                    <a:pt x="73" y="295"/>
                  </a:lnTo>
                  <a:lnTo>
                    <a:pt x="76" y="309"/>
                  </a:lnTo>
                  <a:lnTo>
                    <a:pt x="66" y="324"/>
                  </a:lnTo>
                  <a:lnTo>
                    <a:pt x="66" y="357"/>
                  </a:lnTo>
                  <a:lnTo>
                    <a:pt x="57" y="383"/>
                  </a:lnTo>
                  <a:lnTo>
                    <a:pt x="57" y="420"/>
                  </a:lnTo>
                  <a:lnTo>
                    <a:pt x="52" y="435"/>
                  </a:lnTo>
                  <a:lnTo>
                    <a:pt x="55" y="472"/>
                  </a:lnTo>
                  <a:lnTo>
                    <a:pt x="59" y="472"/>
                  </a:lnTo>
                  <a:lnTo>
                    <a:pt x="62" y="480"/>
                  </a:lnTo>
                  <a:lnTo>
                    <a:pt x="57" y="480"/>
                  </a:lnTo>
                  <a:lnTo>
                    <a:pt x="59" y="487"/>
                  </a:lnTo>
                  <a:lnTo>
                    <a:pt x="57" y="520"/>
                  </a:lnTo>
                  <a:lnTo>
                    <a:pt x="47" y="543"/>
                  </a:lnTo>
                  <a:lnTo>
                    <a:pt x="47" y="555"/>
                  </a:lnTo>
                  <a:lnTo>
                    <a:pt x="33" y="591"/>
                  </a:lnTo>
                  <a:lnTo>
                    <a:pt x="31" y="605"/>
                  </a:lnTo>
                  <a:lnTo>
                    <a:pt x="33" y="612"/>
                  </a:lnTo>
                  <a:lnTo>
                    <a:pt x="47" y="609"/>
                  </a:lnTo>
                  <a:lnTo>
                    <a:pt x="47" y="633"/>
                  </a:lnTo>
                  <a:lnTo>
                    <a:pt x="55" y="643"/>
                  </a:lnTo>
                  <a:lnTo>
                    <a:pt x="85" y="643"/>
                  </a:lnTo>
                  <a:lnTo>
                    <a:pt x="104" y="647"/>
                  </a:lnTo>
                  <a:lnTo>
                    <a:pt x="104" y="650"/>
                  </a:lnTo>
                  <a:lnTo>
                    <a:pt x="90" y="647"/>
                  </a:lnTo>
                  <a:lnTo>
                    <a:pt x="90" y="654"/>
                  </a:lnTo>
                  <a:lnTo>
                    <a:pt x="71" y="659"/>
                  </a:lnTo>
                  <a:lnTo>
                    <a:pt x="69" y="685"/>
                  </a:lnTo>
                  <a:lnTo>
                    <a:pt x="64" y="687"/>
                  </a:lnTo>
                  <a:lnTo>
                    <a:pt x="50" y="676"/>
                  </a:lnTo>
                  <a:lnTo>
                    <a:pt x="62" y="671"/>
                  </a:lnTo>
                  <a:lnTo>
                    <a:pt x="66" y="661"/>
                  </a:lnTo>
                  <a:lnTo>
                    <a:pt x="59" y="659"/>
                  </a:lnTo>
                  <a:lnTo>
                    <a:pt x="45" y="676"/>
                  </a:lnTo>
                  <a:lnTo>
                    <a:pt x="31" y="664"/>
                  </a:lnTo>
                  <a:lnTo>
                    <a:pt x="31" y="657"/>
                  </a:lnTo>
                  <a:lnTo>
                    <a:pt x="24" y="657"/>
                  </a:lnTo>
                  <a:lnTo>
                    <a:pt x="19" y="645"/>
                  </a:lnTo>
                  <a:lnTo>
                    <a:pt x="14" y="652"/>
                  </a:lnTo>
                  <a:lnTo>
                    <a:pt x="7" y="647"/>
                  </a:lnTo>
                  <a:lnTo>
                    <a:pt x="7" y="635"/>
                  </a:lnTo>
                  <a:lnTo>
                    <a:pt x="19" y="638"/>
                  </a:lnTo>
                  <a:lnTo>
                    <a:pt x="19" y="628"/>
                  </a:lnTo>
                  <a:lnTo>
                    <a:pt x="19" y="619"/>
                  </a:lnTo>
                  <a:lnTo>
                    <a:pt x="14" y="626"/>
                  </a:lnTo>
                  <a:lnTo>
                    <a:pt x="3" y="631"/>
                  </a:lnTo>
                  <a:lnTo>
                    <a:pt x="10" y="609"/>
                  </a:lnTo>
                  <a:lnTo>
                    <a:pt x="14" y="612"/>
                  </a:lnTo>
                  <a:lnTo>
                    <a:pt x="14" y="595"/>
                  </a:lnTo>
                  <a:lnTo>
                    <a:pt x="3" y="612"/>
                  </a:lnTo>
                  <a:lnTo>
                    <a:pt x="7" y="593"/>
                  </a:lnTo>
                  <a:lnTo>
                    <a:pt x="0" y="591"/>
                  </a:lnTo>
                  <a:lnTo>
                    <a:pt x="0" y="576"/>
                  </a:lnTo>
                  <a:lnTo>
                    <a:pt x="3" y="546"/>
                  </a:lnTo>
                  <a:lnTo>
                    <a:pt x="10" y="543"/>
                  </a:lnTo>
                  <a:lnTo>
                    <a:pt x="14" y="557"/>
                  </a:lnTo>
                  <a:lnTo>
                    <a:pt x="24" y="524"/>
                  </a:lnTo>
                  <a:lnTo>
                    <a:pt x="7" y="520"/>
                  </a:lnTo>
                  <a:lnTo>
                    <a:pt x="0" y="524"/>
                  </a:lnTo>
                  <a:lnTo>
                    <a:pt x="0" y="517"/>
                  </a:lnTo>
                  <a:lnTo>
                    <a:pt x="12" y="510"/>
                  </a:lnTo>
                  <a:lnTo>
                    <a:pt x="7" y="503"/>
                  </a:lnTo>
                  <a:lnTo>
                    <a:pt x="14" y="501"/>
                  </a:lnTo>
                  <a:lnTo>
                    <a:pt x="14" y="475"/>
                  </a:lnTo>
                  <a:lnTo>
                    <a:pt x="26" y="461"/>
                  </a:lnTo>
                  <a:lnTo>
                    <a:pt x="31" y="468"/>
                  </a:lnTo>
                  <a:lnTo>
                    <a:pt x="26" y="484"/>
                  </a:lnTo>
                  <a:lnTo>
                    <a:pt x="29" y="496"/>
                  </a:lnTo>
                  <a:lnTo>
                    <a:pt x="45" y="425"/>
                  </a:lnTo>
                  <a:lnTo>
                    <a:pt x="43" y="423"/>
                  </a:lnTo>
                  <a:lnTo>
                    <a:pt x="45" y="416"/>
                  </a:lnTo>
                  <a:lnTo>
                    <a:pt x="38" y="413"/>
                  </a:lnTo>
                  <a:lnTo>
                    <a:pt x="36" y="420"/>
                  </a:lnTo>
                  <a:lnTo>
                    <a:pt x="26" y="411"/>
                  </a:lnTo>
                  <a:lnTo>
                    <a:pt x="29" y="383"/>
                  </a:lnTo>
                  <a:lnTo>
                    <a:pt x="33" y="373"/>
                  </a:lnTo>
                  <a:lnTo>
                    <a:pt x="29" y="340"/>
                  </a:lnTo>
                  <a:lnTo>
                    <a:pt x="31" y="331"/>
                  </a:lnTo>
                  <a:lnTo>
                    <a:pt x="36" y="331"/>
                  </a:lnTo>
                  <a:lnTo>
                    <a:pt x="62" y="246"/>
                  </a:lnTo>
                  <a:lnTo>
                    <a:pt x="57" y="215"/>
                  </a:lnTo>
                  <a:lnTo>
                    <a:pt x="64" y="203"/>
                  </a:lnTo>
                  <a:lnTo>
                    <a:pt x="59" y="184"/>
                  </a:lnTo>
                  <a:lnTo>
                    <a:pt x="73" y="139"/>
                  </a:lnTo>
                  <a:lnTo>
                    <a:pt x="76" y="85"/>
                  </a:lnTo>
                  <a:lnTo>
                    <a:pt x="81" y="61"/>
                  </a:lnTo>
                  <a:lnTo>
                    <a:pt x="73" y="10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3" name="Freeform 41"/>
            <p:cNvSpPr>
              <a:spLocks/>
            </p:cNvSpPr>
            <p:nvPr/>
          </p:nvSpPr>
          <p:spPr bwMode="auto">
            <a:xfrm>
              <a:off x="4640" y="2902"/>
              <a:ext cx="277" cy="119"/>
            </a:xfrm>
            <a:custGeom>
              <a:avLst/>
              <a:gdLst>
                <a:gd name="T0" fmla="*/ 8 w 467"/>
                <a:gd name="T1" fmla="*/ 1 h 229"/>
                <a:gd name="T2" fmla="*/ 7 w 467"/>
                <a:gd name="T3" fmla="*/ 1 h 229"/>
                <a:gd name="T4" fmla="*/ 6 w 467"/>
                <a:gd name="T5" fmla="*/ 1 h 229"/>
                <a:gd name="T6" fmla="*/ 6 w 467"/>
                <a:gd name="T7" fmla="*/ 1 h 229"/>
                <a:gd name="T8" fmla="*/ 5 w 467"/>
                <a:gd name="T9" fmla="*/ 1 h 229"/>
                <a:gd name="T10" fmla="*/ 4 w 467"/>
                <a:gd name="T11" fmla="*/ 0 h 229"/>
                <a:gd name="T12" fmla="*/ 4 w 467"/>
                <a:gd name="T13" fmla="*/ 1 h 229"/>
                <a:gd name="T14" fmla="*/ 4 w 467"/>
                <a:gd name="T15" fmla="*/ 1 h 229"/>
                <a:gd name="T16" fmla="*/ 4 w 467"/>
                <a:gd name="T17" fmla="*/ 1 h 229"/>
                <a:gd name="T18" fmla="*/ 3 w 467"/>
                <a:gd name="T19" fmla="*/ 1 h 229"/>
                <a:gd name="T20" fmla="*/ 2 w 467"/>
                <a:gd name="T21" fmla="*/ 1 h 229"/>
                <a:gd name="T22" fmla="*/ 1 w 467"/>
                <a:gd name="T23" fmla="*/ 1 h 229"/>
                <a:gd name="T24" fmla="*/ 1 w 467"/>
                <a:gd name="T25" fmla="*/ 1 h 229"/>
                <a:gd name="T26" fmla="*/ 0 w 467"/>
                <a:gd name="T27" fmla="*/ 1 h 229"/>
                <a:gd name="T28" fmla="*/ 1 w 467"/>
                <a:gd name="T29" fmla="*/ 1 h 229"/>
                <a:gd name="T30" fmla="*/ 1 w 467"/>
                <a:gd name="T31" fmla="*/ 1 h 229"/>
                <a:gd name="T32" fmla="*/ 1 w 467"/>
                <a:gd name="T33" fmla="*/ 2 h 229"/>
                <a:gd name="T34" fmla="*/ 1 w 467"/>
                <a:gd name="T35" fmla="*/ 2 h 229"/>
                <a:gd name="T36" fmla="*/ 3 w 467"/>
                <a:gd name="T37" fmla="*/ 2 h 229"/>
                <a:gd name="T38" fmla="*/ 4 w 467"/>
                <a:gd name="T39" fmla="*/ 2 h 229"/>
                <a:gd name="T40" fmla="*/ 5 w 467"/>
                <a:gd name="T41" fmla="*/ 2 h 229"/>
                <a:gd name="T42" fmla="*/ 5 w 467"/>
                <a:gd name="T43" fmla="*/ 2 h 229"/>
                <a:gd name="T44" fmla="*/ 7 w 467"/>
                <a:gd name="T45" fmla="*/ 3 h 229"/>
                <a:gd name="T46" fmla="*/ 8 w 467"/>
                <a:gd name="T47" fmla="*/ 2 h 229"/>
                <a:gd name="T48" fmla="*/ 8 w 467"/>
                <a:gd name="T49" fmla="*/ 2 h 229"/>
                <a:gd name="T50" fmla="*/ 8 w 467"/>
                <a:gd name="T51" fmla="*/ 2 h 229"/>
                <a:gd name="T52" fmla="*/ 9 w 467"/>
                <a:gd name="T53" fmla="*/ 2 h 229"/>
                <a:gd name="T54" fmla="*/ 9 w 467"/>
                <a:gd name="T55" fmla="*/ 2 h 229"/>
                <a:gd name="T56" fmla="*/ 9 w 467"/>
                <a:gd name="T57" fmla="*/ 2 h 229"/>
                <a:gd name="T58" fmla="*/ 10 w 467"/>
                <a:gd name="T59" fmla="*/ 2 h 229"/>
                <a:gd name="T60" fmla="*/ 11 w 467"/>
                <a:gd name="T61" fmla="*/ 2 h 229"/>
                <a:gd name="T62" fmla="*/ 11 w 467"/>
                <a:gd name="T63" fmla="*/ 2 h 229"/>
                <a:gd name="T64" fmla="*/ 12 w 467"/>
                <a:gd name="T65" fmla="*/ 2 h 229"/>
                <a:gd name="T66" fmla="*/ 12 w 467"/>
                <a:gd name="T67" fmla="*/ 1 h 229"/>
                <a:gd name="T68" fmla="*/ 12 w 467"/>
                <a:gd name="T69" fmla="*/ 1 h 229"/>
                <a:gd name="T70" fmla="*/ 11 w 467"/>
                <a:gd name="T71" fmla="*/ 1 h 229"/>
                <a:gd name="T72" fmla="*/ 11 w 467"/>
                <a:gd name="T73" fmla="*/ 1 h 229"/>
                <a:gd name="T74" fmla="*/ 11 w 467"/>
                <a:gd name="T75" fmla="*/ 1 h 229"/>
                <a:gd name="T76" fmla="*/ 11 w 467"/>
                <a:gd name="T77" fmla="*/ 1 h 229"/>
                <a:gd name="T78" fmla="*/ 10 w 467"/>
                <a:gd name="T79" fmla="*/ 1 h 229"/>
                <a:gd name="T80" fmla="*/ 9 w 467"/>
                <a:gd name="T81" fmla="*/ 1 h 229"/>
                <a:gd name="T82" fmla="*/ 9 w 467"/>
                <a:gd name="T83" fmla="*/ 1 h 229"/>
                <a:gd name="T84" fmla="*/ 8 w 467"/>
                <a:gd name="T85" fmla="*/ 1 h 2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67"/>
                <a:gd name="T130" fmla="*/ 0 h 229"/>
                <a:gd name="T131" fmla="*/ 467 w 467"/>
                <a:gd name="T132" fmla="*/ 229 h 22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67" h="229">
                  <a:moveTo>
                    <a:pt x="309" y="64"/>
                  </a:moveTo>
                  <a:lnTo>
                    <a:pt x="257" y="36"/>
                  </a:lnTo>
                  <a:lnTo>
                    <a:pt x="234" y="45"/>
                  </a:lnTo>
                  <a:lnTo>
                    <a:pt x="224" y="40"/>
                  </a:lnTo>
                  <a:lnTo>
                    <a:pt x="210" y="14"/>
                  </a:lnTo>
                  <a:lnTo>
                    <a:pt x="170" y="0"/>
                  </a:lnTo>
                  <a:lnTo>
                    <a:pt x="149" y="17"/>
                  </a:lnTo>
                  <a:lnTo>
                    <a:pt x="153" y="36"/>
                  </a:lnTo>
                  <a:lnTo>
                    <a:pt x="149" y="50"/>
                  </a:lnTo>
                  <a:lnTo>
                    <a:pt x="108" y="52"/>
                  </a:lnTo>
                  <a:lnTo>
                    <a:pt x="94" y="40"/>
                  </a:lnTo>
                  <a:lnTo>
                    <a:pt x="59" y="36"/>
                  </a:lnTo>
                  <a:lnTo>
                    <a:pt x="7" y="64"/>
                  </a:lnTo>
                  <a:lnTo>
                    <a:pt x="0" y="73"/>
                  </a:lnTo>
                  <a:lnTo>
                    <a:pt x="14" y="97"/>
                  </a:lnTo>
                  <a:lnTo>
                    <a:pt x="33" y="102"/>
                  </a:lnTo>
                  <a:lnTo>
                    <a:pt x="42" y="121"/>
                  </a:lnTo>
                  <a:lnTo>
                    <a:pt x="42" y="154"/>
                  </a:lnTo>
                  <a:lnTo>
                    <a:pt x="106" y="173"/>
                  </a:lnTo>
                  <a:lnTo>
                    <a:pt x="134" y="206"/>
                  </a:lnTo>
                  <a:lnTo>
                    <a:pt x="191" y="206"/>
                  </a:lnTo>
                  <a:lnTo>
                    <a:pt x="217" y="220"/>
                  </a:lnTo>
                  <a:lnTo>
                    <a:pt x="255" y="229"/>
                  </a:lnTo>
                  <a:lnTo>
                    <a:pt x="295" y="213"/>
                  </a:lnTo>
                  <a:lnTo>
                    <a:pt x="326" y="213"/>
                  </a:lnTo>
                  <a:lnTo>
                    <a:pt x="330" y="210"/>
                  </a:lnTo>
                  <a:lnTo>
                    <a:pt x="359" y="187"/>
                  </a:lnTo>
                  <a:lnTo>
                    <a:pt x="352" y="170"/>
                  </a:lnTo>
                  <a:lnTo>
                    <a:pt x="366" y="158"/>
                  </a:lnTo>
                  <a:lnTo>
                    <a:pt x="382" y="165"/>
                  </a:lnTo>
                  <a:lnTo>
                    <a:pt x="413" y="147"/>
                  </a:lnTo>
                  <a:lnTo>
                    <a:pt x="432" y="125"/>
                  </a:lnTo>
                  <a:lnTo>
                    <a:pt x="467" y="125"/>
                  </a:lnTo>
                  <a:lnTo>
                    <a:pt x="465" y="109"/>
                  </a:lnTo>
                  <a:lnTo>
                    <a:pt x="456" y="97"/>
                  </a:lnTo>
                  <a:lnTo>
                    <a:pt x="432" y="106"/>
                  </a:lnTo>
                  <a:lnTo>
                    <a:pt x="416" y="104"/>
                  </a:lnTo>
                  <a:lnTo>
                    <a:pt x="416" y="66"/>
                  </a:lnTo>
                  <a:lnTo>
                    <a:pt x="425" y="52"/>
                  </a:lnTo>
                  <a:lnTo>
                    <a:pt x="397" y="45"/>
                  </a:lnTo>
                  <a:lnTo>
                    <a:pt x="375" y="62"/>
                  </a:lnTo>
                  <a:lnTo>
                    <a:pt x="342" y="69"/>
                  </a:lnTo>
                  <a:lnTo>
                    <a:pt x="309" y="64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4" name="Freeform 42"/>
            <p:cNvSpPr>
              <a:spLocks/>
            </p:cNvSpPr>
            <p:nvPr/>
          </p:nvSpPr>
          <p:spPr bwMode="auto">
            <a:xfrm>
              <a:off x="4045" y="2605"/>
              <a:ext cx="97" cy="187"/>
            </a:xfrm>
            <a:custGeom>
              <a:avLst/>
              <a:gdLst>
                <a:gd name="T0" fmla="*/ 4 w 163"/>
                <a:gd name="T1" fmla="*/ 1 h 359"/>
                <a:gd name="T2" fmla="*/ 3 w 163"/>
                <a:gd name="T3" fmla="*/ 1 h 359"/>
                <a:gd name="T4" fmla="*/ 4 w 163"/>
                <a:gd name="T5" fmla="*/ 1 h 359"/>
                <a:gd name="T6" fmla="*/ 4 w 163"/>
                <a:gd name="T7" fmla="*/ 2 h 359"/>
                <a:gd name="T8" fmla="*/ 4 w 163"/>
                <a:gd name="T9" fmla="*/ 2 h 359"/>
                <a:gd name="T10" fmla="*/ 4 w 163"/>
                <a:gd name="T11" fmla="*/ 2 h 359"/>
                <a:gd name="T12" fmla="*/ 4 w 163"/>
                <a:gd name="T13" fmla="*/ 2 h 359"/>
                <a:gd name="T14" fmla="*/ 4 w 163"/>
                <a:gd name="T15" fmla="*/ 3 h 359"/>
                <a:gd name="T16" fmla="*/ 4 w 163"/>
                <a:gd name="T17" fmla="*/ 3 h 359"/>
                <a:gd name="T18" fmla="*/ 4 w 163"/>
                <a:gd name="T19" fmla="*/ 3 h 359"/>
                <a:gd name="T20" fmla="*/ 4 w 163"/>
                <a:gd name="T21" fmla="*/ 3 h 359"/>
                <a:gd name="T22" fmla="*/ 3 w 163"/>
                <a:gd name="T23" fmla="*/ 4 h 359"/>
                <a:gd name="T24" fmla="*/ 2 w 163"/>
                <a:gd name="T25" fmla="*/ 4 h 359"/>
                <a:gd name="T26" fmla="*/ 1 w 163"/>
                <a:gd name="T27" fmla="*/ 4 h 359"/>
                <a:gd name="T28" fmla="*/ 1 w 163"/>
                <a:gd name="T29" fmla="*/ 4 h 359"/>
                <a:gd name="T30" fmla="*/ 1 w 163"/>
                <a:gd name="T31" fmla="*/ 3 h 359"/>
                <a:gd name="T32" fmla="*/ 1 w 163"/>
                <a:gd name="T33" fmla="*/ 3 h 359"/>
                <a:gd name="T34" fmla="*/ 1 w 163"/>
                <a:gd name="T35" fmla="*/ 3 h 359"/>
                <a:gd name="T36" fmla="*/ 1 w 163"/>
                <a:gd name="T37" fmla="*/ 2 h 359"/>
                <a:gd name="T38" fmla="*/ 2 w 163"/>
                <a:gd name="T39" fmla="*/ 2 h 359"/>
                <a:gd name="T40" fmla="*/ 2 w 163"/>
                <a:gd name="T41" fmla="*/ 2 h 359"/>
                <a:gd name="T42" fmla="*/ 1 w 163"/>
                <a:gd name="T43" fmla="*/ 2 h 359"/>
                <a:gd name="T44" fmla="*/ 1 w 163"/>
                <a:gd name="T45" fmla="*/ 2 h 359"/>
                <a:gd name="T46" fmla="*/ 1 w 163"/>
                <a:gd name="T47" fmla="*/ 2 h 359"/>
                <a:gd name="T48" fmla="*/ 1 w 163"/>
                <a:gd name="T49" fmla="*/ 1 h 359"/>
                <a:gd name="T50" fmla="*/ 0 w 163"/>
                <a:gd name="T51" fmla="*/ 1 h 359"/>
                <a:gd name="T52" fmla="*/ 1 w 163"/>
                <a:gd name="T53" fmla="*/ 1 h 359"/>
                <a:gd name="T54" fmla="*/ 1 w 163"/>
                <a:gd name="T55" fmla="*/ 1 h 359"/>
                <a:gd name="T56" fmla="*/ 1 w 163"/>
                <a:gd name="T57" fmla="*/ 1 h 359"/>
                <a:gd name="T58" fmla="*/ 1 w 163"/>
                <a:gd name="T59" fmla="*/ 1 h 359"/>
                <a:gd name="T60" fmla="*/ 2 w 163"/>
                <a:gd name="T61" fmla="*/ 1 h 359"/>
                <a:gd name="T62" fmla="*/ 2 w 163"/>
                <a:gd name="T63" fmla="*/ 1 h 359"/>
                <a:gd name="T64" fmla="*/ 2 w 163"/>
                <a:gd name="T65" fmla="*/ 1 h 359"/>
                <a:gd name="T66" fmla="*/ 3 w 163"/>
                <a:gd name="T67" fmla="*/ 0 h 359"/>
                <a:gd name="T68" fmla="*/ 4 w 163"/>
                <a:gd name="T69" fmla="*/ 1 h 359"/>
                <a:gd name="T70" fmla="*/ 4 w 163"/>
                <a:gd name="T71" fmla="*/ 1 h 35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63"/>
                <a:gd name="T109" fmla="*/ 0 h 359"/>
                <a:gd name="T110" fmla="*/ 163 w 163"/>
                <a:gd name="T111" fmla="*/ 359 h 35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63" h="359">
                  <a:moveTo>
                    <a:pt x="127" y="42"/>
                  </a:moveTo>
                  <a:lnTo>
                    <a:pt x="120" y="75"/>
                  </a:lnTo>
                  <a:lnTo>
                    <a:pt x="142" y="94"/>
                  </a:lnTo>
                  <a:lnTo>
                    <a:pt x="132" y="123"/>
                  </a:lnTo>
                  <a:lnTo>
                    <a:pt x="142" y="165"/>
                  </a:lnTo>
                  <a:lnTo>
                    <a:pt x="137" y="198"/>
                  </a:lnTo>
                  <a:lnTo>
                    <a:pt x="151" y="222"/>
                  </a:lnTo>
                  <a:lnTo>
                    <a:pt x="146" y="241"/>
                  </a:lnTo>
                  <a:lnTo>
                    <a:pt x="163" y="264"/>
                  </a:lnTo>
                  <a:lnTo>
                    <a:pt x="163" y="274"/>
                  </a:lnTo>
                  <a:lnTo>
                    <a:pt x="134" y="314"/>
                  </a:lnTo>
                  <a:lnTo>
                    <a:pt x="106" y="340"/>
                  </a:lnTo>
                  <a:lnTo>
                    <a:pt x="99" y="340"/>
                  </a:lnTo>
                  <a:lnTo>
                    <a:pt x="45" y="359"/>
                  </a:lnTo>
                  <a:lnTo>
                    <a:pt x="12" y="340"/>
                  </a:lnTo>
                  <a:lnTo>
                    <a:pt x="16" y="312"/>
                  </a:lnTo>
                  <a:lnTo>
                    <a:pt x="9" y="281"/>
                  </a:lnTo>
                  <a:lnTo>
                    <a:pt x="16" y="264"/>
                  </a:lnTo>
                  <a:lnTo>
                    <a:pt x="61" y="203"/>
                  </a:lnTo>
                  <a:lnTo>
                    <a:pt x="71" y="198"/>
                  </a:lnTo>
                  <a:lnTo>
                    <a:pt x="71" y="179"/>
                  </a:lnTo>
                  <a:lnTo>
                    <a:pt x="59" y="168"/>
                  </a:lnTo>
                  <a:lnTo>
                    <a:pt x="52" y="165"/>
                  </a:lnTo>
                  <a:lnTo>
                    <a:pt x="52" y="163"/>
                  </a:lnTo>
                  <a:lnTo>
                    <a:pt x="42" y="80"/>
                  </a:lnTo>
                  <a:lnTo>
                    <a:pt x="0" y="42"/>
                  </a:lnTo>
                  <a:lnTo>
                    <a:pt x="12" y="31"/>
                  </a:lnTo>
                  <a:lnTo>
                    <a:pt x="33" y="54"/>
                  </a:lnTo>
                  <a:lnTo>
                    <a:pt x="40" y="57"/>
                  </a:lnTo>
                  <a:lnTo>
                    <a:pt x="52" y="50"/>
                  </a:lnTo>
                  <a:lnTo>
                    <a:pt x="66" y="57"/>
                  </a:lnTo>
                  <a:lnTo>
                    <a:pt x="78" y="45"/>
                  </a:lnTo>
                  <a:lnTo>
                    <a:pt x="85" y="7"/>
                  </a:lnTo>
                  <a:lnTo>
                    <a:pt x="108" y="0"/>
                  </a:lnTo>
                  <a:lnTo>
                    <a:pt x="130" y="14"/>
                  </a:lnTo>
                  <a:lnTo>
                    <a:pt x="127" y="42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5" name="Freeform 43"/>
            <p:cNvSpPr>
              <a:spLocks/>
            </p:cNvSpPr>
            <p:nvPr/>
          </p:nvSpPr>
          <p:spPr bwMode="auto">
            <a:xfrm>
              <a:off x="2381" y="2574"/>
              <a:ext cx="335" cy="299"/>
            </a:xfrm>
            <a:custGeom>
              <a:avLst/>
              <a:gdLst>
                <a:gd name="T0" fmla="*/ 14 w 565"/>
                <a:gd name="T1" fmla="*/ 5 h 574"/>
                <a:gd name="T2" fmla="*/ 13 w 565"/>
                <a:gd name="T3" fmla="*/ 5 h 574"/>
                <a:gd name="T4" fmla="*/ 12 w 565"/>
                <a:gd name="T5" fmla="*/ 4 h 574"/>
                <a:gd name="T6" fmla="*/ 12 w 565"/>
                <a:gd name="T7" fmla="*/ 5 h 574"/>
                <a:gd name="T8" fmla="*/ 11 w 565"/>
                <a:gd name="T9" fmla="*/ 4 h 574"/>
                <a:gd name="T10" fmla="*/ 11 w 565"/>
                <a:gd name="T11" fmla="*/ 4 h 574"/>
                <a:gd name="T12" fmla="*/ 11 w 565"/>
                <a:gd name="T13" fmla="*/ 1 h 574"/>
                <a:gd name="T14" fmla="*/ 9 w 565"/>
                <a:gd name="T15" fmla="*/ 1 h 574"/>
                <a:gd name="T16" fmla="*/ 8 w 565"/>
                <a:gd name="T17" fmla="*/ 1 h 574"/>
                <a:gd name="T18" fmla="*/ 7 w 565"/>
                <a:gd name="T19" fmla="*/ 1 h 574"/>
                <a:gd name="T20" fmla="*/ 5 w 565"/>
                <a:gd name="T21" fmla="*/ 1 h 574"/>
                <a:gd name="T22" fmla="*/ 4 w 565"/>
                <a:gd name="T23" fmla="*/ 0 h 574"/>
                <a:gd name="T24" fmla="*/ 3 w 565"/>
                <a:gd name="T25" fmla="*/ 1 h 574"/>
                <a:gd name="T26" fmla="*/ 2 w 565"/>
                <a:gd name="T27" fmla="*/ 1 h 574"/>
                <a:gd name="T28" fmla="*/ 2 w 565"/>
                <a:gd name="T29" fmla="*/ 1 h 574"/>
                <a:gd name="T30" fmla="*/ 1 w 565"/>
                <a:gd name="T31" fmla="*/ 2 h 574"/>
                <a:gd name="T32" fmla="*/ 2 w 565"/>
                <a:gd name="T33" fmla="*/ 2 h 574"/>
                <a:gd name="T34" fmla="*/ 2 w 565"/>
                <a:gd name="T35" fmla="*/ 2 h 574"/>
                <a:gd name="T36" fmla="*/ 1 w 565"/>
                <a:gd name="T37" fmla="*/ 2 h 574"/>
                <a:gd name="T38" fmla="*/ 1 w 565"/>
                <a:gd name="T39" fmla="*/ 2 h 574"/>
                <a:gd name="T40" fmla="*/ 1 w 565"/>
                <a:gd name="T41" fmla="*/ 3 h 574"/>
                <a:gd name="T42" fmla="*/ 1 w 565"/>
                <a:gd name="T43" fmla="*/ 3 h 574"/>
                <a:gd name="T44" fmla="*/ 2 w 565"/>
                <a:gd name="T45" fmla="*/ 3 h 574"/>
                <a:gd name="T46" fmla="*/ 2 w 565"/>
                <a:gd name="T47" fmla="*/ 3 h 574"/>
                <a:gd name="T48" fmla="*/ 3 w 565"/>
                <a:gd name="T49" fmla="*/ 3 h 574"/>
                <a:gd name="T50" fmla="*/ 2 w 565"/>
                <a:gd name="T51" fmla="*/ 3 h 574"/>
                <a:gd name="T52" fmla="*/ 1 w 565"/>
                <a:gd name="T53" fmla="*/ 3 h 574"/>
                <a:gd name="T54" fmla="*/ 1 w 565"/>
                <a:gd name="T55" fmla="*/ 4 h 574"/>
                <a:gd name="T56" fmla="*/ 2 w 565"/>
                <a:gd name="T57" fmla="*/ 4 h 574"/>
                <a:gd name="T58" fmla="*/ 2 w 565"/>
                <a:gd name="T59" fmla="*/ 5 h 574"/>
                <a:gd name="T60" fmla="*/ 2 w 565"/>
                <a:gd name="T61" fmla="*/ 5 h 574"/>
                <a:gd name="T62" fmla="*/ 4 w 565"/>
                <a:gd name="T63" fmla="*/ 5 h 574"/>
                <a:gd name="T64" fmla="*/ 4 w 565"/>
                <a:gd name="T65" fmla="*/ 5 h 574"/>
                <a:gd name="T66" fmla="*/ 4 w 565"/>
                <a:gd name="T67" fmla="*/ 5 h 574"/>
                <a:gd name="T68" fmla="*/ 2 w 565"/>
                <a:gd name="T69" fmla="*/ 6 h 574"/>
                <a:gd name="T70" fmla="*/ 1 w 565"/>
                <a:gd name="T71" fmla="*/ 6 h 574"/>
                <a:gd name="T72" fmla="*/ 2 w 565"/>
                <a:gd name="T73" fmla="*/ 6 h 574"/>
                <a:gd name="T74" fmla="*/ 4 w 565"/>
                <a:gd name="T75" fmla="*/ 5 h 574"/>
                <a:gd name="T76" fmla="*/ 5 w 565"/>
                <a:gd name="T77" fmla="*/ 5 h 574"/>
                <a:gd name="T78" fmla="*/ 5 w 565"/>
                <a:gd name="T79" fmla="*/ 5 h 574"/>
                <a:gd name="T80" fmla="*/ 6 w 565"/>
                <a:gd name="T81" fmla="*/ 4 h 574"/>
                <a:gd name="T82" fmla="*/ 7 w 565"/>
                <a:gd name="T83" fmla="*/ 4 h 574"/>
                <a:gd name="T84" fmla="*/ 7 w 565"/>
                <a:gd name="T85" fmla="*/ 4 h 574"/>
                <a:gd name="T86" fmla="*/ 7 w 565"/>
                <a:gd name="T87" fmla="*/ 4 h 574"/>
                <a:gd name="T88" fmla="*/ 7 w 565"/>
                <a:gd name="T89" fmla="*/ 5 h 574"/>
                <a:gd name="T90" fmla="*/ 7 w 565"/>
                <a:gd name="T91" fmla="*/ 4 h 574"/>
                <a:gd name="T92" fmla="*/ 8 w 565"/>
                <a:gd name="T93" fmla="*/ 4 h 574"/>
                <a:gd name="T94" fmla="*/ 8 w 565"/>
                <a:gd name="T95" fmla="*/ 4 h 574"/>
                <a:gd name="T96" fmla="*/ 10 w 565"/>
                <a:gd name="T97" fmla="*/ 4 h 574"/>
                <a:gd name="T98" fmla="*/ 11 w 565"/>
                <a:gd name="T99" fmla="*/ 4 h 574"/>
                <a:gd name="T100" fmla="*/ 12 w 565"/>
                <a:gd name="T101" fmla="*/ 5 h 574"/>
                <a:gd name="T102" fmla="*/ 12 w 565"/>
                <a:gd name="T103" fmla="*/ 5 h 574"/>
                <a:gd name="T104" fmla="*/ 12 w 565"/>
                <a:gd name="T105" fmla="*/ 5 h 574"/>
                <a:gd name="T106" fmla="*/ 13 w 565"/>
                <a:gd name="T107" fmla="*/ 5 h 574"/>
                <a:gd name="T108" fmla="*/ 14 w 565"/>
                <a:gd name="T109" fmla="*/ 5 h 574"/>
                <a:gd name="T110" fmla="*/ 13 w 565"/>
                <a:gd name="T111" fmla="*/ 5 h 574"/>
                <a:gd name="T112" fmla="*/ 13 w 565"/>
                <a:gd name="T113" fmla="*/ 5 h 574"/>
                <a:gd name="T114" fmla="*/ 14 w 565"/>
                <a:gd name="T115" fmla="*/ 6 h 574"/>
                <a:gd name="T116" fmla="*/ 14 w 565"/>
                <a:gd name="T117" fmla="*/ 5 h 574"/>
                <a:gd name="T118" fmla="*/ 14 w 565"/>
                <a:gd name="T119" fmla="*/ 6 h 574"/>
                <a:gd name="T120" fmla="*/ 14 w 565"/>
                <a:gd name="T121" fmla="*/ 6 h 574"/>
                <a:gd name="T122" fmla="*/ 15 w 565"/>
                <a:gd name="T123" fmla="*/ 6 h 57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65"/>
                <a:gd name="T187" fmla="*/ 0 h 574"/>
                <a:gd name="T188" fmla="*/ 565 w 565"/>
                <a:gd name="T189" fmla="*/ 574 h 57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65" h="574">
                  <a:moveTo>
                    <a:pt x="565" y="555"/>
                  </a:moveTo>
                  <a:lnTo>
                    <a:pt x="562" y="529"/>
                  </a:lnTo>
                  <a:lnTo>
                    <a:pt x="536" y="512"/>
                  </a:lnTo>
                  <a:lnTo>
                    <a:pt x="508" y="456"/>
                  </a:lnTo>
                  <a:lnTo>
                    <a:pt x="498" y="451"/>
                  </a:lnTo>
                  <a:lnTo>
                    <a:pt x="484" y="425"/>
                  </a:lnTo>
                  <a:lnTo>
                    <a:pt x="470" y="430"/>
                  </a:lnTo>
                  <a:lnTo>
                    <a:pt x="456" y="446"/>
                  </a:lnTo>
                  <a:lnTo>
                    <a:pt x="428" y="418"/>
                  </a:lnTo>
                  <a:lnTo>
                    <a:pt x="428" y="408"/>
                  </a:lnTo>
                  <a:lnTo>
                    <a:pt x="404" y="411"/>
                  </a:lnTo>
                  <a:lnTo>
                    <a:pt x="402" y="404"/>
                  </a:lnTo>
                  <a:lnTo>
                    <a:pt x="402" y="78"/>
                  </a:lnTo>
                  <a:lnTo>
                    <a:pt x="373" y="57"/>
                  </a:lnTo>
                  <a:lnTo>
                    <a:pt x="340" y="61"/>
                  </a:lnTo>
                  <a:lnTo>
                    <a:pt x="324" y="52"/>
                  </a:lnTo>
                  <a:lnTo>
                    <a:pt x="305" y="52"/>
                  </a:lnTo>
                  <a:lnTo>
                    <a:pt x="281" y="40"/>
                  </a:lnTo>
                  <a:lnTo>
                    <a:pt x="243" y="40"/>
                  </a:lnTo>
                  <a:lnTo>
                    <a:pt x="229" y="21"/>
                  </a:lnTo>
                  <a:lnTo>
                    <a:pt x="201" y="21"/>
                  </a:lnTo>
                  <a:lnTo>
                    <a:pt x="196" y="9"/>
                  </a:lnTo>
                  <a:lnTo>
                    <a:pt x="172" y="0"/>
                  </a:lnTo>
                  <a:lnTo>
                    <a:pt x="154" y="21"/>
                  </a:lnTo>
                  <a:lnTo>
                    <a:pt x="132" y="23"/>
                  </a:lnTo>
                  <a:lnTo>
                    <a:pt x="111" y="42"/>
                  </a:lnTo>
                  <a:lnTo>
                    <a:pt x="94" y="45"/>
                  </a:lnTo>
                  <a:lnTo>
                    <a:pt x="78" y="64"/>
                  </a:lnTo>
                  <a:lnTo>
                    <a:pt x="66" y="99"/>
                  </a:lnTo>
                  <a:lnTo>
                    <a:pt x="28" y="111"/>
                  </a:lnTo>
                  <a:lnTo>
                    <a:pt x="26" y="130"/>
                  </a:lnTo>
                  <a:lnTo>
                    <a:pt x="59" y="158"/>
                  </a:lnTo>
                  <a:lnTo>
                    <a:pt x="66" y="177"/>
                  </a:lnTo>
                  <a:lnTo>
                    <a:pt x="92" y="205"/>
                  </a:lnTo>
                  <a:lnTo>
                    <a:pt x="85" y="217"/>
                  </a:lnTo>
                  <a:lnTo>
                    <a:pt x="61" y="217"/>
                  </a:lnTo>
                  <a:lnTo>
                    <a:pt x="61" y="201"/>
                  </a:lnTo>
                  <a:lnTo>
                    <a:pt x="47" y="201"/>
                  </a:lnTo>
                  <a:lnTo>
                    <a:pt x="17" y="220"/>
                  </a:lnTo>
                  <a:lnTo>
                    <a:pt x="0" y="236"/>
                  </a:lnTo>
                  <a:lnTo>
                    <a:pt x="24" y="243"/>
                  </a:lnTo>
                  <a:lnTo>
                    <a:pt x="19" y="257"/>
                  </a:lnTo>
                  <a:lnTo>
                    <a:pt x="24" y="267"/>
                  </a:lnTo>
                  <a:lnTo>
                    <a:pt x="45" y="274"/>
                  </a:lnTo>
                  <a:lnTo>
                    <a:pt x="64" y="271"/>
                  </a:lnTo>
                  <a:lnTo>
                    <a:pt x="78" y="276"/>
                  </a:lnTo>
                  <a:lnTo>
                    <a:pt x="102" y="262"/>
                  </a:lnTo>
                  <a:lnTo>
                    <a:pt x="99" y="276"/>
                  </a:lnTo>
                  <a:lnTo>
                    <a:pt x="106" y="290"/>
                  </a:lnTo>
                  <a:lnTo>
                    <a:pt x="102" y="307"/>
                  </a:lnTo>
                  <a:lnTo>
                    <a:pt x="83" y="309"/>
                  </a:lnTo>
                  <a:lnTo>
                    <a:pt x="73" y="323"/>
                  </a:lnTo>
                  <a:lnTo>
                    <a:pt x="59" y="316"/>
                  </a:lnTo>
                  <a:lnTo>
                    <a:pt x="47" y="323"/>
                  </a:lnTo>
                  <a:lnTo>
                    <a:pt x="28" y="371"/>
                  </a:lnTo>
                  <a:lnTo>
                    <a:pt x="61" y="427"/>
                  </a:lnTo>
                  <a:lnTo>
                    <a:pt x="73" y="427"/>
                  </a:lnTo>
                  <a:lnTo>
                    <a:pt x="85" y="416"/>
                  </a:lnTo>
                  <a:lnTo>
                    <a:pt x="92" y="432"/>
                  </a:lnTo>
                  <a:lnTo>
                    <a:pt x="90" y="442"/>
                  </a:lnTo>
                  <a:lnTo>
                    <a:pt x="94" y="453"/>
                  </a:lnTo>
                  <a:lnTo>
                    <a:pt x="125" y="449"/>
                  </a:lnTo>
                  <a:lnTo>
                    <a:pt x="135" y="465"/>
                  </a:lnTo>
                  <a:lnTo>
                    <a:pt x="137" y="453"/>
                  </a:lnTo>
                  <a:lnTo>
                    <a:pt x="156" y="453"/>
                  </a:lnTo>
                  <a:lnTo>
                    <a:pt x="154" y="470"/>
                  </a:lnTo>
                  <a:lnTo>
                    <a:pt x="154" y="486"/>
                  </a:lnTo>
                  <a:lnTo>
                    <a:pt x="111" y="531"/>
                  </a:lnTo>
                  <a:lnTo>
                    <a:pt x="83" y="538"/>
                  </a:lnTo>
                  <a:lnTo>
                    <a:pt x="73" y="550"/>
                  </a:lnTo>
                  <a:lnTo>
                    <a:pt x="45" y="567"/>
                  </a:lnTo>
                  <a:lnTo>
                    <a:pt x="47" y="574"/>
                  </a:lnTo>
                  <a:lnTo>
                    <a:pt x="97" y="545"/>
                  </a:lnTo>
                  <a:lnTo>
                    <a:pt x="137" y="531"/>
                  </a:lnTo>
                  <a:lnTo>
                    <a:pt x="142" y="519"/>
                  </a:lnTo>
                  <a:lnTo>
                    <a:pt x="168" y="503"/>
                  </a:lnTo>
                  <a:lnTo>
                    <a:pt x="210" y="460"/>
                  </a:lnTo>
                  <a:lnTo>
                    <a:pt x="217" y="449"/>
                  </a:lnTo>
                  <a:lnTo>
                    <a:pt x="206" y="444"/>
                  </a:lnTo>
                  <a:lnTo>
                    <a:pt x="210" y="434"/>
                  </a:lnTo>
                  <a:lnTo>
                    <a:pt x="229" y="416"/>
                  </a:lnTo>
                  <a:lnTo>
                    <a:pt x="234" y="399"/>
                  </a:lnTo>
                  <a:lnTo>
                    <a:pt x="257" y="380"/>
                  </a:lnTo>
                  <a:lnTo>
                    <a:pt x="267" y="380"/>
                  </a:lnTo>
                  <a:lnTo>
                    <a:pt x="260" y="390"/>
                  </a:lnTo>
                  <a:lnTo>
                    <a:pt x="248" y="394"/>
                  </a:lnTo>
                  <a:lnTo>
                    <a:pt x="239" y="427"/>
                  </a:lnTo>
                  <a:lnTo>
                    <a:pt x="246" y="432"/>
                  </a:lnTo>
                  <a:lnTo>
                    <a:pt x="239" y="442"/>
                  </a:lnTo>
                  <a:lnTo>
                    <a:pt x="253" y="439"/>
                  </a:lnTo>
                  <a:lnTo>
                    <a:pt x="274" y="420"/>
                  </a:lnTo>
                  <a:lnTo>
                    <a:pt x="286" y="420"/>
                  </a:lnTo>
                  <a:lnTo>
                    <a:pt x="295" y="406"/>
                  </a:lnTo>
                  <a:lnTo>
                    <a:pt x="291" y="387"/>
                  </a:lnTo>
                  <a:lnTo>
                    <a:pt x="317" y="392"/>
                  </a:lnTo>
                  <a:lnTo>
                    <a:pt x="357" y="418"/>
                  </a:lnTo>
                  <a:lnTo>
                    <a:pt x="385" y="418"/>
                  </a:lnTo>
                  <a:lnTo>
                    <a:pt x="413" y="427"/>
                  </a:lnTo>
                  <a:lnTo>
                    <a:pt x="420" y="420"/>
                  </a:lnTo>
                  <a:lnTo>
                    <a:pt x="423" y="434"/>
                  </a:lnTo>
                  <a:lnTo>
                    <a:pt x="468" y="470"/>
                  </a:lnTo>
                  <a:lnTo>
                    <a:pt x="494" y="527"/>
                  </a:lnTo>
                  <a:lnTo>
                    <a:pt x="489" y="477"/>
                  </a:lnTo>
                  <a:lnTo>
                    <a:pt x="480" y="468"/>
                  </a:lnTo>
                  <a:lnTo>
                    <a:pt x="489" y="468"/>
                  </a:lnTo>
                  <a:lnTo>
                    <a:pt x="489" y="456"/>
                  </a:lnTo>
                  <a:lnTo>
                    <a:pt x="498" y="503"/>
                  </a:lnTo>
                  <a:lnTo>
                    <a:pt x="508" y="486"/>
                  </a:lnTo>
                  <a:lnTo>
                    <a:pt x="520" y="505"/>
                  </a:lnTo>
                  <a:lnTo>
                    <a:pt x="508" y="501"/>
                  </a:lnTo>
                  <a:lnTo>
                    <a:pt x="501" y="510"/>
                  </a:lnTo>
                  <a:lnTo>
                    <a:pt x="503" y="524"/>
                  </a:lnTo>
                  <a:lnTo>
                    <a:pt x="510" y="522"/>
                  </a:lnTo>
                  <a:lnTo>
                    <a:pt x="513" y="541"/>
                  </a:lnTo>
                  <a:lnTo>
                    <a:pt x="534" y="564"/>
                  </a:lnTo>
                  <a:lnTo>
                    <a:pt x="534" y="550"/>
                  </a:lnTo>
                  <a:lnTo>
                    <a:pt x="520" y="524"/>
                  </a:lnTo>
                  <a:lnTo>
                    <a:pt x="536" y="527"/>
                  </a:lnTo>
                  <a:lnTo>
                    <a:pt x="534" y="536"/>
                  </a:lnTo>
                  <a:lnTo>
                    <a:pt x="546" y="557"/>
                  </a:lnTo>
                  <a:lnTo>
                    <a:pt x="555" y="562"/>
                  </a:lnTo>
                  <a:lnTo>
                    <a:pt x="565" y="555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6" name="Freeform 44"/>
            <p:cNvSpPr>
              <a:spLocks/>
            </p:cNvSpPr>
            <p:nvPr/>
          </p:nvSpPr>
          <p:spPr bwMode="auto">
            <a:xfrm>
              <a:off x="2619" y="2501"/>
              <a:ext cx="753" cy="519"/>
            </a:xfrm>
            <a:custGeom>
              <a:avLst/>
              <a:gdLst>
                <a:gd name="T0" fmla="*/ 24 w 1270"/>
                <a:gd name="T1" fmla="*/ 10 h 997"/>
                <a:gd name="T2" fmla="*/ 23 w 1270"/>
                <a:gd name="T3" fmla="*/ 10 h 997"/>
                <a:gd name="T4" fmla="*/ 24 w 1270"/>
                <a:gd name="T5" fmla="*/ 10 h 997"/>
                <a:gd name="T6" fmla="*/ 22 w 1270"/>
                <a:gd name="T7" fmla="*/ 9 h 997"/>
                <a:gd name="T8" fmla="*/ 20 w 1270"/>
                <a:gd name="T9" fmla="*/ 9 h 997"/>
                <a:gd name="T10" fmla="*/ 18 w 1270"/>
                <a:gd name="T11" fmla="*/ 9 h 997"/>
                <a:gd name="T12" fmla="*/ 7 w 1270"/>
                <a:gd name="T13" fmla="*/ 9 h 997"/>
                <a:gd name="T14" fmla="*/ 4 w 1270"/>
                <a:gd name="T15" fmla="*/ 8 h 997"/>
                <a:gd name="T16" fmla="*/ 4 w 1270"/>
                <a:gd name="T17" fmla="*/ 7 h 997"/>
                <a:gd name="T18" fmla="*/ 2 w 1270"/>
                <a:gd name="T19" fmla="*/ 6 h 997"/>
                <a:gd name="T20" fmla="*/ 1 w 1270"/>
                <a:gd name="T21" fmla="*/ 6 h 997"/>
                <a:gd name="T22" fmla="*/ 2 w 1270"/>
                <a:gd name="T23" fmla="*/ 3 h 997"/>
                <a:gd name="T24" fmla="*/ 4 w 1270"/>
                <a:gd name="T25" fmla="*/ 2 h 997"/>
                <a:gd name="T26" fmla="*/ 5 w 1270"/>
                <a:gd name="T27" fmla="*/ 2 h 997"/>
                <a:gd name="T28" fmla="*/ 7 w 1270"/>
                <a:gd name="T29" fmla="*/ 2 h 997"/>
                <a:gd name="T30" fmla="*/ 9 w 1270"/>
                <a:gd name="T31" fmla="*/ 3 h 997"/>
                <a:gd name="T32" fmla="*/ 11 w 1270"/>
                <a:gd name="T33" fmla="*/ 3 h 997"/>
                <a:gd name="T34" fmla="*/ 12 w 1270"/>
                <a:gd name="T35" fmla="*/ 3 h 997"/>
                <a:gd name="T36" fmla="*/ 16 w 1270"/>
                <a:gd name="T37" fmla="*/ 3 h 997"/>
                <a:gd name="T38" fmla="*/ 17 w 1270"/>
                <a:gd name="T39" fmla="*/ 2 h 997"/>
                <a:gd name="T40" fmla="*/ 18 w 1270"/>
                <a:gd name="T41" fmla="*/ 3 h 997"/>
                <a:gd name="T42" fmla="*/ 18 w 1270"/>
                <a:gd name="T43" fmla="*/ 2 h 997"/>
                <a:gd name="T44" fmla="*/ 18 w 1270"/>
                <a:gd name="T45" fmla="*/ 1 h 997"/>
                <a:gd name="T46" fmla="*/ 18 w 1270"/>
                <a:gd name="T47" fmla="*/ 1 h 997"/>
                <a:gd name="T48" fmla="*/ 19 w 1270"/>
                <a:gd name="T49" fmla="*/ 2 h 997"/>
                <a:gd name="T50" fmla="*/ 20 w 1270"/>
                <a:gd name="T51" fmla="*/ 3 h 997"/>
                <a:gd name="T52" fmla="*/ 21 w 1270"/>
                <a:gd name="T53" fmla="*/ 3 h 997"/>
                <a:gd name="T54" fmla="*/ 23 w 1270"/>
                <a:gd name="T55" fmla="*/ 3 h 997"/>
                <a:gd name="T56" fmla="*/ 23 w 1270"/>
                <a:gd name="T57" fmla="*/ 3 h 997"/>
                <a:gd name="T58" fmla="*/ 21 w 1270"/>
                <a:gd name="T59" fmla="*/ 4 h 997"/>
                <a:gd name="T60" fmla="*/ 20 w 1270"/>
                <a:gd name="T61" fmla="*/ 5 h 997"/>
                <a:gd name="T62" fmla="*/ 18 w 1270"/>
                <a:gd name="T63" fmla="*/ 5 h 997"/>
                <a:gd name="T64" fmla="*/ 18 w 1270"/>
                <a:gd name="T65" fmla="*/ 6 h 997"/>
                <a:gd name="T66" fmla="*/ 22 w 1270"/>
                <a:gd name="T67" fmla="*/ 7 h 997"/>
                <a:gd name="T68" fmla="*/ 24 w 1270"/>
                <a:gd name="T69" fmla="*/ 8 h 997"/>
                <a:gd name="T70" fmla="*/ 24 w 1270"/>
                <a:gd name="T71" fmla="*/ 6 h 997"/>
                <a:gd name="T72" fmla="*/ 24 w 1270"/>
                <a:gd name="T73" fmla="*/ 5 h 997"/>
                <a:gd name="T74" fmla="*/ 25 w 1270"/>
                <a:gd name="T75" fmla="*/ 5 h 997"/>
                <a:gd name="T76" fmla="*/ 27 w 1270"/>
                <a:gd name="T77" fmla="*/ 5 h 997"/>
                <a:gd name="T78" fmla="*/ 29 w 1270"/>
                <a:gd name="T79" fmla="*/ 6 h 997"/>
                <a:gd name="T80" fmla="*/ 31 w 1270"/>
                <a:gd name="T81" fmla="*/ 7 h 997"/>
                <a:gd name="T82" fmla="*/ 32 w 1270"/>
                <a:gd name="T83" fmla="*/ 7 h 997"/>
                <a:gd name="T84" fmla="*/ 33 w 1270"/>
                <a:gd name="T85" fmla="*/ 8 h 997"/>
                <a:gd name="T86" fmla="*/ 31 w 1270"/>
                <a:gd name="T87" fmla="*/ 8 h 997"/>
                <a:gd name="T88" fmla="*/ 28 w 1270"/>
                <a:gd name="T89" fmla="*/ 9 h 997"/>
                <a:gd name="T90" fmla="*/ 28 w 1270"/>
                <a:gd name="T91" fmla="*/ 9 h 997"/>
                <a:gd name="T92" fmla="*/ 29 w 1270"/>
                <a:gd name="T93" fmla="*/ 9 h 997"/>
                <a:gd name="T94" fmla="*/ 30 w 1270"/>
                <a:gd name="T95" fmla="*/ 9 h 997"/>
                <a:gd name="T96" fmla="*/ 31 w 1270"/>
                <a:gd name="T97" fmla="*/ 9 h 997"/>
                <a:gd name="T98" fmla="*/ 29 w 1270"/>
                <a:gd name="T99" fmla="*/ 10 h 997"/>
                <a:gd name="T100" fmla="*/ 29 w 1270"/>
                <a:gd name="T101" fmla="*/ 9 h 997"/>
                <a:gd name="T102" fmla="*/ 28 w 1270"/>
                <a:gd name="T103" fmla="*/ 9 h 997"/>
                <a:gd name="T104" fmla="*/ 25 w 1270"/>
                <a:gd name="T105" fmla="*/ 9 h 997"/>
                <a:gd name="T106" fmla="*/ 24 w 1270"/>
                <a:gd name="T107" fmla="*/ 10 h 99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270"/>
                <a:gd name="T163" fmla="*/ 0 h 997"/>
                <a:gd name="T164" fmla="*/ 1270 w 1270"/>
                <a:gd name="T165" fmla="*/ 997 h 99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270" h="997">
                  <a:moveTo>
                    <a:pt x="911" y="966"/>
                  </a:moveTo>
                  <a:lnTo>
                    <a:pt x="921" y="966"/>
                  </a:lnTo>
                  <a:lnTo>
                    <a:pt x="926" y="976"/>
                  </a:lnTo>
                  <a:lnTo>
                    <a:pt x="885" y="980"/>
                  </a:lnTo>
                  <a:lnTo>
                    <a:pt x="881" y="987"/>
                  </a:lnTo>
                  <a:lnTo>
                    <a:pt x="857" y="997"/>
                  </a:lnTo>
                  <a:lnTo>
                    <a:pt x="874" y="971"/>
                  </a:lnTo>
                  <a:lnTo>
                    <a:pt x="871" y="971"/>
                  </a:lnTo>
                  <a:lnTo>
                    <a:pt x="883" y="966"/>
                  </a:lnTo>
                  <a:lnTo>
                    <a:pt x="885" y="928"/>
                  </a:lnTo>
                  <a:lnTo>
                    <a:pt x="907" y="943"/>
                  </a:lnTo>
                  <a:lnTo>
                    <a:pt x="911" y="933"/>
                  </a:lnTo>
                  <a:lnTo>
                    <a:pt x="897" y="912"/>
                  </a:lnTo>
                  <a:lnTo>
                    <a:pt x="845" y="905"/>
                  </a:lnTo>
                  <a:lnTo>
                    <a:pt x="848" y="905"/>
                  </a:lnTo>
                  <a:lnTo>
                    <a:pt x="843" y="900"/>
                  </a:lnTo>
                  <a:lnTo>
                    <a:pt x="841" y="900"/>
                  </a:lnTo>
                  <a:lnTo>
                    <a:pt x="833" y="867"/>
                  </a:lnTo>
                  <a:lnTo>
                    <a:pt x="822" y="867"/>
                  </a:lnTo>
                  <a:lnTo>
                    <a:pt x="812" y="848"/>
                  </a:lnTo>
                  <a:lnTo>
                    <a:pt x="789" y="843"/>
                  </a:lnTo>
                  <a:lnTo>
                    <a:pt x="763" y="867"/>
                  </a:lnTo>
                  <a:lnTo>
                    <a:pt x="739" y="865"/>
                  </a:lnTo>
                  <a:lnTo>
                    <a:pt x="718" y="853"/>
                  </a:lnTo>
                  <a:lnTo>
                    <a:pt x="694" y="850"/>
                  </a:lnTo>
                  <a:lnTo>
                    <a:pt x="685" y="834"/>
                  </a:lnTo>
                  <a:lnTo>
                    <a:pt x="678" y="843"/>
                  </a:lnTo>
                  <a:lnTo>
                    <a:pt x="271" y="843"/>
                  </a:lnTo>
                  <a:lnTo>
                    <a:pt x="264" y="839"/>
                  </a:lnTo>
                  <a:lnTo>
                    <a:pt x="264" y="827"/>
                  </a:lnTo>
                  <a:lnTo>
                    <a:pt x="257" y="832"/>
                  </a:lnTo>
                  <a:lnTo>
                    <a:pt x="229" y="810"/>
                  </a:lnTo>
                  <a:lnTo>
                    <a:pt x="196" y="794"/>
                  </a:lnTo>
                  <a:lnTo>
                    <a:pt x="186" y="765"/>
                  </a:lnTo>
                  <a:lnTo>
                    <a:pt x="174" y="758"/>
                  </a:lnTo>
                  <a:lnTo>
                    <a:pt x="153" y="725"/>
                  </a:lnTo>
                  <a:lnTo>
                    <a:pt x="160" y="721"/>
                  </a:lnTo>
                  <a:lnTo>
                    <a:pt x="158" y="713"/>
                  </a:lnTo>
                  <a:lnTo>
                    <a:pt x="163" y="697"/>
                  </a:lnTo>
                  <a:lnTo>
                    <a:pt x="160" y="671"/>
                  </a:lnTo>
                  <a:lnTo>
                    <a:pt x="134" y="654"/>
                  </a:lnTo>
                  <a:lnTo>
                    <a:pt x="106" y="598"/>
                  </a:lnTo>
                  <a:lnTo>
                    <a:pt x="96" y="593"/>
                  </a:lnTo>
                  <a:lnTo>
                    <a:pt x="82" y="567"/>
                  </a:lnTo>
                  <a:lnTo>
                    <a:pt x="68" y="572"/>
                  </a:lnTo>
                  <a:lnTo>
                    <a:pt x="54" y="588"/>
                  </a:lnTo>
                  <a:lnTo>
                    <a:pt x="26" y="560"/>
                  </a:lnTo>
                  <a:lnTo>
                    <a:pt x="26" y="550"/>
                  </a:lnTo>
                  <a:lnTo>
                    <a:pt x="2" y="553"/>
                  </a:lnTo>
                  <a:lnTo>
                    <a:pt x="0" y="546"/>
                  </a:lnTo>
                  <a:lnTo>
                    <a:pt x="0" y="220"/>
                  </a:lnTo>
                  <a:lnTo>
                    <a:pt x="21" y="220"/>
                  </a:lnTo>
                  <a:lnTo>
                    <a:pt x="73" y="255"/>
                  </a:lnTo>
                  <a:lnTo>
                    <a:pt x="75" y="239"/>
                  </a:lnTo>
                  <a:lnTo>
                    <a:pt x="87" y="225"/>
                  </a:lnTo>
                  <a:lnTo>
                    <a:pt x="101" y="220"/>
                  </a:lnTo>
                  <a:lnTo>
                    <a:pt x="113" y="229"/>
                  </a:lnTo>
                  <a:lnTo>
                    <a:pt x="165" y="191"/>
                  </a:lnTo>
                  <a:lnTo>
                    <a:pt x="172" y="210"/>
                  </a:lnTo>
                  <a:lnTo>
                    <a:pt x="186" y="203"/>
                  </a:lnTo>
                  <a:lnTo>
                    <a:pt x="193" y="177"/>
                  </a:lnTo>
                  <a:lnTo>
                    <a:pt x="212" y="199"/>
                  </a:lnTo>
                  <a:lnTo>
                    <a:pt x="219" y="220"/>
                  </a:lnTo>
                  <a:lnTo>
                    <a:pt x="233" y="227"/>
                  </a:lnTo>
                  <a:lnTo>
                    <a:pt x="245" y="203"/>
                  </a:lnTo>
                  <a:lnTo>
                    <a:pt x="248" y="227"/>
                  </a:lnTo>
                  <a:lnTo>
                    <a:pt x="259" y="229"/>
                  </a:lnTo>
                  <a:lnTo>
                    <a:pt x="267" y="210"/>
                  </a:lnTo>
                  <a:lnTo>
                    <a:pt x="293" y="210"/>
                  </a:lnTo>
                  <a:lnTo>
                    <a:pt x="309" y="225"/>
                  </a:lnTo>
                  <a:lnTo>
                    <a:pt x="330" y="236"/>
                  </a:lnTo>
                  <a:lnTo>
                    <a:pt x="349" y="246"/>
                  </a:lnTo>
                  <a:lnTo>
                    <a:pt x="370" y="246"/>
                  </a:lnTo>
                  <a:lnTo>
                    <a:pt x="392" y="258"/>
                  </a:lnTo>
                  <a:lnTo>
                    <a:pt x="399" y="274"/>
                  </a:lnTo>
                  <a:lnTo>
                    <a:pt x="385" y="279"/>
                  </a:lnTo>
                  <a:lnTo>
                    <a:pt x="382" y="293"/>
                  </a:lnTo>
                  <a:lnTo>
                    <a:pt x="418" y="300"/>
                  </a:lnTo>
                  <a:lnTo>
                    <a:pt x="458" y="286"/>
                  </a:lnTo>
                  <a:lnTo>
                    <a:pt x="489" y="302"/>
                  </a:lnTo>
                  <a:lnTo>
                    <a:pt x="493" y="286"/>
                  </a:lnTo>
                  <a:lnTo>
                    <a:pt x="477" y="276"/>
                  </a:lnTo>
                  <a:lnTo>
                    <a:pt x="486" y="262"/>
                  </a:lnTo>
                  <a:lnTo>
                    <a:pt x="526" y="248"/>
                  </a:lnTo>
                  <a:lnTo>
                    <a:pt x="541" y="272"/>
                  </a:lnTo>
                  <a:lnTo>
                    <a:pt x="583" y="295"/>
                  </a:lnTo>
                  <a:lnTo>
                    <a:pt x="611" y="302"/>
                  </a:lnTo>
                  <a:lnTo>
                    <a:pt x="628" y="300"/>
                  </a:lnTo>
                  <a:lnTo>
                    <a:pt x="630" y="276"/>
                  </a:lnTo>
                  <a:lnTo>
                    <a:pt x="640" y="262"/>
                  </a:lnTo>
                  <a:lnTo>
                    <a:pt x="616" y="246"/>
                  </a:lnTo>
                  <a:lnTo>
                    <a:pt x="630" y="232"/>
                  </a:lnTo>
                  <a:lnTo>
                    <a:pt x="642" y="210"/>
                  </a:lnTo>
                  <a:lnTo>
                    <a:pt x="663" y="232"/>
                  </a:lnTo>
                  <a:lnTo>
                    <a:pt x="675" y="255"/>
                  </a:lnTo>
                  <a:lnTo>
                    <a:pt x="656" y="272"/>
                  </a:lnTo>
                  <a:lnTo>
                    <a:pt x="659" y="293"/>
                  </a:lnTo>
                  <a:lnTo>
                    <a:pt x="673" y="305"/>
                  </a:lnTo>
                  <a:lnTo>
                    <a:pt x="678" y="286"/>
                  </a:lnTo>
                  <a:lnTo>
                    <a:pt x="696" y="267"/>
                  </a:lnTo>
                  <a:lnTo>
                    <a:pt x="689" y="246"/>
                  </a:lnTo>
                  <a:lnTo>
                    <a:pt x="699" y="227"/>
                  </a:lnTo>
                  <a:lnTo>
                    <a:pt x="675" y="210"/>
                  </a:lnTo>
                  <a:lnTo>
                    <a:pt x="659" y="184"/>
                  </a:lnTo>
                  <a:lnTo>
                    <a:pt x="673" y="135"/>
                  </a:lnTo>
                  <a:lnTo>
                    <a:pt x="685" y="123"/>
                  </a:lnTo>
                  <a:lnTo>
                    <a:pt x="685" y="78"/>
                  </a:lnTo>
                  <a:lnTo>
                    <a:pt x="675" y="31"/>
                  </a:lnTo>
                  <a:lnTo>
                    <a:pt x="682" y="10"/>
                  </a:lnTo>
                  <a:lnTo>
                    <a:pt x="713" y="0"/>
                  </a:lnTo>
                  <a:lnTo>
                    <a:pt x="741" y="7"/>
                  </a:lnTo>
                  <a:lnTo>
                    <a:pt x="758" y="17"/>
                  </a:lnTo>
                  <a:lnTo>
                    <a:pt x="730" y="73"/>
                  </a:lnTo>
                  <a:lnTo>
                    <a:pt x="713" y="73"/>
                  </a:lnTo>
                  <a:lnTo>
                    <a:pt x="699" y="83"/>
                  </a:lnTo>
                  <a:lnTo>
                    <a:pt x="706" y="99"/>
                  </a:lnTo>
                  <a:lnTo>
                    <a:pt x="696" y="116"/>
                  </a:lnTo>
                  <a:lnTo>
                    <a:pt x="739" y="196"/>
                  </a:lnTo>
                  <a:lnTo>
                    <a:pt x="722" y="213"/>
                  </a:lnTo>
                  <a:lnTo>
                    <a:pt x="739" y="225"/>
                  </a:lnTo>
                  <a:lnTo>
                    <a:pt x="760" y="262"/>
                  </a:lnTo>
                  <a:lnTo>
                    <a:pt x="774" y="234"/>
                  </a:lnTo>
                  <a:lnTo>
                    <a:pt x="789" y="255"/>
                  </a:lnTo>
                  <a:lnTo>
                    <a:pt x="786" y="293"/>
                  </a:lnTo>
                  <a:lnTo>
                    <a:pt x="800" y="314"/>
                  </a:lnTo>
                  <a:lnTo>
                    <a:pt x="812" y="310"/>
                  </a:lnTo>
                  <a:lnTo>
                    <a:pt x="812" y="293"/>
                  </a:lnTo>
                  <a:lnTo>
                    <a:pt x="829" y="279"/>
                  </a:lnTo>
                  <a:lnTo>
                    <a:pt x="826" y="210"/>
                  </a:lnTo>
                  <a:lnTo>
                    <a:pt x="845" y="210"/>
                  </a:lnTo>
                  <a:lnTo>
                    <a:pt x="864" y="217"/>
                  </a:lnTo>
                  <a:lnTo>
                    <a:pt x="867" y="232"/>
                  </a:lnTo>
                  <a:lnTo>
                    <a:pt x="888" y="236"/>
                  </a:lnTo>
                  <a:lnTo>
                    <a:pt x="888" y="262"/>
                  </a:lnTo>
                  <a:lnTo>
                    <a:pt x="871" y="272"/>
                  </a:lnTo>
                  <a:lnTo>
                    <a:pt x="871" y="293"/>
                  </a:lnTo>
                  <a:lnTo>
                    <a:pt x="890" y="302"/>
                  </a:lnTo>
                  <a:lnTo>
                    <a:pt x="888" y="324"/>
                  </a:lnTo>
                  <a:lnTo>
                    <a:pt x="852" y="357"/>
                  </a:lnTo>
                  <a:lnTo>
                    <a:pt x="833" y="350"/>
                  </a:lnTo>
                  <a:lnTo>
                    <a:pt x="826" y="340"/>
                  </a:lnTo>
                  <a:lnTo>
                    <a:pt x="807" y="343"/>
                  </a:lnTo>
                  <a:lnTo>
                    <a:pt x="819" y="357"/>
                  </a:lnTo>
                  <a:lnTo>
                    <a:pt x="805" y="380"/>
                  </a:lnTo>
                  <a:lnTo>
                    <a:pt x="805" y="399"/>
                  </a:lnTo>
                  <a:lnTo>
                    <a:pt x="781" y="432"/>
                  </a:lnTo>
                  <a:lnTo>
                    <a:pt x="760" y="432"/>
                  </a:lnTo>
                  <a:lnTo>
                    <a:pt x="748" y="451"/>
                  </a:lnTo>
                  <a:lnTo>
                    <a:pt x="751" y="470"/>
                  </a:lnTo>
                  <a:lnTo>
                    <a:pt x="722" y="480"/>
                  </a:lnTo>
                  <a:lnTo>
                    <a:pt x="722" y="496"/>
                  </a:lnTo>
                  <a:lnTo>
                    <a:pt x="713" y="501"/>
                  </a:lnTo>
                  <a:lnTo>
                    <a:pt x="706" y="513"/>
                  </a:lnTo>
                  <a:lnTo>
                    <a:pt x="689" y="555"/>
                  </a:lnTo>
                  <a:lnTo>
                    <a:pt x="689" y="586"/>
                  </a:lnTo>
                  <a:lnTo>
                    <a:pt x="694" y="598"/>
                  </a:lnTo>
                  <a:lnTo>
                    <a:pt x="713" y="598"/>
                  </a:lnTo>
                  <a:lnTo>
                    <a:pt x="725" y="647"/>
                  </a:lnTo>
                  <a:lnTo>
                    <a:pt x="744" y="638"/>
                  </a:lnTo>
                  <a:lnTo>
                    <a:pt x="774" y="652"/>
                  </a:lnTo>
                  <a:lnTo>
                    <a:pt x="796" y="673"/>
                  </a:lnTo>
                  <a:lnTo>
                    <a:pt x="833" y="692"/>
                  </a:lnTo>
                  <a:lnTo>
                    <a:pt x="864" y="692"/>
                  </a:lnTo>
                  <a:lnTo>
                    <a:pt x="876" y="699"/>
                  </a:lnTo>
                  <a:lnTo>
                    <a:pt x="874" y="751"/>
                  </a:lnTo>
                  <a:lnTo>
                    <a:pt x="911" y="796"/>
                  </a:lnTo>
                  <a:lnTo>
                    <a:pt x="911" y="789"/>
                  </a:lnTo>
                  <a:lnTo>
                    <a:pt x="933" y="770"/>
                  </a:lnTo>
                  <a:lnTo>
                    <a:pt x="916" y="709"/>
                  </a:lnTo>
                  <a:lnTo>
                    <a:pt x="937" y="695"/>
                  </a:lnTo>
                  <a:lnTo>
                    <a:pt x="956" y="673"/>
                  </a:lnTo>
                  <a:lnTo>
                    <a:pt x="947" y="610"/>
                  </a:lnTo>
                  <a:lnTo>
                    <a:pt x="928" y="595"/>
                  </a:lnTo>
                  <a:lnTo>
                    <a:pt x="930" y="586"/>
                  </a:lnTo>
                  <a:lnTo>
                    <a:pt x="940" y="584"/>
                  </a:lnTo>
                  <a:lnTo>
                    <a:pt x="947" y="572"/>
                  </a:lnTo>
                  <a:lnTo>
                    <a:pt x="944" y="546"/>
                  </a:lnTo>
                  <a:lnTo>
                    <a:pt x="937" y="536"/>
                  </a:lnTo>
                  <a:lnTo>
                    <a:pt x="947" y="513"/>
                  </a:lnTo>
                  <a:lnTo>
                    <a:pt x="937" y="503"/>
                  </a:lnTo>
                  <a:lnTo>
                    <a:pt x="937" y="489"/>
                  </a:lnTo>
                  <a:lnTo>
                    <a:pt x="947" y="482"/>
                  </a:lnTo>
                  <a:lnTo>
                    <a:pt x="975" y="489"/>
                  </a:lnTo>
                  <a:lnTo>
                    <a:pt x="1004" y="484"/>
                  </a:lnTo>
                  <a:lnTo>
                    <a:pt x="1034" y="513"/>
                  </a:lnTo>
                  <a:lnTo>
                    <a:pt x="1032" y="522"/>
                  </a:lnTo>
                  <a:lnTo>
                    <a:pt x="1041" y="529"/>
                  </a:lnTo>
                  <a:lnTo>
                    <a:pt x="1065" y="532"/>
                  </a:lnTo>
                  <a:lnTo>
                    <a:pt x="1065" y="581"/>
                  </a:lnTo>
                  <a:lnTo>
                    <a:pt x="1091" y="612"/>
                  </a:lnTo>
                  <a:lnTo>
                    <a:pt x="1105" y="607"/>
                  </a:lnTo>
                  <a:lnTo>
                    <a:pt x="1122" y="588"/>
                  </a:lnTo>
                  <a:lnTo>
                    <a:pt x="1129" y="576"/>
                  </a:lnTo>
                  <a:lnTo>
                    <a:pt x="1124" y="567"/>
                  </a:lnTo>
                  <a:lnTo>
                    <a:pt x="1136" y="550"/>
                  </a:lnTo>
                  <a:lnTo>
                    <a:pt x="1188" y="643"/>
                  </a:lnTo>
                  <a:lnTo>
                    <a:pt x="1181" y="652"/>
                  </a:lnTo>
                  <a:lnTo>
                    <a:pt x="1181" y="666"/>
                  </a:lnTo>
                  <a:lnTo>
                    <a:pt x="1200" y="680"/>
                  </a:lnTo>
                  <a:lnTo>
                    <a:pt x="1202" y="692"/>
                  </a:lnTo>
                  <a:lnTo>
                    <a:pt x="1219" y="695"/>
                  </a:lnTo>
                  <a:lnTo>
                    <a:pt x="1223" y="702"/>
                  </a:lnTo>
                  <a:lnTo>
                    <a:pt x="1245" y="711"/>
                  </a:lnTo>
                  <a:lnTo>
                    <a:pt x="1230" y="721"/>
                  </a:lnTo>
                  <a:lnTo>
                    <a:pt x="1247" y="721"/>
                  </a:lnTo>
                  <a:lnTo>
                    <a:pt x="1247" y="732"/>
                  </a:lnTo>
                  <a:lnTo>
                    <a:pt x="1259" y="732"/>
                  </a:lnTo>
                  <a:lnTo>
                    <a:pt x="1268" y="744"/>
                  </a:lnTo>
                  <a:lnTo>
                    <a:pt x="1266" y="756"/>
                  </a:lnTo>
                  <a:lnTo>
                    <a:pt x="1270" y="773"/>
                  </a:lnTo>
                  <a:lnTo>
                    <a:pt x="1254" y="787"/>
                  </a:lnTo>
                  <a:lnTo>
                    <a:pt x="1226" y="794"/>
                  </a:lnTo>
                  <a:lnTo>
                    <a:pt x="1207" y="817"/>
                  </a:lnTo>
                  <a:lnTo>
                    <a:pt x="1181" y="820"/>
                  </a:lnTo>
                  <a:lnTo>
                    <a:pt x="1148" y="813"/>
                  </a:lnTo>
                  <a:lnTo>
                    <a:pt x="1105" y="820"/>
                  </a:lnTo>
                  <a:lnTo>
                    <a:pt x="1098" y="836"/>
                  </a:lnTo>
                  <a:lnTo>
                    <a:pt x="1089" y="836"/>
                  </a:lnTo>
                  <a:lnTo>
                    <a:pt x="1070" y="853"/>
                  </a:lnTo>
                  <a:lnTo>
                    <a:pt x="1041" y="891"/>
                  </a:lnTo>
                  <a:lnTo>
                    <a:pt x="1051" y="888"/>
                  </a:lnTo>
                  <a:lnTo>
                    <a:pt x="1077" y="858"/>
                  </a:lnTo>
                  <a:lnTo>
                    <a:pt x="1105" y="841"/>
                  </a:lnTo>
                  <a:lnTo>
                    <a:pt x="1129" y="839"/>
                  </a:lnTo>
                  <a:lnTo>
                    <a:pt x="1138" y="841"/>
                  </a:lnTo>
                  <a:lnTo>
                    <a:pt x="1143" y="855"/>
                  </a:lnTo>
                  <a:lnTo>
                    <a:pt x="1126" y="865"/>
                  </a:lnTo>
                  <a:lnTo>
                    <a:pt x="1112" y="865"/>
                  </a:lnTo>
                  <a:lnTo>
                    <a:pt x="1122" y="876"/>
                  </a:lnTo>
                  <a:lnTo>
                    <a:pt x="1133" y="872"/>
                  </a:lnTo>
                  <a:lnTo>
                    <a:pt x="1133" y="893"/>
                  </a:lnTo>
                  <a:lnTo>
                    <a:pt x="1138" y="905"/>
                  </a:lnTo>
                  <a:lnTo>
                    <a:pt x="1157" y="914"/>
                  </a:lnTo>
                  <a:lnTo>
                    <a:pt x="1183" y="914"/>
                  </a:lnTo>
                  <a:lnTo>
                    <a:pt x="1183" y="905"/>
                  </a:lnTo>
                  <a:lnTo>
                    <a:pt x="1197" y="888"/>
                  </a:lnTo>
                  <a:lnTo>
                    <a:pt x="1200" y="902"/>
                  </a:lnTo>
                  <a:lnTo>
                    <a:pt x="1209" y="910"/>
                  </a:lnTo>
                  <a:lnTo>
                    <a:pt x="1193" y="919"/>
                  </a:lnTo>
                  <a:lnTo>
                    <a:pt x="1188" y="928"/>
                  </a:lnTo>
                  <a:lnTo>
                    <a:pt x="1145" y="943"/>
                  </a:lnTo>
                  <a:lnTo>
                    <a:pt x="1124" y="961"/>
                  </a:lnTo>
                  <a:lnTo>
                    <a:pt x="1115" y="947"/>
                  </a:lnTo>
                  <a:lnTo>
                    <a:pt x="1117" y="940"/>
                  </a:lnTo>
                  <a:lnTo>
                    <a:pt x="1143" y="921"/>
                  </a:lnTo>
                  <a:lnTo>
                    <a:pt x="1133" y="924"/>
                  </a:lnTo>
                  <a:lnTo>
                    <a:pt x="1133" y="917"/>
                  </a:lnTo>
                  <a:lnTo>
                    <a:pt x="1112" y="928"/>
                  </a:lnTo>
                  <a:lnTo>
                    <a:pt x="1103" y="928"/>
                  </a:lnTo>
                  <a:lnTo>
                    <a:pt x="1091" y="917"/>
                  </a:lnTo>
                  <a:lnTo>
                    <a:pt x="1089" y="886"/>
                  </a:lnTo>
                  <a:lnTo>
                    <a:pt x="1082" y="881"/>
                  </a:lnTo>
                  <a:lnTo>
                    <a:pt x="1072" y="884"/>
                  </a:lnTo>
                  <a:lnTo>
                    <a:pt x="1065" y="879"/>
                  </a:lnTo>
                  <a:lnTo>
                    <a:pt x="1048" y="924"/>
                  </a:lnTo>
                  <a:lnTo>
                    <a:pt x="1032" y="931"/>
                  </a:lnTo>
                  <a:lnTo>
                    <a:pt x="985" y="931"/>
                  </a:lnTo>
                  <a:lnTo>
                    <a:pt x="966" y="945"/>
                  </a:lnTo>
                  <a:lnTo>
                    <a:pt x="954" y="952"/>
                  </a:lnTo>
                  <a:lnTo>
                    <a:pt x="916" y="959"/>
                  </a:lnTo>
                  <a:lnTo>
                    <a:pt x="911" y="966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7" name="Freeform 45"/>
            <p:cNvSpPr>
              <a:spLocks/>
            </p:cNvSpPr>
            <p:nvPr/>
          </p:nvSpPr>
          <p:spPr bwMode="auto">
            <a:xfrm>
              <a:off x="2762" y="2935"/>
              <a:ext cx="511" cy="241"/>
            </a:xfrm>
            <a:custGeom>
              <a:avLst/>
              <a:gdLst>
                <a:gd name="T0" fmla="*/ 12 w 862"/>
                <a:gd name="T1" fmla="*/ 0 h 463"/>
                <a:gd name="T2" fmla="*/ 13 w 862"/>
                <a:gd name="T3" fmla="*/ 1 h 463"/>
                <a:gd name="T4" fmla="*/ 12 w 862"/>
                <a:gd name="T5" fmla="*/ 1 h 463"/>
                <a:gd name="T6" fmla="*/ 14 w 862"/>
                <a:gd name="T7" fmla="*/ 1 h 463"/>
                <a:gd name="T8" fmla="*/ 14 w 862"/>
                <a:gd name="T9" fmla="*/ 1 h 463"/>
                <a:gd name="T10" fmla="*/ 15 w 862"/>
                <a:gd name="T11" fmla="*/ 1 h 463"/>
                <a:gd name="T12" fmla="*/ 15 w 862"/>
                <a:gd name="T13" fmla="*/ 1 h 463"/>
                <a:gd name="T14" fmla="*/ 14 w 862"/>
                <a:gd name="T15" fmla="*/ 1 h 463"/>
                <a:gd name="T16" fmla="*/ 14 w 862"/>
                <a:gd name="T17" fmla="*/ 2 h 463"/>
                <a:gd name="T18" fmla="*/ 15 w 862"/>
                <a:gd name="T19" fmla="*/ 2 h 463"/>
                <a:gd name="T20" fmla="*/ 15 w 862"/>
                <a:gd name="T21" fmla="*/ 1 h 463"/>
                <a:gd name="T22" fmla="*/ 16 w 862"/>
                <a:gd name="T23" fmla="*/ 1 h 463"/>
                <a:gd name="T24" fmla="*/ 16 w 862"/>
                <a:gd name="T25" fmla="*/ 2 h 463"/>
                <a:gd name="T26" fmla="*/ 16 w 862"/>
                <a:gd name="T27" fmla="*/ 2 h 463"/>
                <a:gd name="T28" fmla="*/ 18 w 862"/>
                <a:gd name="T29" fmla="*/ 2 h 463"/>
                <a:gd name="T30" fmla="*/ 18 w 862"/>
                <a:gd name="T31" fmla="*/ 2 h 463"/>
                <a:gd name="T32" fmla="*/ 18 w 862"/>
                <a:gd name="T33" fmla="*/ 1 h 463"/>
                <a:gd name="T34" fmla="*/ 21 w 862"/>
                <a:gd name="T35" fmla="*/ 1 h 463"/>
                <a:gd name="T36" fmla="*/ 22 w 862"/>
                <a:gd name="T37" fmla="*/ 1 h 463"/>
                <a:gd name="T38" fmla="*/ 22 w 862"/>
                <a:gd name="T39" fmla="*/ 1 h 463"/>
                <a:gd name="T40" fmla="*/ 22 w 862"/>
                <a:gd name="T41" fmla="*/ 1 h 463"/>
                <a:gd name="T42" fmla="*/ 21 w 862"/>
                <a:gd name="T43" fmla="*/ 2 h 463"/>
                <a:gd name="T44" fmla="*/ 21 w 862"/>
                <a:gd name="T45" fmla="*/ 2 h 463"/>
                <a:gd name="T46" fmla="*/ 21 w 862"/>
                <a:gd name="T47" fmla="*/ 2 h 463"/>
                <a:gd name="T48" fmla="*/ 20 w 862"/>
                <a:gd name="T49" fmla="*/ 2 h 463"/>
                <a:gd name="T50" fmla="*/ 20 w 862"/>
                <a:gd name="T51" fmla="*/ 2 h 463"/>
                <a:gd name="T52" fmla="*/ 19 w 862"/>
                <a:gd name="T53" fmla="*/ 2 h 463"/>
                <a:gd name="T54" fmla="*/ 18 w 862"/>
                <a:gd name="T55" fmla="*/ 3 h 463"/>
                <a:gd name="T56" fmla="*/ 18 w 862"/>
                <a:gd name="T57" fmla="*/ 2 h 463"/>
                <a:gd name="T58" fmla="*/ 18 w 862"/>
                <a:gd name="T59" fmla="*/ 3 h 463"/>
                <a:gd name="T60" fmla="*/ 19 w 862"/>
                <a:gd name="T61" fmla="*/ 3 h 463"/>
                <a:gd name="T62" fmla="*/ 17 w 862"/>
                <a:gd name="T63" fmla="*/ 4 h 463"/>
                <a:gd name="T64" fmla="*/ 17 w 862"/>
                <a:gd name="T65" fmla="*/ 5 h 463"/>
                <a:gd name="T66" fmla="*/ 16 w 862"/>
                <a:gd name="T67" fmla="*/ 5 h 463"/>
                <a:gd name="T68" fmla="*/ 15 w 862"/>
                <a:gd name="T69" fmla="*/ 4 h 463"/>
                <a:gd name="T70" fmla="*/ 14 w 862"/>
                <a:gd name="T71" fmla="*/ 4 h 463"/>
                <a:gd name="T72" fmla="*/ 13 w 862"/>
                <a:gd name="T73" fmla="*/ 4 h 463"/>
                <a:gd name="T74" fmla="*/ 14 w 862"/>
                <a:gd name="T75" fmla="*/ 4 h 463"/>
                <a:gd name="T76" fmla="*/ 14 w 862"/>
                <a:gd name="T77" fmla="*/ 4 h 463"/>
                <a:gd name="T78" fmla="*/ 12 w 862"/>
                <a:gd name="T79" fmla="*/ 4 h 463"/>
                <a:gd name="T80" fmla="*/ 12 w 862"/>
                <a:gd name="T81" fmla="*/ 4 h 463"/>
                <a:gd name="T82" fmla="*/ 11 w 862"/>
                <a:gd name="T83" fmla="*/ 4 h 463"/>
                <a:gd name="T84" fmla="*/ 10 w 862"/>
                <a:gd name="T85" fmla="*/ 5 h 463"/>
                <a:gd name="T86" fmla="*/ 8 w 862"/>
                <a:gd name="T87" fmla="*/ 4 h 463"/>
                <a:gd name="T88" fmla="*/ 8 w 862"/>
                <a:gd name="T89" fmla="*/ 4 h 463"/>
                <a:gd name="T90" fmla="*/ 4 w 862"/>
                <a:gd name="T91" fmla="*/ 3 h 463"/>
                <a:gd name="T92" fmla="*/ 3 w 862"/>
                <a:gd name="T93" fmla="*/ 3 h 463"/>
                <a:gd name="T94" fmla="*/ 2 w 862"/>
                <a:gd name="T95" fmla="*/ 3 h 463"/>
                <a:gd name="T96" fmla="*/ 1 w 862"/>
                <a:gd name="T97" fmla="*/ 3 h 463"/>
                <a:gd name="T98" fmla="*/ 1 w 862"/>
                <a:gd name="T99" fmla="*/ 3 h 463"/>
                <a:gd name="T100" fmla="*/ 1 w 862"/>
                <a:gd name="T101" fmla="*/ 3 h 463"/>
                <a:gd name="T102" fmla="*/ 1 w 862"/>
                <a:gd name="T103" fmla="*/ 2 h 463"/>
                <a:gd name="T104" fmla="*/ 1 w 862"/>
                <a:gd name="T105" fmla="*/ 1 h 463"/>
                <a:gd name="T106" fmla="*/ 0 w 862"/>
                <a:gd name="T107" fmla="*/ 1 h 463"/>
                <a:gd name="T108" fmla="*/ 1 w 862"/>
                <a:gd name="T109" fmla="*/ 1 h 463"/>
                <a:gd name="T110" fmla="*/ 1 w 862"/>
                <a:gd name="T111" fmla="*/ 1 h 463"/>
                <a:gd name="T112" fmla="*/ 1 w 862"/>
                <a:gd name="T113" fmla="*/ 1 h 46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62"/>
                <a:gd name="T172" fmla="*/ 0 h 463"/>
                <a:gd name="T173" fmla="*/ 862 w 862"/>
                <a:gd name="T174" fmla="*/ 463 h 46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62" h="463">
                  <a:moveTo>
                    <a:pt x="30" y="9"/>
                  </a:moveTo>
                  <a:lnTo>
                    <a:pt x="437" y="9"/>
                  </a:lnTo>
                  <a:lnTo>
                    <a:pt x="444" y="0"/>
                  </a:lnTo>
                  <a:lnTo>
                    <a:pt x="453" y="16"/>
                  </a:lnTo>
                  <a:lnTo>
                    <a:pt x="477" y="19"/>
                  </a:lnTo>
                  <a:lnTo>
                    <a:pt x="498" y="31"/>
                  </a:lnTo>
                  <a:lnTo>
                    <a:pt x="522" y="33"/>
                  </a:lnTo>
                  <a:lnTo>
                    <a:pt x="489" y="61"/>
                  </a:lnTo>
                  <a:lnTo>
                    <a:pt x="505" y="57"/>
                  </a:lnTo>
                  <a:lnTo>
                    <a:pt x="512" y="66"/>
                  </a:lnTo>
                  <a:lnTo>
                    <a:pt x="540" y="52"/>
                  </a:lnTo>
                  <a:lnTo>
                    <a:pt x="540" y="59"/>
                  </a:lnTo>
                  <a:lnTo>
                    <a:pt x="552" y="57"/>
                  </a:lnTo>
                  <a:lnTo>
                    <a:pt x="557" y="66"/>
                  </a:lnTo>
                  <a:lnTo>
                    <a:pt x="592" y="59"/>
                  </a:lnTo>
                  <a:lnTo>
                    <a:pt x="592" y="66"/>
                  </a:lnTo>
                  <a:lnTo>
                    <a:pt x="600" y="66"/>
                  </a:lnTo>
                  <a:lnTo>
                    <a:pt x="602" y="66"/>
                  </a:lnTo>
                  <a:lnTo>
                    <a:pt x="607" y="71"/>
                  </a:lnTo>
                  <a:lnTo>
                    <a:pt x="604" y="71"/>
                  </a:lnTo>
                  <a:lnTo>
                    <a:pt x="607" y="78"/>
                  </a:lnTo>
                  <a:lnTo>
                    <a:pt x="564" y="80"/>
                  </a:lnTo>
                  <a:lnTo>
                    <a:pt x="548" y="106"/>
                  </a:lnTo>
                  <a:lnTo>
                    <a:pt x="559" y="99"/>
                  </a:lnTo>
                  <a:lnTo>
                    <a:pt x="550" y="135"/>
                  </a:lnTo>
                  <a:lnTo>
                    <a:pt x="550" y="156"/>
                  </a:lnTo>
                  <a:lnTo>
                    <a:pt x="555" y="165"/>
                  </a:lnTo>
                  <a:lnTo>
                    <a:pt x="562" y="165"/>
                  </a:lnTo>
                  <a:lnTo>
                    <a:pt x="571" y="156"/>
                  </a:lnTo>
                  <a:lnTo>
                    <a:pt x="571" y="116"/>
                  </a:lnTo>
                  <a:lnTo>
                    <a:pt x="576" y="99"/>
                  </a:lnTo>
                  <a:lnTo>
                    <a:pt x="588" y="94"/>
                  </a:lnTo>
                  <a:lnTo>
                    <a:pt x="592" y="83"/>
                  </a:lnTo>
                  <a:lnTo>
                    <a:pt x="614" y="90"/>
                  </a:lnTo>
                  <a:lnTo>
                    <a:pt x="618" y="109"/>
                  </a:lnTo>
                  <a:lnTo>
                    <a:pt x="611" y="127"/>
                  </a:lnTo>
                  <a:lnTo>
                    <a:pt x="623" y="116"/>
                  </a:lnTo>
                  <a:lnTo>
                    <a:pt x="630" y="137"/>
                  </a:lnTo>
                  <a:lnTo>
                    <a:pt x="633" y="137"/>
                  </a:lnTo>
                  <a:lnTo>
                    <a:pt x="616" y="163"/>
                  </a:lnTo>
                  <a:lnTo>
                    <a:pt x="626" y="168"/>
                  </a:lnTo>
                  <a:lnTo>
                    <a:pt x="642" y="165"/>
                  </a:lnTo>
                  <a:lnTo>
                    <a:pt x="685" y="142"/>
                  </a:lnTo>
                  <a:lnTo>
                    <a:pt x="680" y="132"/>
                  </a:lnTo>
                  <a:lnTo>
                    <a:pt x="725" y="127"/>
                  </a:lnTo>
                  <a:lnTo>
                    <a:pt x="725" y="111"/>
                  </a:lnTo>
                  <a:lnTo>
                    <a:pt x="744" y="97"/>
                  </a:lnTo>
                  <a:lnTo>
                    <a:pt x="791" y="97"/>
                  </a:lnTo>
                  <a:lnTo>
                    <a:pt x="807" y="90"/>
                  </a:lnTo>
                  <a:lnTo>
                    <a:pt x="824" y="45"/>
                  </a:lnTo>
                  <a:lnTo>
                    <a:pt x="831" y="50"/>
                  </a:lnTo>
                  <a:lnTo>
                    <a:pt x="841" y="47"/>
                  </a:lnTo>
                  <a:lnTo>
                    <a:pt x="848" y="52"/>
                  </a:lnTo>
                  <a:lnTo>
                    <a:pt x="850" y="83"/>
                  </a:lnTo>
                  <a:lnTo>
                    <a:pt x="862" y="94"/>
                  </a:lnTo>
                  <a:lnTo>
                    <a:pt x="862" y="99"/>
                  </a:lnTo>
                  <a:lnTo>
                    <a:pt x="855" y="106"/>
                  </a:lnTo>
                  <a:lnTo>
                    <a:pt x="838" y="113"/>
                  </a:lnTo>
                  <a:lnTo>
                    <a:pt x="833" y="109"/>
                  </a:lnTo>
                  <a:lnTo>
                    <a:pt x="829" y="118"/>
                  </a:lnTo>
                  <a:lnTo>
                    <a:pt x="812" y="125"/>
                  </a:lnTo>
                  <a:lnTo>
                    <a:pt x="800" y="151"/>
                  </a:lnTo>
                  <a:lnTo>
                    <a:pt x="810" y="163"/>
                  </a:lnTo>
                  <a:lnTo>
                    <a:pt x="812" y="163"/>
                  </a:lnTo>
                  <a:lnTo>
                    <a:pt x="815" y="158"/>
                  </a:lnTo>
                  <a:lnTo>
                    <a:pt x="817" y="156"/>
                  </a:lnTo>
                  <a:lnTo>
                    <a:pt x="817" y="165"/>
                  </a:lnTo>
                  <a:lnTo>
                    <a:pt x="800" y="168"/>
                  </a:lnTo>
                  <a:lnTo>
                    <a:pt x="796" y="163"/>
                  </a:lnTo>
                  <a:lnTo>
                    <a:pt x="793" y="170"/>
                  </a:lnTo>
                  <a:lnTo>
                    <a:pt x="772" y="172"/>
                  </a:lnTo>
                  <a:lnTo>
                    <a:pt x="758" y="182"/>
                  </a:lnTo>
                  <a:lnTo>
                    <a:pt x="748" y="210"/>
                  </a:lnTo>
                  <a:lnTo>
                    <a:pt x="741" y="217"/>
                  </a:lnTo>
                  <a:lnTo>
                    <a:pt x="734" y="208"/>
                  </a:lnTo>
                  <a:lnTo>
                    <a:pt x="741" y="227"/>
                  </a:lnTo>
                  <a:lnTo>
                    <a:pt x="729" y="250"/>
                  </a:lnTo>
                  <a:lnTo>
                    <a:pt x="727" y="250"/>
                  </a:lnTo>
                  <a:lnTo>
                    <a:pt x="732" y="236"/>
                  </a:lnTo>
                  <a:lnTo>
                    <a:pt x="722" y="227"/>
                  </a:lnTo>
                  <a:lnTo>
                    <a:pt x="727" y="208"/>
                  </a:lnTo>
                  <a:lnTo>
                    <a:pt x="720" y="210"/>
                  </a:lnTo>
                  <a:lnTo>
                    <a:pt x="718" y="229"/>
                  </a:lnTo>
                  <a:lnTo>
                    <a:pt x="713" y="231"/>
                  </a:lnTo>
                  <a:lnTo>
                    <a:pt x="722" y="236"/>
                  </a:lnTo>
                  <a:lnTo>
                    <a:pt x="720" y="250"/>
                  </a:lnTo>
                  <a:lnTo>
                    <a:pt x="734" y="279"/>
                  </a:lnTo>
                  <a:lnTo>
                    <a:pt x="718" y="295"/>
                  </a:lnTo>
                  <a:lnTo>
                    <a:pt x="682" y="316"/>
                  </a:lnTo>
                  <a:lnTo>
                    <a:pt x="652" y="345"/>
                  </a:lnTo>
                  <a:lnTo>
                    <a:pt x="644" y="361"/>
                  </a:lnTo>
                  <a:lnTo>
                    <a:pt x="666" y="430"/>
                  </a:lnTo>
                  <a:lnTo>
                    <a:pt x="661" y="458"/>
                  </a:lnTo>
                  <a:lnTo>
                    <a:pt x="652" y="463"/>
                  </a:lnTo>
                  <a:lnTo>
                    <a:pt x="642" y="449"/>
                  </a:lnTo>
                  <a:lnTo>
                    <a:pt x="630" y="430"/>
                  </a:lnTo>
                  <a:lnTo>
                    <a:pt x="626" y="394"/>
                  </a:lnTo>
                  <a:lnTo>
                    <a:pt x="609" y="378"/>
                  </a:lnTo>
                  <a:lnTo>
                    <a:pt x="588" y="385"/>
                  </a:lnTo>
                  <a:lnTo>
                    <a:pt x="585" y="378"/>
                  </a:lnTo>
                  <a:lnTo>
                    <a:pt x="574" y="371"/>
                  </a:lnTo>
                  <a:lnTo>
                    <a:pt x="550" y="373"/>
                  </a:lnTo>
                  <a:lnTo>
                    <a:pt x="548" y="368"/>
                  </a:lnTo>
                  <a:lnTo>
                    <a:pt x="524" y="375"/>
                  </a:lnTo>
                  <a:lnTo>
                    <a:pt x="517" y="371"/>
                  </a:lnTo>
                  <a:lnTo>
                    <a:pt x="512" y="378"/>
                  </a:lnTo>
                  <a:lnTo>
                    <a:pt x="529" y="378"/>
                  </a:lnTo>
                  <a:lnTo>
                    <a:pt x="524" y="385"/>
                  </a:lnTo>
                  <a:lnTo>
                    <a:pt x="531" y="394"/>
                  </a:lnTo>
                  <a:lnTo>
                    <a:pt x="529" y="397"/>
                  </a:lnTo>
                  <a:lnTo>
                    <a:pt x="522" y="390"/>
                  </a:lnTo>
                  <a:lnTo>
                    <a:pt x="500" y="394"/>
                  </a:lnTo>
                  <a:lnTo>
                    <a:pt x="491" y="383"/>
                  </a:lnTo>
                  <a:lnTo>
                    <a:pt x="484" y="387"/>
                  </a:lnTo>
                  <a:lnTo>
                    <a:pt x="470" y="383"/>
                  </a:lnTo>
                  <a:lnTo>
                    <a:pt x="448" y="390"/>
                  </a:lnTo>
                  <a:lnTo>
                    <a:pt x="448" y="383"/>
                  </a:lnTo>
                  <a:lnTo>
                    <a:pt x="441" y="385"/>
                  </a:lnTo>
                  <a:lnTo>
                    <a:pt x="446" y="392"/>
                  </a:lnTo>
                  <a:lnTo>
                    <a:pt x="408" y="418"/>
                  </a:lnTo>
                  <a:lnTo>
                    <a:pt x="413" y="449"/>
                  </a:lnTo>
                  <a:lnTo>
                    <a:pt x="382" y="439"/>
                  </a:lnTo>
                  <a:lnTo>
                    <a:pt x="347" y="383"/>
                  </a:lnTo>
                  <a:lnTo>
                    <a:pt x="330" y="383"/>
                  </a:lnTo>
                  <a:lnTo>
                    <a:pt x="323" y="394"/>
                  </a:lnTo>
                  <a:lnTo>
                    <a:pt x="314" y="394"/>
                  </a:lnTo>
                  <a:lnTo>
                    <a:pt x="300" y="383"/>
                  </a:lnTo>
                  <a:lnTo>
                    <a:pt x="295" y="368"/>
                  </a:lnTo>
                  <a:lnTo>
                    <a:pt x="274" y="349"/>
                  </a:lnTo>
                  <a:lnTo>
                    <a:pt x="205" y="357"/>
                  </a:lnTo>
                  <a:lnTo>
                    <a:pt x="146" y="333"/>
                  </a:lnTo>
                  <a:lnTo>
                    <a:pt x="115" y="335"/>
                  </a:lnTo>
                  <a:lnTo>
                    <a:pt x="108" y="319"/>
                  </a:lnTo>
                  <a:lnTo>
                    <a:pt x="96" y="314"/>
                  </a:lnTo>
                  <a:lnTo>
                    <a:pt x="94" y="307"/>
                  </a:lnTo>
                  <a:lnTo>
                    <a:pt x="63" y="298"/>
                  </a:lnTo>
                  <a:lnTo>
                    <a:pt x="63" y="290"/>
                  </a:lnTo>
                  <a:lnTo>
                    <a:pt x="42" y="267"/>
                  </a:lnTo>
                  <a:lnTo>
                    <a:pt x="44" y="255"/>
                  </a:lnTo>
                  <a:lnTo>
                    <a:pt x="35" y="248"/>
                  </a:lnTo>
                  <a:lnTo>
                    <a:pt x="35" y="241"/>
                  </a:lnTo>
                  <a:lnTo>
                    <a:pt x="40" y="246"/>
                  </a:lnTo>
                  <a:lnTo>
                    <a:pt x="40" y="234"/>
                  </a:lnTo>
                  <a:lnTo>
                    <a:pt x="26" y="236"/>
                  </a:lnTo>
                  <a:lnTo>
                    <a:pt x="28" y="229"/>
                  </a:lnTo>
                  <a:lnTo>
                    <a:pt x="16" y="217"/>
                  </a:lnTo>
                  <a:lnTo>
                    <a:pt x="16" y="203"/>
                  </a:lnTo>
                  <a:lnTo>
                    <a:pt x="7" y="194"/>
                  </a:lnTo>
                  <a:lnTo>
                    <a:pt x="11" y="168"/>
                  </a:lnTo>
                  <a:lnTo>
                    <a:pt x="4" y="142"/>
                  </a:lnTo>
                  <a:lnTo>
                    <a:pt x="11" y="71"/>
                  </a:lnTo>
                  <a:lnTo>
                    <a:pt x="23" y="71"/>
                  </a:lnTo>
                  <a:lnTo>
                    <a:pt x="11" y="68"/>
                  </a:lnTo>
                  <a:lnTo>
                    <a:pt x="0" y="28"/>
                  </a:lnTo>
                  <a:lnTo>
                    <a:pt x="2" y="24"/>
                  </a:lnTo>
                  <a:lnTo>
                    <a:pt x="23" y="28"/>
                  </a:lnTo>
                  <a:lnTo>
                    <a:pt x="33" y="33"/>
                  </a:lnTo>
                  <a:lnTo>
                    <a:pt x="26" y="42"/>
                  </a:lnTo>
                  <a:lnTo>
                    <a:pt x="33" y="40"/>
                  </a:lnTo>
                  <a:lnTo>
                    <a:pt x="35" y="42"/>
                  </a:lnTo>
                  <a:lnTo>
                    <a:pt x="35" y="19"/>
                  </a:lnTo>
                  <a:lnTo>
                    <a:pt x="30" y="9"/>
                  </a:lnTo>
                  <a:close/>
                </a:path>
              </a:pathLst>
            </a:custGeom>
            <a:solidFill>
              <a:srgbClr val="124570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8" name="Freeform 46"/>
            <p:cNvSpPr>
              <a:spLocks/>
            </p:cNvSpPr>
            <p:nvPr/>
          </p:nvSpPr>
          <p:spPr bwMode="auto">
            <a:xfrm>
              <a:off x="2830" y="3108"/>
              <a:ext cx="266" cy="154"/>
            </a:xfrm>
            <a:custGeom>
              <a:avLst/>
              <a:gdLst>
                <a:gd name="T0" fmla="*/ 7 w 449"/>
                <a:gd name="T1" fmla="*/ 2 h 295"/>
                <a:gd name="T2" fmla="*/ 8 w 449"/>
                <a:gd name="T3" fmla="*/ 2 h 295"/>
                <a:gd name="T4" fmla="*/ 8 w 449"/>
                <a:gd name="T5" fmla="*/ 3 h 295"/>
                <a:gd name="T6" fmla="*/ 9 w 449"/>
                <a:gd name="T7" fmla="*/ 3 h 295"/>
                <a:gd name="T8" fmla="*/ 10 w 449"/>
                <a:gd name="T9" fmla="*/ 3 h 295"/>
                <a:gd name="T10" fmla="*/ 10 w 449"/>
                <a:gd name="T11" fmla="*/ 2 h 295"/>
                <a:gd name="T12" fmla="*/ 11 w 449"/>
                <a:gd name="T13" fmla="*/ 2 h 295"/>
                <a:gd name="T14" fmla="*/ 11 w 449"/>
                <a:gd name="T15" fmla="*/ 3 h 295"/>
                <a:gd name="T16" fmla="*/ 11 w 449"/>
                <a:gd name="T17" fmla="*/ 3 h 295"/>
                <a:gd name="T18" fmla="*/ 11 w 449"/>
                <a:gd name="T19" fmla="*/ 3 h 295"/>
                <a:gd name="T20" fmla="*/ 10 w 449"/>
                <a:gd name="T21" fmla="*/ 3 h 295"/>
                <a:gd name="T22" fmla="*/ 10 w 449"/>
                <a:gd name="T23" fmla="*/ 3 h 295"/>
                <a:gd name="T24" fmla="*/ 9 w 449"/>
                <a:gd name="T25" fmla="*/ 3 h 295"/>
                <a:gd name="T26" fmla="*/ 8 w 449"/>
                <a:gd name="T27" fmla="*/ 3 h 295"/>
                <a:gd name="T28" fmla="*/ 7 w 449"/>
                <a:gd name="T29" fmla="*/ 3 h 295"/>
                <a:gd name="T30" fmla="*/ 6 w 449"/>
                <a:gd name="T31" fmla="*/ 3 h 295"/>
                <a:gd name="T32" fmla="*/ 5 w 449"/>
                <a:gd name="T33" fmla="*/ 2 h 295"/>
                <a:gd name="T34" fmla="*/ 5 w 449"/>
                <a:gd name="T35" fmla="*/ 2 h 295"/>
                <a:gd name="T36" fmla="*/ 3 w 449"/>
                <a:gd name="T37" fmla="*/ 2 h 295"/>
                <a:gd name="T38" fmla="*/ 3 w 449"/>
                <a:gd name="T39" fmla="*/ 1 h 295"/>
                <a:gd name="T40" fmla="*/ 2 w 449"/>
                <a:gd name="T41" fmla="*/ 1 h 295"/>
                <a:gd name="T42" fmla="*/ 2 w 449"/>
                <a:gd name="T43" fmla="*/ 1 h 295"/>
                <a:gd name="T44" fmla="*/ 1 w 449"/>
                <a:gd name="T45" fmla="*/ 1 h 295"/>
                <a:gd name="T46" fmla="*/ 1 w 449"/>
                <a:gd name="T47" fmla="*/ 1 h 295"/>
                <a:gd name="T48" fmla="*/ 2 w 449"/>
                <a:gd name="T49" fmla="*/ 2 h 295"/>
                <a:gd name="T50" fmla="*/ 3 w 449"/>
                <a:gd name="T51" fmla="*/ 2 h 295"/>
                <a:gd name="T52" fmla="*/ 2 w 449"/>
                <a:gd name="T53" fmla="*/ 2 h 295"/>
                <a:gd name="T54" fmla="*/ 2 w 449"/>
                <a:gd name="T55" fmla="*/ 2 h 295"/>
                <a:gd name="T56" fmla="*/ 1 w 449"/>
                <a:gd name="T57" fmla="*/ 1 h 295"/>
                <a:gd name="T58" fmla="*/ 1 w 449"/>
                <a:gd name="T59" fmla="*/ 1 h 295"/>
                <a:gd name="T60" fmla="*/ 1 w 449"/>
                <a:gd name="T61" fmla="*/ 1 h 295"/>
                <a:gd name="T62" fmla="*/ 0 w 449"/>
                <a:gd name="T63" fmla="*/ 1 h 295"/>
                <a:gd name="T64" fmla="*/ 2 w 449"/>
                <a:gd name="T65" fmla="*/ 1 h 295"/>
                <a:gd name="T66" fmla="*/ 5 w 449"/>
                <a:gd name="T67" fmla="*/ 1 h 295"/>
                <a:gd name="T68" fmla="*/ 5 w 449"/>
                <a:gd name="T69" fmla="*/ 1 h 295"/>
                <a:gd name="T70" fmla="*/ 5 w 449"/>
                <a:gd name="T71" fmla="*/ 1 h 295"/>
                <a:gd name="T72" fmla="*/ 7 w 449"/>
                <a:gd name="T73" fmla="*/ 1 h 295"/>
                <a:gd name="T74" fmla="*/ 8 w 449"/>
                <a:gd name="T75" fmla="*/ 2 h 29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49"/>
                <a:gd name="T115" fmla="*/ 0 h 295"/>
                <a:gd name="T116" fmla="*/ 449 w 449"/>
                <a:gd name="T117" fmla="*/ 295 h 29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49" h="295">
                  <a:moveTo>
                    <a:pt x="298" y="116"/>
                  </a:moveTo>
                  <a:lnTo>
                    <a:pt x="288" y="139"/>
                  </a:lnTo>
                  <a:lnTo>
                    <a:pt x="286" y="172"/>
                  </a:lnTo>
                  <a:lnTo>
                    <a:pt x="296" y="184"/>
                  </a:lnTo>
                  <a:lnTo>
                    <a:pt x="296" y="196"/>
                  </a:lnTo>
                  <a:lnTo>
                    <a:pt x="317" y="229"/>
                  </a:lnTo>
                  <a:lnTo>
                    <a:pt x="340" y="239"/>
                  </a:lnTo>
                  <a:lnTo>
                    <a:pt x="366" y="231"/>
                  </a:lnTo>
                  <a:lnTo>
                    <a:pt x="385" y="231"/>
                  </a:lnTo>
                  <a:lnTo>
                    <a:pt x="383" y="229"/>
                  </a:lnTo>
                  <a:lnTo>
                    <a:pt x="392" y="222"/>
                  </a:lnTo>
                  <a:lnTo>
                    <a:pt x="397" y="194"/>
                  </a:lnTo>
                  <a:lnTo>
                    <a:pt x="404" y="191"/>
                  </a:lnTo>
                  <a:lnTo>
                    <a:pt x="433" y="184"/>
                  </a:lnTo>
                  <a:lnTo>
                    <a:pt x="449" y="189"/>
                  </a:lnTo>
                  <a:lnTo>
                    <a:pt x="437" y="234"/>
                  </a:lnTo>
                  <a:lnTo>
                    <a:pt x="435" y="243"/>
                  </a:lnTo>
                  <a:lnTo>
                    <a:pt x="428" y="234"/>
                  </a:lnTo>
                  <a:lnTo>
                    <a:pt x="425" y="234"/>
                  </a:lnTo>
                  <a:lnTo>
                    <a:pt x="416" y="243"/>
                  </a:lnTo>
                  <a:lnTo>
                    <a:pt x="392" y="243"/>
                  </a:lnTo>
                  <a:lnTo>
                    <a:pt x="383" y="250"/>
                  </a:lnTo>
                  <a:lnTo>
                    <a:pt x="395" y="267"/>
                  </a:lnTo>
                  <a:lnTo>
                    <a:pt x="381" y="272"/>
                  </a:lnTo>
                  <a:lnTo>
                    <a:pt x="369" y="295"/>
                  </a:lnTo>
                  <a:lnTo>
                    <a:pt x="340" y="272"/>
                  </a:lnTo>
                  <a:lnTo>
                    <a:pt x="326" y="269"/>
                  </a:lnTo>
                  <a:lnTo>
                    <a:pt x="310" y="276"/>
                  </a:lnTo>
                  <a:lnTo>
                    <a:pt x="284" y="272"/>
                  </a:lnTo>
                  <a:lnTo>
                    <a:pt x="239" y="253"/>
                  </a:lnTo>
                  <a:lnTo>
                    <a:pt x="225" y="241"/>
                  </a:lnTo>
                  <a:lnTo>
                    <a:pt x="203" y="236"/>
                  </a:lnTo>
                  <a:lnTo>
                    <a:pt x="180" y="220"/>
                  </a:lnTo>
                  <a:lnTo>
                    <a:pt x="170" y="205"/>
                  </a:lnTo>
                  <a:lnTo>
                    <a:pt x="177" y="191"/>
                  </a:lnTo>
                  <a:lnTo>
                    <a:pt x="170" y="172"/>
                  </a:lnTo>
                  <a:lnTo>
                    <a:pt x="130" y="125"/>
                  </a:lnTo>
                  <a:lnTo>
                    <a:pt x="114" y="118"/>
                  </a:lnTo>
                  <a:lnTo>
                    <a:pt x="116" y="109"/>
                  </a:lnTo>
                  <a:lnTo>
                    <a:pt x="97" y="90"/>
                  </a:lnTo>
                  <a:lnTo>
                    <a:pt x="97" y="83"/>
                  </a:lnTo>
                  <a:lnTo>
                    <a:pt x="88" y="80"/>
                  </a:lnTo>
                  <a:lnTo>
                    <a:pt x="74" y="64"/>
                  </a:lnTo>
                  <a:lnTo>
                    <a:pt x="59" y="26"/>
                  </a:lnTo>
                  <a:lnTo>
                    <a:pt x="48" y="19"/>
                  </a:lnTo>
                  <a:lnTo>
                    <a:pt x="33" y="16"/>
                  </a:lnTo>
                  <a:lnTo>
                    <a:pt x="36" y="42"/>
                  </a:lnTo>
                  <a:lnTo>
                    <a:pt x="83" y="106"/>
                  </a:lnTo>
                  <a:lnTo>
                    <a:pt x="97" y="142"/>
                  </a:lnTo>
                  <a:lnTo>
                    <a:pt x="102" y="142"/>
                  </a:lnTo>
                  <a:lnTo>
                    <a:pt x="114" y="158"/>
                  </a:lnTo>
                  <a:lnTo>
                    <a:pt x="104" y="165"/>
                  </a:lnTo>
                  <a:lnTo>
                    <a:pt x="99" y="153"/>
                  </a:lnTo>
                  <a:lnTo>
                    <a:pt x="71" y="132"/>
                  </a:lnTo>
                  <a:lnTo>
                    <a:pt x="74" y="128"/>
                  </a:lnTo>
                  <a:lnTo>
                    <a:pt x="71" y="111"/>
                  </a:lnTo>
                  <a:lnTo>
                    <a:pt x="40" y="94"/>
                  </a:lnTo>
                  <a:lnTo>
                    <a:pt x="31" y="83"/>
                  </a:lnTo>
                  <a:lnTo>
                    <a:pt x="38" y="85"/>
                  </a:lnTo>
                  <a:lnTo>
                    <a:pt x="45" y="73"/>
                  </a:lnTo>
                  <a:lnTo>
                    <a:pt x="22" y="52"/>
                  </a:lnTo>
                  <a:lnTo>
                    <a:pt x="0" y="2"/>
                  </a:lnTo>
                  <a:lnTo>
                    <a:pt x="31" y="0"/>
                  </a:lnTo>
                  <a:lnTo>
                    <a:pt x="90" y="24"/>
                  </a:lnTo>
                  <a:lnTo>
                    <a:pt x="159" y="16"/>
                  </a:lnTo>
                  <a:lnTo>
                    <a:pt x="180" y="35"/>
                  </a:lnTo>
                  <a:lnTo>
                    <a:pt x="185" y="50"/>
                  </a:lnTo>
                  <a:lnTo>
                    <a:pt x="199" y="61"/>
                  </a:lnTo>
                  <a:lnTo>
                    <a:pt x="208" y="61"/>
                  </a:lnTo>
                  <a:lnTo>
                    <a:pt x="215" y="50"/>
                  </a:lnTo>
                  <a:lnTo>
                    <a:pt x="232" y="50"/>
                  </a:lnTo>
                  <a:lnTo>
                    <a:pt x="267" y="106"/>
                  </a:lnTo>
                  <a:lnTo>
                    <a:pt x="298" y="116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9" name="Freeform 47"/>
            <p:cNvSpPr>
              <a:spLocks/>
            </p:cNvSpPr>
            <p:nvPr/>
          </p:nvSpPr>
          <p:spPr bwMode="auto">
            <a:xfrm>
              <a:off x="3077" y="3230"/>
              <a:ext cx="7" cy="20"/>
            </a:xfrm>
            <a:custGeom>
              <a:avLst/>
              <a:gdLst>
                <a:gd name="T0" fmla="*/ 1 w 12"/>
                <a:gd name="T1" fmla="*/ 1 h 38"/>
                <a:gd name="T2" fmla="*/ 1 w 12"/>
                <a:gd name="T3" fmla="*/ 1 h 38"/>
                <a:gd name="T4" fmla="*/ 1 w 12"/>
                <a:gd name="T5" fmla="*/ 0 h 38"/>
                <a:gd name="T6" fmla="*/ 1 w 12"/>
                <a:gd name="T7" fmla="*/ 0 h 38"/>
                <a:gd name="T8" fmla="*/ 0 w 12"/>
                <a:gd name="T9" fmla="*/ 1 h 38"/>
                <a:gd name="T10" fmla="*/ 0 w 12"/>
                <a:gd name="T11" fmla="*/ 1 h 38"/>
                <a:gd name="T12" fmla="*/ 1 w 12"/>
                <a:gd name="T13" fmla="*/ 1 h 38"/>
                <a:gd name="T14" fmla="*/ 1 w 12"/>
                <a:gd name="T15" fmla="*/ 1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38"/>
                <a:gd name="T26" fmla="*/ 12 w 12"/>
                <a:gd name="T27" fmla="*/ 38 h 3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38">
                  <a:moveTo>
                    <a:pt x="2" y="38"/>
                  </a:moveTo>
                  <a:lnTo>
                    <a:pt x="9" y="33"/>
                  </a:lnTo>
                  <a:lnTo>
                    <a:pt x="12" y="0"/>
                  </a:lnTo>
                  <a:lnTo>
                    <a:pt x="9" y="0"/>
                  </a:lnTo>
                  <a:lnTo>
                    <a:pt x="0" y="9"/>
                  </a:lnTo>
                  <a:lnTo>
                    <a:pt x="0" y="35"/>
                  </a:lnTo>
                  <a:lnTo>
                    <a:pt x="2" y="38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0" name="Freeform 48"/>
            <p:cNvSpPr>
              <a:spLocks/>
            </p:cNvSpPr>
            <p:nvPr/>
          </p:nvSpPr>
          <p:spPr bwMode="auto">
            <a:xfrm>
              <a:off x="3049" y="3235"/>
              <a:ext cx="35" cy="33"/>
            </a:xfrm>
            <a:custGeom>
              <a:avLst/>
              <a:gdLst>
                <a:gd name="T0" fmla="*/ 1 w 59"/>
                <a:gd name="T1" fmla="*/ 1 h 64"/>
                <a:gd name="T2" fmla="*/ 1 w 59"/>
                <a:gd name="T3" fmla="*/ 1 h 64"/>
                <a:gd name="T4" fmla="*/ 1 w 59"/>
                <a:gd name="T5" fmla="*/ 1 h 64"/>
                <a:gd name="T6" fmla="*/ 1 w 59"/>
                <a:gd name="T7" fmla="*/ 1 h 64"/>
                <a:gd name="T8" fmla="*/ 1 w 59"/>
                <a:gd name="T9" fmla="*/ 1 h 64"/>
                <a:gd name="T10" fmla="*/ 1 w 59"/>
                <a:gd name="T11" fmla="*/ 1 h 64"/>
                <a:gd name="T12" fmla="*/ 0 w 59"/>
                <a:gd name="T13" fmla="*/ 1 h 64"/>
                <a:gd name="T14" fmla="*/ 0 w 59"/>
                <a:gd name="T15" fmla="*/ 1 h 64"/>
                <a:gd name="T16" fmla="*/ 1 w 59"/>
                <a:gd name="T17" fmla="*/ 1 h 64"/>
                <a:gd name="T18" fmla="*/ 1 w 59"/>
                <a:gd name="T19" fmla="*/ 1 h 64"/>
                <a:gd name="T20" fmla="*/ 1 w 59"/>
                <a:gd name="T21" fmla="*/ 1 h 64"/>
                <a:gd name="T22" fmla="*/ 1 w 59"/>
                <a:gd name="T23" fmla="*/ 0 h 64"/>
                <a:gd name="T24" fmla="*/ 1 w 59"/>
                <a:gd name="T25" fmla="*/ 0 h 64"/>
                <a:gd name="T26" fmla="*/ 1 w 59"/>
                <a:gd name="T27" fmla="*/ 1 h 64"/>
                <a:gd name="T28" fmla="*/ 1 w 59"/>
                <a:gd name="T29" fmla="*/ 1 h 64"/>
                <a:gd name="T30" fmla="*/ 1 w 59"/>
                <a:gd name="T31" fmla="*/ 1 h 6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9"/>
                <a:gd name="T49" fmla="*/ 0 h 64"/>
                <a:gd name="T50" fmla="*/ 59 w 59"/>
                <a:gd name="T51" fmla="*/ 64 h 6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9" h="64">
                  <a:moveTo>
                    <a:pt x="49" y="29"/>
                  </a:moveTo>
                  <a:lnTo>
                    <a:pt x="59" y="33"/>
                  </a:lnTo>
                  <a:lnTo>
                    <a:pt x="42" y="52"/>
                  </a:lnTo>
                  <a:lnTo>
                    <a:pt x="33" y="64"/>
                  </a:lnTo>
                  <a:lnTo>
                    <a:pt x="0" y="52"/>
                  </a:lnTo>
                  <a:lnTo>
                    <a:pt x="12" y="29"/>
                  </a:lnTo>
                  <a:lnTo>
                    <a:pt x="26" y="24"/>
                  </a:lnTo>
                  <a:lnTo>
                    <a:pt x="14" y="7"/>
                  </a:lnTo>
                  <a:lnTo>
                    <a:pt x="23" y="0"/>
                  </a:lnTo>
                  <a:lnTo>
                    <a:pt x="47" y="0"/>
                  </a:lnTo>
                  <a:lnTo>
                    <a:pt x="47" y="26"/>
                  </a:lnTo>
                  <a:lnTo>
                    <a:pt x="49" y="29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1" name="Freeform 49"/>
            <p:cNvSpPr>
              <a:spLocks/>
            </p:cNvSpPr>
            <p:nvPr/>
          </p:nvSpPr>
          <p:spPr bwMode="auto">
            <a:xfrm>
              <a:off x="3074" y="3251"/>
              <a:ext cx="56" cy="24"/>
            </a:xfrm>
            <a:custGeom>
              <a:avLst/>
              <a:gdLst>
                <a:gd name="T0" fmla="*/ 1 w 95"/>
                <a:gd name="T1" fmla="*/ 1 h 45"/>
                <a:gd name="T2" fmla="*/ 1 w 95"/>
                <a:gd name="T3" fmla="*/ 1 h 45"/>
                <a:gd name="T4" fmla="*/ 2 w 95"/>
                <a:gd name="T5" fmla="*/ 0 h 45"/>
                <a:gd name="T6" fmla="*/ 2 w 95"/>
                <a:gd name="T7" fmla="*/ 1 h 45"/>
                <a:gd name="T8" fmla="*/ 2 w 95"/>
                <a:gd name="T9" fmla="*/ 1 h 45"/>
                <a:gd name="T10" fmla="*/ 2 w 95"/>
                <a:gd name="T11" fmla="*/ 1 h 45"/>
                <a:gd name="T12" fmla="*/ 1 w 95"/>
                <a:gd name="T13" fmla="*/ 1 h 45"/>
                <a:gd name="T14" fmla="*/ 1 w 95"/>
                <a:gd name="T15" fmla="*/ 1 h 45"/>
                <a:gd name="T16" fmla="*/ 1 w 95"/>
                <a:gd name="T17" fmla="*/ 1 h 45"/>
                <a:gd name="T18" fmla="*/ 1 w 95"/>
                <a:gd name="T19" fmla="*/ 1 h 45"/>
                <a:gd name="T20" fmla="*/ 1 w 95"/>
                <a:gd name="T21" fmla="*/ 1 h 45"/>
                <a:gd name="T22" fmla="*/ 0 w 95"/>
                <a:gd name="T23" fmla="*/ 1 h 45"/>
                <a:gd name="T24" fmla="*/ 1 w 95"/>
                <a:gd name="T25" fmla="*/ 1 h 45"/>
                <a:gd name="T26" fmla="*/ 1 w 95"/>
                <a:gd name="T27" fmla="*/ 1 h 4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5"/>
                <a:gd name="T43" fmla="*/ 0 h 45"/>
                <a:gd name="T44" fmla="*/ 95 w 95"/>
                <a:gd name="T45" fmla="*/ 45 h 4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5" h="45">
                  <a:moveTo>
                    <a:pt x="17" y="2"/>
                  </a:moveTo>
                  <a:lnTo>
                    <a:pt x="19" y="5"/>
                  </a:lnTo>
                  <a:lnTo>
                    <a:pt x="66" y="0"/>
                  </a:lnTo>
                  <a:lnTo>
                    <a:pt x="95" y="14"/>
                  </a:lnTo>
                  <a:lnTo>
                    <a:pt x="92" y="14"/>
                  </a:lnTo>
                  <a:lnTo>
                    <a:pt x="69" y="19"/>
                  </a:lnTo>
                  <a:lnTo>
                    <a:pt x="31" y="45"/>
                  </a:lnTo>
                  <a:lnTo>
                    <a:pt x="33" y="45"/>
                  </a:lnTo>
                  <a:lnTo>
                    <a:pt x="26" y="38"/>
                  </a:lnTo>
                  <a:lnTo>
                    <a:pt x="24" y="33"/>
                  </a:lnTo>
                  <a:lnTo>
                    <a:pt x="0" y="2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2" name="Freeform 50"/>
            <p:cNvSpPr>
              <a:spLocks/>
            </p:cNvSpPr>
            <p:nvPr/>
          </p:nvSpPr>
          <p:spPr bwMode="auto">
            <a:xfrm>
              <a:off x="3068" y="3262"/>
              <a:ext cx="21" cy="11"/>
            </a:xfrm>
            <a:custGeom>
              <a:avLst/>
              <a:gdLst>
                <a:gd name="T0" fmla="*/ 1 w 35"/>
                <a:gd name="T1" fmla="*/ 0 h 21"/>
                <a:gd name="T2" fmla="*/ 0 w 35"/>
                <a:gd name="T3" fmla="*/ 1 h 21"/>
                <a:gd name="T4" fmla="*/ 0 w 35"/>
                <a:gd name="T5" fmla="*/ 1 h 21"/>
                <a:gd name="T6" fmla="*/ 1 w 35"/>
                <a:gd name="T7" fmla="*/ 1 h 21"/>
                <a:gd name="T8" fmla="*/ 1 w 35"/>
                <a:gd name="T9" fmla="*/ 1 h 21"/>
                <a:gd name="T10" fmla="*/ 1 w 35"/>
                <a:gd name="T11" fmla="*/ 1 h 21"/>
                <a:gd name="T12" fmla="*/ 1 w 35"/>
                <a:gd name="T13" fmla="*/ 1 h 21"/>
                <a:gd name="T14" fmla="*/ 1 w 35"/>
                <a:gd name="T15" fmla="*/ 1 h 21"/>
                <a:gd name="T16" fmla="*/ 1 w 35"/>
                <a:gd name="T17" fmla="*/ 0 h 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5"/>
                <a:gd name="T28" fmla="*/ 0 h 21"/>
                <a:gd name="T29" fmla="*/ 35 w 35"/>
                <a:gd name="T30" fmla="*/ 21 h 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5" h="21">
                  <a:moveTo>
                    <a:pt x="9" y="0"/>
                  </a:moveTo>
                  <a:lnTo>
                    <a:pt x="0" y="12"/>
                  </a:lnTo>
                  <a:lnTo>
                    <a:pt x="5" y="17"/>
                  </a:lnTo>
                  <a:lnTo>
                    <a:pt x="33" y="21"/>
                  </a:lnTo>
                  <a:lnTo>
                    <a:pt x="35" y="17"/>
                  </a:lnTo>
                  <a:lnTo>
                    <a:pt x="33" y="12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3" name="Freeform 51"/>
            <p:cNvSpPr>
              <a:spLocks/>
            </p:cNvSpPr>
            <p:nvPr/>
          </p:nvSpPr>
          <p:spPr bwMode="auto">
            <a:xfrm>
              <a:off x="3092" y="3258"/>
              <a:ext cx="38" cy="33"/>
            </a:xfrm>
            <a:custGeom>
              <a:avLst/>
              <a:gdLst>
                <a:gd name="T0" fmla="*/ 2 w 64"/>
                <a:gd name="T1" fmla="*/ 0 h 62"/>
                <a:gd name="T2" fmla="*/ 1 w 64"/>
                <a:gd name="T3" fmla="*/ 1 h 62"/>
                <a:gd name="T4" fmla="*/ 1 w 64"/>
                <a:gd name="T5" fmla="*/ 1 h 62"/>
                <a:gd name="T6" fmla="*/ 1 w 64"/>
                <a:gd name="T7" fmla="*/ 1 h 62"/>
                <a:gd name="T8" fmla="*/ 1 w 64"/>
                <a:gd name="T9" fmla="*/ 1 h 62"/>
                <a:gd name="T10" fmla="*/ 1 w 64"/>
                <a:gd name="T11" fmla="*/ 1 h 62"/>
                <a:gd name="T12" fmla="*/ 1 w 64"/>
                <a:gd name="T13" fmla="*/ 1 h 62"/>
                <a:gd name="T14" fmla="*/ 0 w 64"/>
                <a:gd name="T15" fmla="*/ 1 h 62"/>
                <a:gd name="T16" fmla="*/ 1 w 64"/>
                <a:gd name="T17" fmla="*/ 1 h 62"/>
                <a:gd name="T18" fmla="*/ 0 w 64"/>
                <a:gd name="T19" fmla="*/ 1 h 62"/>
                <a:gd name="T20" fmla="*/ 1 w 64"/>
                <a:gd name="T21" fmla="*/ 1 h 62"/>
                <a:gd name="T22" fmla="*/ 1 w 64"/>
                <a:gd name="T23" fmla="*/ 0 h 62"/>
                <a:gd name="T24" fmla="*/ 2 w 64"/>
                <a:gd name="T25" fmla="*/ 0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"/>
                <a:gd name="T40" fmla="*/ 0 h 62"/>
                <a:gd name="T41" fmla="*/ 64 w 64"/>
                <a:gd name="T42" fmla="*/ 62 h 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" h="62">
                  <a:moveTo>
                    <a:pt x="64" y="0"/>
                  </a:moveTo>
                  <a:lnTo>
                    <a:pt x="61" y="12"/>
                  </a:lnTo>
                  <a:lnTo>
                    <a:pt x="54" y="57"/>
                  </a:lnTo>
                  <a:lnTo>
                    <a:pt x="57" y="62"/>
                  </a:lnTo>
                  <a:lnTo>
                    <a:pt x="54" y="62"/>
                  </a:lnTo>
                  <a:lnTo>
                    <a:pt x="24" y="59"/>
                  </a:lnTo>
                  <a:lnTo>
                    <a:pt x="0" y="36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38" y="5"/>
                  </a:lnTo>
                  <a:lnTo>
                    <a:pt x="61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4" name="Freeform 52"/>
            <p:cNvSpPr>
              <a:spLocks/>
            </p:cNvSpPr>
            <p:nvPr/>
          </p:nvSpPr>
          <p:spPr bwMode="auto">
            <a:xfrm>
              <a:off x="3106" y="3289"/>
              <a:ext cx="29" cy="22"/>
            </a:xfrm>
            <a:custGeom>
              <a:avLst/>
              <a:gdLst>
                <a:gd name="T0" fmla="*/ 1 w 49"/>
                <a:gd name="T1" fmla="*/ 1 h 43"/>
                <a:gd name="T2" fmla="*/ 1 w 49"/>
                <a:gd name="T3" fmla="*/ 1 h 43"/>
                <a:gd name="T4" fmla="*/ 1 w 49"/>
                <a:gd name="T5" fmla="*/ 1 h 43"/>
                <a:gd name="T6" fmla="*/ 1 w 49"/>
                <a:gd name="T7" fmla="*/ 1 h 43"/>
                <a:gd name="T8" fmla="*/ 1 w 49"/>
                <a:gd name="T9" fmla="*/ 1 h 43"/>
                <a:gd name="T10" fmla="*/ 1 w 49"/>
                <a:gd name="T11" fmla="*/ 1 h 43"/>
                <a:gd name="T12" fmla="*/ 0 w 49"/>
                <a:gd name="T13" fmla="*/ 0 h 43"/>
                <a:gd name="T14" fmla="*/ 0 w 49"/>
                <a:gd name="T15" fmla="*/ 0 h 43"/>
                <a:gd name="T16" fmla="*/ 1 w 49"/>
                <a:gd name="T17" fmla="*/ 1 h 43"/>
                <a:gd name="T18" fmla="*/ 1 w 49"/>
                <a:gd name="T19" fmla="*/ 1 h 43"/>
                <a:gd name="T20" fmla="*/ 1 w 49"/>
                <a:gd name="T21" fmla="*/ 1 h 43"/>
                <a:gd name="T22" fmla="*/ 1 w 49"/>
                <a:gd name="T23" fmla="*/ 1 h 43"/>
                <a:gd name="T24" fmla="*/ 1 w 49"/>
                <a:gd name="T25" fmla="*/ 1 h 43"/>
                <a:gd name="T26" fmla="*/ 1 w 49"/>
                <a:gd name="T27" fmla="*/ 1 h 43"/>
                <a:gd name="T28" fmla="*/ 1 w 49"/>
                <a:gd name="T29" fmla="*/ 1 h 4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9"/>
                <a:gd name="T46" fmla="*/ 0 h 43"/>
                <a:gd name="T47" fmla="*/ 49 w 49"/>
                <a:gd name="T48" fmla="*/ 43 h 4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9" h="43">
                  <a:moveTo>
                    <a:pt x="42" y="43"/>
                  </a:moveTo>
                  <a:lnTo>
                    <a:pt x="47" y="21"/>
                  </a:lnTo>
                  <a:lnTo>
                    <a:pt x="49" y="21"/>
                  </a:lnTo>
                  <a:lnTo>
                    <a:pt x="40" y="17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0" y="0"/>
                  </a:lnTo>
                  <a:lnTo>
                    <a:pt x="2" y="19"/>
                  </a:lnTo>
                  <a:lnTo>
                    <a:pt x="9" y="21"/>
                  </a:lnTo>
                  <a:lnTo>
                    <a:pt x="14" y="17"/>
                  </a:lnTo>
                  <a:lnTo>
                    <a:pt x="30" y="31"/>
                  </a:lnTo>
                  <a:lnTo>
                    <a:pt x="30" y="38"/>
                  </a:lnTo>
                  <a:lnTo>
                    <a:pt x="42" y="43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5" name="Freeform 53"/>
            <p:cNvSpPr>
              <a:spLocks/>
            </p:cNvSpPr>
            <p:nvPr/>
          </p:nvSpPr>
          <p:spPr bwMode="auto">
            <a:xfrm>
              <a:off x="3131" y="3300"/>
              <a:ext cx="30" cy="20"/>
            </a:xfrm>
            <a:custGeom>
              <a:avLst/>
              <a:gdLst>
                <a:gd name="T0" fmla="*/ 0 w 50"/>
                <a:gd name="T1" fmla="*/ 1 h 38"/>
                <a:gd name="T2" fmla="*/ 1 w 50"/>
                <a:gd name="T3" fmla="*/ 1 h 38"/>
                <a:gd name="T4" fmla="*/ 1 w 50"/>
                <a:gd name="T5" fmla="*/ 1 h 38"/>
                <a:gd name="T6" fmla="*/ 1 w 50"/>
                <a:gd name="T7" fmla="*/ 1 h 38"/>
                <a:gd name="T8" fmla="*/ 1 w 50"/>
                <a:gd name="T9" fmla="*/ 1 h 38"/>
                <a:gd name="T10" fmla="*/ 1 w 50"/>
                <a:gd name="T11" fmla="*/ 1 h 38"/>
                <a:gd name="T12" fmla="*/ 1 w 50"/>
                <a:gd name="T13" fmla="*/ 1 h 38"/>
                <a:gd name="T14" fmla="*/ 1 w 50"/>
                <a:gd name="T15" fmla="*/ 1 h 38"/>
                <a:gd name="T16" fmla="*/ 1 w 50"/>
                <a:gd name="T17" fmla="*/ 1 h 38"/>
                <a:gd name="T18" fmla="*/ 1 w 50"/>
                <a:gd name="T19" fmla="*/ 1 h 38"/>
                <a:gd name="T20" fmla="*/ 1 w 50"/>
                <a:gd name="T21" fmla="*/ 1 h 38"/>
                <a:gd name="T22" fmla="*/ 1 w 50"/>
                <a:gd name="T23" fmla="*/ 0 h 38"/>
                <a:gd name="T24" fmla="*/ 1 w 50"/>
                <a:gd name="T25" fmla="*/ 0 h 38"/>
                <a:gd name="T26" fmla="*/ 0 w 50"/>
                <a:gd name="T27" fmla="*/ 1 h 38"/>
                <a:gd name="T28" fmla="*/ 0 w 50"/>
                <a:gd name="T29" fmla="*/ 1 h 3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0"/>
                <a:gd name="T46" fmla="*/ 0 h 38"/>
                <a:gd name="T47" fmla="*/ 50 w 50"/>
                <a:gd name="T48" fmla="*/ 38 h 3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0" h="38">
                  <a:moveTo>
                    <a:pt x="0" y="22"/>
                  </a:moveTo>
                  <a:lnTo>
                    <a:pt x="29" y="29"/>
                  </a:lnTo>
                  <a:lnTo>
                    <a:pt x="31" y="38"/>
                  </a:lnTo>
                  <a:lnTo>
                    <a:pt x="45" y="34"/>
                  </a:lnTo>
                  <a:lnTo>
                    <a:pt x="36" y="24"/>
                  </a:lnTo>
                  <a:lnTo>
                    <a:pt x="50" y="15"/>
                  </a:lnTo>
                  <a:lnTo>
                    <a:pt x="43" y="8"/>
                  </a:lnTo>
                  <a:lnTo>
                    <a:pt x="24" y="15"/>
                  </a:lnTo>
                  <a:lnTo>
                    <a:pt x="12" y="10"/>
                  </a:lnTo>
                  <a:lnTo>
                    <a:pt x="7" y="0"/>
                  </a:lnTo>
                  <a:lnTo>
                    <a:pt x="5" y="0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6" name="Freeform 54"/>
            <p:cNvSpPr>
              <a:spLocks/>
            </p:cNvSpPr>
            <p:nvPr/>
          </p:nvSpPr>
          <p:spPr bwMode="auto">
            <a:xfrm>
              <a:off x="3159" y="3301"/>
              <a:ext cx="22" cy="19"/>
            </a:xfrm>
            <a:custGeom>
              <a:avLst/>
              <a:gdLst>
                <a:gd name="T0" fmla="*/ 1 w 38"/>
                <a:gd name="T1" fmla="*/ 1 h 35"/>
                <a:gd name="T2" fmla="*/ 1 w 38"/>
                <a:gd name="T3" fmla="*/ 1 h 35"/>
                <a:gd name="T4" fmla="*/ 1 w 38"/>
                <a:gd name="T5" fmla="*/ 1 h 35"/>
                <a:gd name="T6" fmla="*/ 1 w 38"/>
                <a:gd name="T7" fmla="*/ 1 h 35"/>
                <a:gd name="T8" fmla="*/ 1 w 38"/>
                <a:gd name="T9" fmla="*/ 1 h 35"/>
                <a:gd name="T10" fmla="*/ 1 w 38"/>
                <a:gd name="T11" fmla="*/ 1 h 35"/>
                <a:gd name="T12" fmla="*/ 1 w 38"/>
                <a:gd name="T13" fmla="*/ 1 h 35"/>
                <a:gd name="T14" fmla="*/ 1 w 38"/>
                <a:gd name="T15" fmla="*/ 1 h 35"/>
                <a:gd name="T16" fmla="*/ 0 w 38"/>
                <a:gd name="T17" fmla="*/ 1 h 35"/>
                <a:gd name="T18" fmla="*/ 0 w 38"/>
                <a:gd name="T19" fmla="*/ 1 h 35"/>
                <a:gd name="T20" fmla="*/ 1 w 38"/>
                <a:gd name="T21" fmla="*/ 0 h 35"/>
                <a:gd name="T22" fmla="*/ 1 w 38"/>
                <a:gd name="T23" fmla="*/ 1 h 35"/>
                <a:gd name="T24" fmla="*/ 1 w 38"/>
                <a:gd name="T25" fmla="*/ 1 h 35"/>
                <a:gd name="T26" fmla="*/ 1 w 38"/>
                <a:gd name="T27" fmla="*/ 1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8"/>
                <a:gd name="T43" fmla="*/ 0 h 35"/>
                <a:gd name="T44" fmla="*/ 38 w 38"/>
                <a:gd name="T45" fmla="*/ 35 h 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8" h="35">
                  <a:moveTo>
                    <a:pt x="36" y="14"/>
                  </a:moveTo>
                  <a:lnTo>
                    <a:pt x="38" y="23"/>
                  </a:lnTo>
                  <a:lnTo>
                    <a:pt x="29" y="33"/>
                  </a:lnTo>
                  <a:lnTo>
                    <a:pt x="29" y="35"/>
                  </a:lnTo>
                  <a:lnTo>
                    <a:pt x="22" y="23"/>
                  </a:lnTo>
                  <a:lnTo>
                    <a:pt x="24" y="19"/>
                  </a:lnTo>
                  <a:lnTo>
                    <a:pt x="5" y="7"/>
                  </a:lnTo>
                  <a:lnTo>
                    <a:pt x="0" y="2"/>
                  </a:lnTo>
                  <a:lnTo>
                    <a:pt x="12" y="0"/>
                  </a:lnTo>
                  <a:lnTo>
                    <a:pt x="24" y="2"/>
                  </a:lnTo>
                  <a:lnTo>
                    <a:pt x="36" y="14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7" name="Freeform 55"/>
            <p:cNvSpPr>
              <a:spLocks/>
            </p:cNvSpPr>
            <p:nvPr/>
          </p:nvSpPr>
          <p:spPr bwMode="auto">
            <a:xfrm>
              <a:off x="3157" y="3303"/>
              <a:ext cx="5" cy="5"/>
            </a:xfrm>
            <a:custGeom>
              <a:avLst/>
              <a:gdLst>
                <a:gd name="T0" fmla="*/ 1 w 9"/>
                <a:gd name="T1" fmla="*/ 1 h 10"/>
                <a:gd name="T2" fmla="*/ 1 w 9"/>
                <a:gd name="T3" fmla="*/ 0 h 10"/>
                <a:gd name="T4" fmla="*/ 1 w 9"/>
                <a:gd name="T5" fmla="*/ 0 h 10"/>
                <a:gd name="T6" fmla="*/ 0 w 9"/>
                <a:gd name="T7" fmla="*/ 1 h 10"/>
                <a:gd name="T8" fmla="*/ 0 w 9"/>
                <a:gd name="T9" fmla="*/ 1 h 10"/>
                <a:gd name="T10" fmla="*/ 1 w 9"/>
                <a:gd name="T11" fmla="*/ 1 h 10"/>
                <a:gd name="T12" fmla="*/ 1 w 9"/>
                <a:gd name="T13" fmla="*/ 1 h 10"/>
                <a:gd name="T14" fmla="*/ 1 w 9"/>
                <a:gd name="T15" fmla="*/ 1 h 10"/>
                <a:gd name="T16" fmla="*/ 1 w 9"/>
                <a:gd name="T17" fmla="*/ 1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10"/>
                <a:gd name="T29" fmla="*/ 9 w 9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10">
                  <a:moveTo>
                    <a:pt x="9" y="5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7" y="10"/>
                  </a:lnTo>
                  <a:lnTo>
                    <a:pt x="9" y="5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8" name="Freeform 56"/>
            <p:cNvSpPr>
              <a:spLocks/>
            </p:cNvSpPr>
            <p:nvPr/>
          </p:nvSpPr>
          <p:spPr bwMode="auto">
            <a:xfrm>
              <a:off x="3229" y="3219"/>
              <a:ext cx="31" cy="18"/>
            </a:xfrm>
            <a:custGeom>
              <a:avLst/>
              <a:gdLst>
                <a:gd name="T0" fmla="*/ 0 w 52"/>
                <a:gd name="T1" fmla="*/ 1 h 35"/>
                <a:gd name="T2" fmla="*/ 1 w 52"/>
                <a:gd name="T3" fmla="*/ 0 h 35"/>
                <a:gd name="T4" fmla="*/ 1 w 52"/>
                <a:gd name="T5" fmla="*/ 0 h 35"/>
                <a:gd name="T6" fmla="*/ 1 w 52"/>
                <a:gd name="T7" fmla="*/ 1 h 35"/>
                <a:gd name="T8" fmla="*/ 1 w 52"/>
                <a:gd name="T9" fmla="*/ 1 h 35"/>
                <a:gd name="T10" fmla="*/ 1 w 52"/>
                <a:gd name="T11" fmla="*/ 1 h 35"/>
                <a:gd name="T12" fmla="*/ 1 w 52"/>
                <a:gd name="T13" fmla="*/ 1 h 35"/>
                <a:gd name="T14" fmla="*/ 1 w 52"/>
                <a:gd name="T15" fmla="*/ 1 h 35"/>
                <a:gd name="T16" fmla="*/ 1 w 52"/>
                <a:gd name="T17" fmla="*/ 1 h 35"/>
                <a:gd name="T18" fmla="*/ 1 w 52"/>
                <a:gd name="T19" fmla="*/ 1 h 35"/>
                <a:gd name="T20" fmla="*/ 1 w 52"/>
                <a:gd name="T21" fmla="*/ 1 h 35"/>
                <a:gd name="T22" fmla="*/ 1 w 52"/>
                <a:gd name="T23" fmla="*/ 1 h 35"/>
                <a:gd name="T24" fmla="*/ 1 w 52"/>
                <a:gd name="T25" fmla="*/ 1 h 35"/>
                <a:gd name="T26" fmla="*/ 1 w 52"/>
                <a:gd name="T27" fmla="*/ 1 h 35"/>
                <a:gd name="T28" fmla="*/ 0 w 52"/>
                <a:gd name="T29" fmla="*/ 1 h 35"/>
                <a:gd name="T30" fmla="*/ 0 w 52"/>
                <a:gd name="T31" fmla="*/ 1 h 3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"/>
                <a:gd name="T49" fmla="*/ 0 h 35"/>
                <a:gd name="T50" fmla="*/ 52 w 52"/>
                <a:gd name="T51" fmla="*/ 35 h 3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" h="35">
                  <a:moveTo>
                    <a:pt x="0" y="28"/>
                  </a:moveTo>
                  <a:lnTo>
                    <a:pt x="2" y="0"/>
                  </a:lnTo>
                  <a:lnTo>
                    <a:pt x="28" y="2"/>
                  </a:lnTo>
                  <a:lnTo>
                    <a:pt x="30" y="7"/>
                  </a:lnTo>
                  <a:lnTo>
                    <a:pt x="40" y="7"/>
                  </a:lnTo>
                  <a:lnTo>
                    <a:pt x="35" y="11"/>
                  </a:lnTo>
                  <a:lnTo>
                    <a:pt x="52" y="21"/>
                  </a:lnTo>
                  <a:lnTo>
                    <a:pt x="47" y="28"/>
                  </a:lnTo>
                  <a:lnTo>
                    <a:pt x="42" y="21"/>
                  </a:lnTo>
                  <a:lnTo>
                    <a:pt x="18" y="26"/>
                  </a:lnTo>
                  <a:lnTo>
                    <a:pt x="18" y="21"/>
                  </a:lnTo>
                  <a:lnTo>
                    <a:pt x="11" y="26"/>
                  </a:lnTo>
                  <a:lnTo>
                    <a:pt x="7" y="35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9" name="Freeform 57"/>
            <p:cNvSpPr>
              <a:spLocks/>
            </p:cNvSpPr>
            <p:nvPr/>
          </p:nvSpPr>
          <p:spPr bwMode="auto">
            <a:xfrm>
              <a:off x="3205" y="3218"/>
              <a:ext cx="26" cy="16"/>
            </a:xfrm>
            <a:custGeom>
              <a:avLst/>
              <a:gdLst>
                <a:gd name="T0" fmla="*/ 1 w 43"/>
                <a:gd name="T1" fmla="*/ 1 h 31"/>
                <a:gd name="T2" fmla="*/ 1 w 43"/>
                <a:gd name="T3" fmla="*/ 1 h 31"/>
                <a:gd name="T4" fmla="*/ 1 w 43"/>
                <a:gd name="T5" fmla="*/ 1 h 31"/>
                <a:gd name="T6" fmla="*/ 1 w 43"/>
                <a:gd name="T7" fmla="*/ 0 h 31"/>
                <a:gd name="T8" fmla="*/ 1 w 43"/>
                <a:gd name="T9" fmla="*/ 1 h 31"/>
                <a:gd name="T10" fmla="*/ 1 w 43"/>
                <a:gd name="T11" fmla="*/ 1 h 31"/>
                <a:gd name="T12" fmla="*/ 1 w 43"/>
                <a:gd name="T13" fmla="*/ 1 h 31"/>
                <a:gd name="T14" fmla="*/ 0 w 43"/>
                <a:gd name="T15" fmla="*/ 1 h 31"/>
                <a:gd name="T16" fmla="*/ 1 w 43"/>
                <a:gd name="T17" fmla="*/ 1 h 31"/>
                <a:gd name="T18" fmla="*/ 1 w 43"/>
                <a:gd name="T19" fmla="*/ 1 h 31"/>
                <a:gd name="T20" fmla="*/ 1 w 43"/>
                <a:gd name="T21" fmla="*/ 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3"/>
                <a:gd name="T34" fmla="*/ 0 h 31"/>
                <a:gd name="T35" fmla="*/ 43 w 4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3" h="31">
                  <a:moveTo>
                    <a:pt x="41" y="31"/>
                  </a:moveTo>
                  <a:lnTo>
                    <a:pt x="43" y="3"/>
                  </a:lnTo>
                  <a:lnTo>
                    <a:pt x="22" y="0"/>
                  </a:lnTo>
                  <a:lnTo>
                    <a:pt x="17" y="5"/>
                  </a:lnTo>
                  <a:lnTo>
                    <a:pt x="24" y="5"/>
                  </a:lnTo>
                  <a:lnTo>
                    <a:pt x="33" y="21"/>
                  </a:lnTo>
                  <a:lnTo>
                    <a:pt x="0" y="26"/>
                  </a:lnTo>
                  <a:lnTo>
                    <a:pt x="12" y="31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0" name="Freeform 58"/>
            <p:cNvSpPr>
              <a:spLocks/>
            </p:cNvSpPr>
            <p:nvPr/>
          </p:nvSpPr>
          <p:spPr bwMode="auto">
            <a:xfrm>
              <a:off x="3166" y="3279"/>
              <a:ext cx="103" cy="128"/>
            </a:xfrm>
            <a:custGeom>
              <a:avLst/>
              <a:gdLst>
                <a:gd name="T0" fmla="*/ 4 w 173"/>
                <a:gd name="T1" fmla="*/ 3 h 246"/>
                <a:gd name="T2" fmla="*/ 4 w 173"/>
                <a:gd name="T3" fmla="*/ 2 h 246"/>
                <a:gd name="T4" fmla="*/ 4 w 173"/>
                <a:gd name="T5" fmla="*/ 2 h 246"/>
                <a:gd name="T6" fmla="*/ 4 w 173"/>
                <a:gd name="T7" fmla="*/ 2 h 246"/>
                <a:gd name="T8" fmla="*/ 4 w 173"/>
                <a:gd name="T9" fmla="*/ 2 h 246"/>
                <a:gd name="T10" fmla="*/ 4 w 173"/>
                <a:gd name="T11" fmla="*/ 2 h 246"/>
                <a:gd name="T12" fmla="*/ 5 w 173"/>
                <a:gd name="T13" fmla="*/ 2 h 246"/>
                <a:gd name="T14" fmla="*/ 5 w 173"/>
                <a:gd name="T15" fmla="*/ 2 h 246"/>
                <a:gd name="T16" fmla="*/ 5 w 173"/>
                <a:gd name="T17" fmla="*/ 2 h 246"/>
                <a:gd name="T18" fmla="*/ 5 w 173"/>
                <a:gd name="T19" fmla="*/ 2 h 246"/>
                <a:gd name="T20" fmla="*/ 5 w 173"/>
                <a:gd name="T21" fmla="*/ 1 h 246"/>
                <a:gd name="T22" fmla="*/ 5 w 173"/>
                <a:gd name="T23" fmla="*/ 1 h 246"/>
                <a:gd name="T24" fmla="*/ 4 w 173"/>
                <a:gd name="T25" fmla="*/ 1 h 246"/>
                <a:gd name="T26" fmla="*/ 4 w 173"/>
                <a:gd name="T27" fmla="*/ 1 h 246"/>
                <a:gd name="T28" fmla="*/ 3 w 173"/>
                <a:gd name="T29" fmla="*/ 1 h 246"/>
                <a:gd name="T30" fmla="*/ 3 w 173"/>
                <a:gd name="T31" fmla="*/ 1 h 246"/>
                <a:gd name="T32" fmla="*/ 3 w 173"/>
                <a:gd name="T33" fmla="*/ 1 h 246"/>
                <a:gd name="T34" fmla="*/ 2 w 173"/>
                <a:gd name="T35" fmla="*/ 1 h 246"/>
                <a:gd name="T36" fmla="*/ 3 w 173"/>
                <a:gd name="T37" fmla="*/ 1 h 246"/>
                <a:gd name="T38" fmla="*/ 3 w 173"/>
                <a:gd name="T39" fmla="*/ 1 h 246"/>
                <a:gd name="T40" fmla="*/ 3 w 173"/>
                <a:gd name="T41" fmla="*/ 1 h 246"/>
                <a:gd name="T42" fmla="*/ 3 w 173"/>
                <a:gd name="T43" fmla="*/ 1 h 246"/>
                <a:gd name="T44" fmla="*/ 3 w 173"/>
                <a:gd name="T45" fmla="*/ 0 h 246"/>
                <a:gd name="T46" fmla="*/ 2 w 173"/>
                <a:gd name="T47" fmla="*/ 1 h 246"/>
                <a:gd name="T48" fmla="*/ 1 w 173"/>
                <a:gd name="T49" fmla="*/ 1 h 246"/>
                <a:gd name="T50" fmla="*/ 1 w 173"/>
                <a:gd name="T51" fmla="*/ 1 h 246"/>
                <a:gd name="T52" fmla="*/ 1 w 173"/>
                <a:gd name="T53" fmla="*/ 1 h 246"/>
                <a:gd name="T54" fmla="*/ 1 w 173"/>
                <a:gd name="T55" fmla="*/ 1 h 246"/>
                <a:gd name="T56" fmla="*/ 1 w 173"/>
                <a:gd name="T57" fmla="*/ 1 h 246"/>
                <a:gd name="T58" fmla="*/ 1 w 173"/>
                <a:gd name="T59" fmla="*/ 1 h 246"/>
                <a:gd name="T60" fmla="*/ 1 w 173"/>
                <a:gd name="T61" fmla="*/ 1 h 246"/>
                <a:gd name="T62" fmla="*/ 1 w 173"/>
                <a:gd name="T63" fmla="*/ 1 h 246"/>
                <a:gd name="T64" fmla="*/ 1 w 173"/>
                <a:gd name="T65" fmla="*/ 1 h 246"/>
                <a:gd name="T66" fmla="*/ 1 w 173"/>
                <a:gd name="T67" fmla="*/ 1 h 246"/>
                <a:gd name="T68" fmla="*/ 1 w 173"/>
                <a:gd name="T69" fmla="*/ 2 h 246"/>
                <a:gd name="T70" fmla="*/ 1 w 173"/>
                <a:gd name="T71" fmla="*/ 2 h 246"/>
                <a:gd name="T72" fmla="*/ 1 w 173"/>
                <a:gd name="T73" fmla="*/ 2 h 246"/>
                <a:gd name="T74" fmla="*/ 1 w 173"/>
                <a:gd name="T75" fmla="*/ 2 h 246"/>
                <a:gd name="T76" fmla="*/ 1 w 173"/>
                <a:gd name="T77" fmla="*/ 2 h 246"/>
                <a:gd name="T78" fmla="*/ 0 w 173"/>
                <a:gd name="T79" fmla="*/ 2 h 246"/>
                <a:gd name="T80" fmla="*/ 1 w 173"/>
                <a:gd name="T81" fmla="*/ 2 h 246"/>
                <a:gd name="T82" fmla="*/ 1 w 173"/>
                <a:gd name="T83" fmla="*/ 2 h 246"/>
                <a:gd name="T84" fmla="*/ 1 w 173"/>
                <a:gd name="T85" fmla="*/ 2 h 246"/>
                <a:gd name="T86" fmla="*/ 1 w 173"/>
                <a:gd name="T87" fmla="*/ 2 h 246"/>
                <a:gd name="T88" fmla="*/ 1 w 173"/>
                <a:gd name="T89" fmla="*/ 2 h 246"/>
                <a:gd name="T90" fmla="*/ 2 w 173"/>
                <a:gd name="T91" fmla="*/ 2 h 246"/>
                <a:gd name="T92" fmla="*/ 2 w 173"/>
                <a:gd name="T93" fmla="*/ 2 h 246"/>
                <a:gd name="T94" fmla="*/ 3 w 173"/>
                <a:gd name="T95" fmla="*/ 2 h 246"/>
                <a:gd name="T96" fmla="*/ 4 w 173"/>
                <a:gd name="T97" fmla="*/ 3 h 246"/>
                <a:gd name="T98" fmla="*/ 4 w 173"/>
                <a:gd name="T99" fmla="*/ 3 h 246"/>
                <a:gd name="T100" fmla="*/ 3 w 173"/>
                <a:gd name="T101" fmla="*/ 3 h 246"/>
                <a:gd name="T102" fmla="*/ 4 w 173"/>
                <a:gd name="T103" fmla="*/ 3 h 24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3"/>
                <a:gd name="T157" fmla="*/ 0 h 246"/>
                <a:gd name="T158" fmla="*/ 173 w 173"/>
                <a:gd name="T159" fmla="*/ 246 h 24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3" h="246">
                  <a:moveTo>
                    <a:pt x="135" y="246"/>
                  </a:moveTo>
                  <a:lnTo>
                    <a:pt x="142" y="206"/>
                  </a:lnTo>
                  <a:lnTo>
                    <a:pt x="133" y="180"/>
                  </a:lnTo>
                  <a:lnTo>
                    <a:pt x="147" y="175"/>
                  </a:lnTo>
                  <a:lnTo>
                    <a:pt x="137" y="168"/>
                  </a:lnTo>
                  <a:lnTo>
                    <a:pt x="137" y="159"/>
                  </a:lnTo>
                  <a:lnTo>
                    <a:pt x="173" y="156"/>
                  </a:lnTo>
                  <a:lnTo>
                    <a:pt x="170" y="142"/>
                  </a:lnTo>
                  <a:lnTo>
                    <a:pt x="173" y="137"/>
                  </a:lnTo>
                  <a:lnTo>
                    <a:pt x="166" y="116"/>
                  </a:lnTo>
                  <a:lnTo>
                    <a:pt x="173" y="95"/>
                  </a:lnTo>
                  <a:lnTo>
                    <a:pt x="147" y="95"/>
                  </a:lnTo>
                  <a:lnTo>
                    <a:pt x="133" y="81"/>
                  </a:lnTo>
                  <a:lnTo>
                    <a:pt x="107" y="81"/>
                  </a:lnTo>
                  <a:lnTo>
                    <a:pt x="99" y="74"/>
                  </a:lnTo>
                  <a:lnTo>
                    <a:pt x="99" y="64"/>
                  </a:lnTo>
                  <a:lnTo>
                    <a:pt x="85" y="45"/>
                  </a:lnTo>
                  <a:lnTo>
                    <a:pt x="97" y="22"/>
                  </a:lnTo>
                  <a:lnTo>
                    <a:pt x="107" y="14"/>
                  </a:lnTo>
                  <a:lnTo>
                    <a:pt x="107" y="12"/>
                  </a:lnTo>
                  <a:lnTo>
                    <a:pt x="118" y="5"/>
                  </a:lnTo>
                  <a:lnTo>
                    <a:pt x="109" y="0"/>
                  </a:lnTo>
                  <a:lnTo>
                    <a:pt x="83" y="19"/>
                  </a:lnTo>
                  <a:lnTo>
                    <a:pt x="57" y="24"/>
                  </a:lnTo>
                  <a:lnTo>
                    <a:pt x="52" y="43"/>
                  </a:lnTo>
                  <a:lnTo>
                    <a:pt x="33" y="57"/>
                  </a:lnTo>
                  <a:lnTo>
                    <a:pt x="33" y="69"/>
                  </a:lnTo>
                  <a:lnTo>
                    <a:pt x="24" y="57"/>
                  </a:lnTo>
                  <a:lnTo>
                    <a:pt x="26" y="66"/>
                  </a:lnTo>
                  <a:lnTo>
                    <a:pt x="17" y="76"/>
                  </a:lnTo>
                  <a:lnTo>
                    <a:pt x="17" y="78"/>
                  </a:lnTo>
                  <a:lnTo>
                    <a:pt x="24" y="88"/>
                  </a:lnTo>
                  <a:lnTo>
                    <a:pt x="24" y="125"/>
                  </a:lnTo>
                  <a:lnTo>
                    <a:pt x="29" y="130"/>
                  </a:lnTo>
                  <a:lnTo>
                    <a:pt x="19" y="144"/>
                  </a:lnTo>
                  <a:lnTo>
                    <a:pt x="10" y="144"/>
                  </a:lnTo>
                  <a:lnTo>
                    <a:pt x="7" y="159"/>
                  </a:lnTo>
                  <a:lnTo>
                    <a:pt x="0" y="161"/>
                  </a:lnTo>
                  <a:lnTo>
                    <a:pt x="3" y="166"/>
                  </a:lnTo>
                  <a:lnTo>
                    <a:pt x="29" y="185"/>
                  </a:lnTo>
                  <a:lnTo>
                    <a:pt x="47" y="180"/>
                  </a:lnTo>
                  <a:lnTo>
                    <a:pt x="55" y="187"/>
                  </a:lnTo>
                  <a:lnTo>
                    <a:pt x="81" y="203"/>
                  </a:lnTo>
                  <a:lnTo>
                    <a:pt x="90" y="220"/>
                  </a:lnTo>
                  <a:lnTo>
                    <a:pt x="121" y="218"/>
                  </a:lnTo>
                  <a:lnTo>
                    <a:pt x="130" y="225"/>
                  </a:lnTo>
                  <a:lnTo>
                    <a:pt x="133" y="229"/>
                  </a:lnTo>
                  <a:lnTo>
                    <a:pt x="125" y="236"/>
                  </a:lnTo>
                  <a:lnTo>
                    <a:pt x="135" y="246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1" name="Freeform 59"/>
            <p:cNvSpPr>
              <a:spLocks/>
            </p:cNvSpPr>
            <p:nvPr/>
          </p:nvSpPr>
          <p:spPr bwMode="auto">
            <a:xfrm>
              <a:off x="3149" y="3366"/>
              <a:ext cx="51" cy="48"/>
            </a:xfrm>
            <a:custGeom>
              <a:avLst/>
              <a:gdLst>
                <a:gd name="T0" fmla="*/ 2 w 85"/>
                <a:gd name="T1" fmla="*/ 1 h 92"/>
                <a:gd name="T2" fmla="*/ 2 w 85"/>
                <a:gd name="T3" fmla="*/ 1 h 92"/>
                <a:gd name="T4" fmla="*/ 1 w 85"/>
                <a:gd name="T5" fmla="*/ 1 h 92"/>
                <a:gd name="T6" fmla="*/ 1 w 85"/>
                <a:gd name="T7" fmla="*/ 0 h 92"/>
                <a:gd name="T8" fmla="*/ 1 w 85"/>
                <a:gd name="T9" fmla="*/ 0 h 92"/>
                <a:gd name="T10" fmla="*/ 1 w 85"/>
                <a:gd name="T11" fmla="*/ 1 h 92"/>
                <a:gd name="T12" fmla="*/ 1 w 85"/>
                <a:gd name="T13" fmla="*/ 1 h 92"/>
                <a:gd name="T14" fmla="*/ 0 w 85"/>
                <a:gd name="T15" fmla="*/ 1 h 92"/>
                <a:gd name="T16" fmla="*/ 0 w 85"/>
                <a:gd name="T17" fmla="*/ 1 h 92"/>
                <a:gd name="T18" fmla="*/ 1 w 85"/>
                <a:gd name="T19" fmla="*/ 1 h 92"/>
                <a:gd name="T20" fmla="*/ 1 w 85"/>
                <a:gd name="T21" fmla="*/ 1 h 92"/>
                <a:gd name="T22" fmla="*/ 1 w 85"/>
                <a:gd name="T23" fmla="*/ 1 h 92"/>
                <a:gd name="T24" fmla="*/ 1 w 85"/>
                <a:gd name="T25" fmla="*/ 1 h 92"/>
                <a:gd name="T26" fmla="*/ 1 w 85"/>
                <a:gd name="T27" fmla="*/ 1 h 92"/>
                <a:gd name="T28" fmla="*/ 1 w 85"/>
                <a:gd name="T29" fmla="*/ 1 h 92"/>
                <a:gd name="T30" fmla="*/ 1 w 85"/>
                <a:gd name="T31" fmla="*/ 1 h 92"/>
                <a:gd name="T32" fmla="*/ 1 w 85"/>
                <a:gd name="T33" fmla="*/ 1 h 92"/>
                <a:gd name="T34" fmla="*/ 1 w 85"/>
                <a:gd name="T35" fmla="*/ 1 h 92"/>
                <a:gd name="T36" fmla="*/ 2 w 85"/>
                <a:gd name="T37" fmla="*/ 1 h 92"/>
                <a:gd name="T38" fmla="*/ 2 w 85"/>
                <a:gd name="T39" fmla="*/ 1 h 92"/>
                <a:gd name="T40" fmla="*/ 2 w 85"/>
                <a:gd name="T41" fmla="*/ 1 h 92"/>
                <a:gd name="T42" fmla="*/ 2 w 85"/>
                <a:gd name="T43" fmla="*/ 1 h 92"/>
                <a:gd name="T44" fmla="*/ 2 w 85"/>
                <a:gd name="T45" fmla="*/ 1 h 9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5"/>
                <a:gd name="T70" fmla="*/ 0 h 92"/>
                <a:gd name="T71" fmla="*/ 85 w 85"/>
                <a:gd name="T72" fmla="*/ 92 h 9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5" h="92">
                  <a:moveTo>
                    <a:pt x="83" y="21"/>
                  </a:moveTo>
                  <a:lnTo>
                    <a:pt x="75" y="14"/>
                  </a:lnTo>
                  <a:lnTo>
                    <a:pt x="57" y="19"/>
                  </a:lnTo>
                  <a:lnTo>
                    <a:pt x="31" y="0"/>
                  </a:lnTo>
                  <a:lnTo>
                    <a:pt x="14" y="9"/>
                  </a:lnTo>
                  <a:lnTo>
                    <a:pt x="12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12" y="63"/>
                  </a:lnTo>
                  <a:lnTo>
                    <a:pt x="12" y="56"/>
                  </a:lnTo>
                  <a:lnTo>
                    <a:pt x="19" y="56"/>
                  </a:lnTo>
                  <a:lnTo>
                    <a:pt x="14" y="68"/>
                  </a:lnTo>
                  <a:lnTo>
                    <a:pt x="7" y="70"/>
                  </a:lnTo>
                  <a:lnTo>
                    <a:pt x="5" y="85"/>
                  </a:lnTo>
                  <a:lnTo>
                    <a:pt x="24" y="92"/>
                  </a:lnTo>
                  <a:lnTo>
                    <a:pt x="45" y="63"/>
                  </a:lnTo>
                  <a:lnTo>
                    <a:pt x="66" y="56"/>
                  </a:lnTo>
                  <a:lnTo>
                    <a:pt x="75" y="44"/>
                  </a:lnTo>
                  <a:lnTo>
                    <a:pt x="85" y="33"/>
                  </a:lnTo>
                  <a:lnTo>
                    <a:pt x="80" y="23"/>
                  </a:lnTo>
                  <a:lnTo>
                    <a:pt x="83" y="21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2" name="Freeform 60"/>
            <p:cNvSpPr>
              <a:spLocks/>
            </p:cNvSpPr>
            <p:nvPr/>
          </p:nvSpPr>
          <p:spPr bwMode="auto">
            <a:xfrm>
              <a:off x="3145" y="3377"/>
              <a:ext cx="111" cy="141"/>
            </a:xfrm>
            <a:custGeom>
              <a:avLst/>
              <a:gdLst>
                <a:gd name="T0" fmla="*/ 5 w 186"/>
                <a:gd name="T1" fmla="*/ 2 h 272"/>
                <a:gd name="T2" fmla="*/ 5 w 186"/>
                <a:gd name="T3" fmla="*/ 2 h 272"/>
                <a:gd name="T4" fmla="*/ 4 w 186"/>
                <a:gd name="T5" fmla="*/ 2 h 272"/>
                <a:gd name="T6" fmla="*/ 4 w 186"/>
                <a:gd name="T7" fmla="*/ 2 h 272"/>
                <a:gd name="T8" fmla="*/ 4 w 186"/>
                <a:gd name="T9" fmla="*/ 2 h 272"/>
                <a:gd name="T10" fmla="*/ 3 w 186"/>
                <a:gd name="T11" fmla="*/ 1 h 272"/>
                <a:gd name="T12" fmla="*/ 4 w 186"/>
                <a:gd name="T13" fmla="*/ 1 h 272"/>
                <a:gd name="T14" fmla="*/ 5 w 186"/>
                <a:gd name="T15" fmla="*/ 1 h 272"/>
                <a:gd name="T16" fmla="*/ 4 w 186"/>
                <a:gd name="T17" fmla="*/ 1 h 272"/>
                <a:gd name="T18" fmla="*/ 5 w 186"/>
                <a:gd name="T19" fmla="*/ 1 h 272"/>
                <a:gd name="T20" fmla="*/ 5 w 186"/>
                <a:gd name="T21" fmla="*/ 1 h 272"/>
                <a:gd name="T22" fmla="*/ 4 w 186"/>
                <a:gd name="T23" fmla="*/ 1 h 272"/>
                <a:gd name="T24" fmla="*/ 4 w 186"/>
                <a:gd name="T25" fmla="*/ 1 h 272"/>
                <a:gd name="T26" fmla="*/ 3 w 186"/>
                <a:gd name="T27" fmla="*/ 1 h 272"/>
                <a:gd name="T28" fmla="*/ 2 w 186"/>
                <a:gd name="T29" fmla="*/ 0 h 272"/>
                <a:gd name="T30" fmla="*/ 2 w 186"/>
                <a:gd name="T31" fmla="*/ 1 h 272"/>
                <a:gd name="T32" fmla="*/ 2 w 186"/>
                <a:gd name="T33" fmla="*/ 1 h 272"/>
                <a:gd name="T34" fmla="*/ 2 w 186"/>
                <a:gd name="T35" fmla="*/ 1 h 272"/>
                <a:gd name="T36" fmla="*/ 2 w 186"/>
                <a:gd name="T37" fmla="*/ 1 h 272"/>
                <a:gd name="T38" fmla="*/ 1 w 186"/>
                <a:gd name="T39" fmla="*/ 1 h 272"/>
                <a:gd name="T40" fmla="*/ 1 w 186"/>
                <a:gd name="T41" fmla="*/ 1 h 272"/>
                <a:gd name="T42" fmla="*/ 1 w 186"/>
                <a:gd name="T43" fmla="*/ 1 h 272"/>
                <a:gd name="T44" fmla="*/ 1 w 186"/>
                <a:gd name="T45" fmla="*/ 1 h 272"/>
                <a:gd name="T46" fmla="*/ 1 w 186"/>
                <a:gd name="T47" fmla="*/ 1 h 272"/>
                <a:gd name="T48" fmla="*/ 0 w 186"/>
                <a:gd name="T49" fmla="*/ 1 h 272"/>
                <a:gd name="T50" fmla="*/ 1 w 186"/>
                <a:gd name="T51" fmla="*/ 1 h 272"/>
                <a:gd name="T52" fmla="*/ 1 w 186"/>
                <a:gd name="T53" fmla="*/ 1 h 272"/>
                <a:gd name="T54" fmla="*/ 1 w 186"/>
                <a:gd name="T55" fmla="*/ 1 h 272"/>
                <a:gd name="T56" fmla="*/ 1 w 186"/>
                <a:gd name="T57" fmla="*/ 2 h 272"/>
                <a:gd name="T58" fmla="*/ 2 w 186"/>
                <a:gd name="T59" fmla="*/ 2 h 272"/>
                <a:gd name="T60" fmla="*/ 4 w 186"/>
                <a:gd name="T61" fmla="*/ 3 h 272"/>
                <a:gd name="T62" fmla="*/ 5 w 186"/>
                <a:gd name="T63" fmla="*/ 3 h 272"/>
                <a:gd name="T64" fmla="*/ 5 w 186"/>
                <a:gd name="T65" fmla="*/ 3 h 272"/>
                <a:gd name="T66" fmla="*/ 5 w 186"/>
                <a:gd name="T67" fmla="*/ 3 h 272"/>
                <a:gd name="T68" fmla="*/ 5 w 186"/>
                <a:gd name="T69" fmla="*/ 2 h 272"/>
                <a:gd name="T70" fmla="*/ 5 w 186"/>
                <a:gd name="T71" fmla="*/ 2 h 27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86"/>
                <a:gd name="T109" fmla="*/ 0 h 272"/>
                <a:gd name="T110" fmla="*/ 186 w 186"/>
                <a:gd name="T111" fmla="*/ 272 h 27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86" h="272">
                  <a:moveTo>
                    <a:pt x="175" y="160"/>
                  </a:moveTo>
                  <a:lnTo>
                    <a:pt x="163" y="160"/>
                  </a:lnTo>
                  <a:lnTo>
                    <a:pt x="160" y="137"/>
                  </a:lnTo>
                  <a:lnTo>
                    <a:pt x="142" y="146"/>
                  </a:lnTo>
                  <a:lnTo>
                    <a:pt x="125" y="137"/>
                  </a:lnTo>
                  <a:lnTo>
                    <a:pt x="113" y="111"/>
                  </a:lnTo>
                  <a:lnTo>
                    <a:pt x="134" y="71"/>
                  </a:lnTo>
                  <a:lnTo>
                    <a:pt x="170" y="59"/>
                  </a:lnTo>
                  <a:lnTo>
                    <a:pt x="160" y="49"/>
                  </a:lnTo>
                  <a:lnTo>
                    <a:pt x="168" y="42"/>
                  </a:lnTo>
                  <a:lnTo>
                    <a:pt x="165" y="38"/>
                  </a:lnTo>
                  <a:lnTo>
                    <a:pt x="156" y="31"/>
                  </a:lnTo>
                  <a:lnTo>
                    <a:pt x="125" y="33"/>
                  </a:lnTo>
                  <a:lnTo>
                    <a:pt x="116" y="16"/>
                  </a:lnTo>
                  <a:lnTo>
                    <a:pt x="90" y="0"/>
                  </a:lnTo>
                  <a:lnTo>
                    <a:pt x="87" y="2"/>
                  </a:lnTo>
                  <a:lnTo>
                    <a:pt x="92" y="12"/>
                  </a:lnTo>
                  <a:lnTo>
                    <a:pt x="82" y="23"/>
                  </a:lnTo>
                  <a:lnTo>
                    <a:pt x="73" y="35"/>
                  </a:lnTo>
                  <a:lnTo>
                    <a:pt x="52" y="42"/>
                  </a:lnTo>
                  <a:lnTo>
                    <a:pt x="31" y="71"/>
                  </a:lnTo>
                  <a:lnTo>
                    <a:pt x="12" y="64"/>
                  </a:lnTo>
                  <a:lnTo>
                    <a:pt x="14" y="49"/>
                  </a:lnTo>
                  <a:lnTo>
                    <a:pt x="0" y="61"/>
                  </a:lnTo>
                  <a:lnTo>
                    <a:pt x="7" y="83"/>
                  </a:lnTo>
                  <a:lnTo>
                    <a:pt x="2" y="87"/>
                  </a:lnTo>
                  <a:lnTo>
                    <a:pt x="21" y="99"/>
                  </a:lnTo>
                  <a:lnTo>
                    <a:pt x="40" y="125"/>
                  </a:lnTo>
                  <a:lnTo>
                    <a:pt x="82" y="217"/>
                  </a:lnTo>
                  <a:lnTo>
                    <a:pt x="160" y="272"/>
                  </a:lnTo>
                  <a:lnTo>
                    <a:pt x="175" y="262"/>
                  </a:lnTo>
                  <a:lnTo>
                    <a:pt x="184" y="246"/>
                  </a:lnTo>
                  <a:lnTo>
                    <a:pt x="177" y="234"/>
                  </a:lnTo>
                  <a:lnTo>
                    <a:pt x="186" y="182"/>
                  </a:lnTo>
                  <a:lnTo>
                    <a:pt x="175" y="160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3" name="Freeform 61"/>
            <p:cNvSpPr>
              <a:spLocks/>
            </p:cNvSpPr>
            <p:nvPr/>
          </p:nvSpPr>
          <p:spPr bwMode="auto">
            <a:xfrm>
              <a:off x="3249" y="3451"/>
              <a:ext cx="105" cy="106"/>
            </a:xfrm>
            <a:custGeom>
              <a:avLst/>
              <a:gdLst>
                <a:gd name="T0" fmla="*/ 4 w 177"/>
                <a:gd name="T1" fmla="*/ 2 h 203"/>
                <a:gd name="T2" fmla="*/ 5 w 177"/>
                <a:gd name="T3" fmla="*/ 2 h 203"/>
                <a:gd name="T4" fmla="*/ 4 w 177"/>
                <a:gd name="T5" fmla="*/ 1 h 203"/>
                <a:gd name="T6" fmla="*/ 4 w 177"/>
                <a:gd name="T7" fmla="*/ 1 h 203"/>
                <a:gd name="T8" fmla="*/ 4 w 177"/>
                <a:gd name="T9" fmla="*/ 1 h 203"/>
                <a:gd name="T10" fmla="*/ 4 w 177"/>
                <a:gd name="T11" fmla="*/ 1 h 203"/>
                <a:gd name="T12" fmla="*/ 4 w 177"/>
                <a:gd name="T13" fmla="*/ 1 h 203"/>
                <a:gd name="T14" fmla="*/ 3 w 177"/>
                <a:gd name="T15" fmla="*/ 1 h 203"/>
                <a:gd name="T16" fmla="*/ 2 w 177"/>
                <a:gd name="T17" fmla="*/ 1 h 203"/>
                <a:gd name="T18" fmla="*/ 2 w 177"/>
                <a:gd name="T19" fmla="*/ 1 h 203"/>
                <a:gd name="T20" fmla="*/ 2 w 177"/>
                <a:gd name="T21" fmla="*/ 0 h 203"/>
                <a:gd name="T22" fmla="*/ 1 w 177"/>
                <a:gd name="T23" fmla="*/ 1 h 203"/>
                <a:gd name="T24" fmla="*/ 1 w 177"/>
                <a:gd name="T25" fmla="*/ 1 h 203"/>
                <a:gd name="T26" fmla="*/ 0 w 177"/>
                <a:gd name="T27" fmla="*/ 1 h 203"/>
                <a:gd name="T28" fmla="*/ 1 w 177"/>
                <a:gd name="T29" fmla="*/ 1 h 203"/>
                <a:gd name="T30" fmla="*/ 1 w 177"/>
                <a:gd name="T31" fmla="*/ 1 h 203"/>
                <a:gd name="T32" fmla="*/ 1 w 177"/>
                <a:gd name="T33" fmla="*/ 1 h 203"/>
                <a:gd name="T34" fmla="*/ 0 w 177"/>
                <a:gd name="T35" fmla="*/ 2 h 203"/>
                <a:gd name="T36" fmla="*/ 1 w 177"/>
                <a:gd name="T37" fmla="*/ 2 h 203"/>
                <a:gd name="T38" fmla="*/ 1 w 177"/>
                <a:gd name="T39" fmla="*/ 2 h 203"/>
                <a:gd name="T40" fmla="*/ 1 w 177"/>
                <a:gd name="T41" fmla="*/ 2 h 203"/>
                <a:gd name="T42" fmla="*/ 1 w 177"/>
                <a:gd name="T43" fmla="*/ 2 h 203"/>
                <a:gd name="T44" fmla="*/ 1 w 177"/>
                <a:gd name="T45" fmla="*/ 2 h 203"/>
                <a:gd name="T46" fmla="*/ 2 w 177"/>
                <a:gd name="T47" fmla="*/ 2 h 203"/>
                <a:gd name="T48" fmla="*/ 2 w 177"/>
                <a:gd name="T49" fmla="*/ 2 h 203"/>
                <a:gd name="T50" fmla="*/ 3 w 177"/>
                <a:gd name="T51" fmla="*/ 2 h 203"/>
                <a:gd name="T52" fmla="*/ 3 w 177"/>
                <a:gd name="T53" fmla="*/ 2 h 203"/>
                <a:gd name="T54" fmla="*/ 3 w 177"/>
                <a:gd name="T55" fmla="*/ 2 h 203"/>
                <a:gd name="T56" fmla="*/ 4 w 177"/>
                <a:gd name="T57" fmla="*/ 2 h 203"/>
                <a:gd name="T58" fmla="*/ 4 w 177"/>
                <a:gd name="T59" fmla="*/ 2 h 20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7"/>
                <a:gd name="T91" fmla="*/ 0 h 203"/>
                <a:gd name="T92" fmla="*/ 177 w 177"/>
                <a:gd name="T93" fmla="*/ 203 h 20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7" h="203">
                  <a:moveTo>
                    <a:pt x="172" y="160"/>
                  </a:moveTo>
                  <a:lnTo>
                    <a:pt x="177" y="130"/>
                  </a:lnTo>
                  <a:lnTo>
                    <a:pt x="167" y="111"/>
                  </a:lnTo>
                  <a:lnTo>
                    <a:pt x="167" y="101"/>
                  </a:lnTo>
                  <a:lnTo>
                    <a:pt x="141" y="99"/>
                  </a:lnTo>
                  <a:lnTo>
                    <a:pt x="137" y="85"/>
                  </a:lnTo>
                  <a:lnTo>
                    <a:pt x="139" y="75"/>
                  </a:lnTo>
                  <a:lnTo>
                    <a:pt x="130" y="59"/>
                  </a:lnTo>
                  <a:lnTo>
                    <a:pt x="68" y="35"/>
                  </a:lnTo>
                  <a:lnTo>
                    <a:pt x="63" y="23"/>
                  </a:lnTo>
                  <a:lnTo>
                    <a:pt x="63" y="0"/>
                  </a:lnTo>
                  <a:lnTo>
                    <a:pt x="44" y="2"/>
                  </a:lnTo>
                  <a:lnTo>
                    <a:pt x="21" y="18"/>
                  </a:lnTo>
                  <a:lnTo>
                    <a:pt x="0" y="18"/>
                  </a:lnTo>
                  <a:lnTo>
                    <a:pt x="11" y="40"/>
                  </a:lnTo>
                  <a:lnTo>
                    <a:pt x="2" y="92"/>
                  </a:lnTo>
                  <a:lnTo>
                    <a:pt x="9" y="104"/>
                  </a:lnTo>
                  <a:lnTo>
                    <a:pt x="0" y="120"/>
                  </a:lnTo>
                  <a:lnTo>
                    <a:pt x="14" y="146"/>
                  </a:lnTo>
                  <a:lnTo>
                    <a:pt x="11" y="160"/>
                  </a:lnTo>
                  <a:lnTo>
                    <a:pt x="26" y="203"/>
                  </a:lnTo>
                  <a:lnTo>
                    <a:pt x="35" y="203"/>
                  </a:lnTo>
                  <a:lnTo>
                    <a:pt x="52" y="186"/>
                  </a:lnTo>
                  <a:lnTo>
                    <a:pt x="80" y="198"/>
                  </a:lnTo>
                  <a:lnTo>
                    <a:pt x="85" y="191"/>
                  </a:lnTo>
                  <a:lnTo>
                    <a:pt x="104" y="196"/>
                  </a:lnTo>
                  <a:lnTo>
                    <a:pt x="115" y="153"/>
                  </a:lnTo>
                  <a:lnTo>
                    <a:pt x="158" y="146"/>
                  </a:lnTo>
                  <a:lnTo>
                    <a:pt x="172" y="16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4" name="Freeform 62"/>
            <p:cNvSpPr>
              <a:spLocks/>
            </p:cNvSpPr>
            <p:nvPr/>
          </p:nvSpPr>
          <p:spPr bwMode="auto">
            <a:xfrm>
              <a:off x="3311" y="3526"/>
              <a:ext cx="72" cy="71"/>
            </a:xfrm>
            <a:custGeom>
              <a:avLst/>
              <a:gdLst>
                <a:gd name="T0" fmla="*/ 3 w 122"/>
                <a:gd name="T1" fmla="*/ 1 h 135"/>
                <a:gd name="T2" fmla="*/ 3 w 122"/>
                <a:gd name="T3" fmla="*/ 1 h 135"/>
                <a:gd name="T4" fmla="*/ 3 w 122"/>
                <a:gd name="T5" fmla="*/ 1 h 135"/>
                <a:gd name="T6" fmla="*/ 2 w 122"/>
                <a:gd name="T7" fmla="*/ 1 h 135"/>
                <a:gd name="T8" fmla="*/ 2 w 122"/>
                <a:gd name="T9" fmla="*/ 1 h 135"/>
                <a:gd name="T10" fmla="*/ 2 w 122"/>
                <a:gd name="T11" fmla="*/ 1 h 135"/>
                <a:gd name="T12" fmla="*/ 2 w 122"/>
                <a:gd name="T13" fmla="*/ 1 h 135"/>
                <a:gd name="T14" fmla="*/ 1 w 122"/>
                <a:gd name="T15" fmla="*/ 0 h 135"/>
                <a:gd name="T16" fmla="*/ 1 w 122"/>
                <a:gd name="T17" fmla="*/ 1 h 135"/>
                <a:gd name="T18" fmla="*/ 0 w 122"/>
                <a:gd name="T19" fmla="*/ 1 h 135"/>
                <a:gd name="T20" fmla="*/ 0 w 122"/>
                <a:gd name="T21" fmla="*/ 1 h 135"/>
                <a:gd name="T22" fmla="*/ 1 w 122"/>
                <a:gd name="T23" fmla="*/ 1 h 135"/>
                <a:gd name="T24" fmla="*/ 1 w 122"/>
                <a:gd name="T25" fmla="*/ 1 h 135"/>
                <a:gd name="T26" fmla="*/ 2 w 122"/>
                <a:gd name="T27" fmla="*/ 1 h 135"/>
                <a:gd name="T28" fmla="*/ 2 w 122"/>
                <a:gd name="T29" fmla="*/ 1 h 135"/>
                <a:gd name="T30" fmla="*/ 2 w 122"/>
                <a:gd name="T31" fmla="*/ 2 h 135"/>
                <a:gd name="T32" fmla="*/ 2 w 122"/>
                <a:gd name="T33" fmla="*/ 2 h 135"/>
                <a:gd name="T34" fmla="*/ 2 w 122"/>
                <a:gd name="T35" fmla="*/ 2 h 135"/>
                <a:gd name="T36" fmla="*/ 3 w 122"/>
                <a:gd name="T37" fmla="*/ 2 h 135"/>
                <a:gd name="T38" fmla="*/ 3 w 122"/>
                <a:gd name="T39" fmla="*/ 1 h 13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22"/>
                <a:gd name="T61" fmla="*/ 0 h 135"/>
                <a:gd name="T62" fmla="*/ 122 w 122"/>
                <a:gd name="T63" fmla="*/ 135 h 13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22" h="135">
                  <a:moveTo>
                    <a:pt x="120" y="102"/>
                  </a:moveTo>
                  <a:lnTo>
                    <a:pt x="122" y="76"/>
                  </a:lnTo>
                  <a:lnTo>
                    <a:pt x="106" y="73"/>
                  </a:lnTo>
                  <a:lnTo>
                    <a:pt x="103" y="52"/>
                  </a:lnTo>
                  <a:lnTo>
                    <a:pt x="99" y="47"/>
                  </a:lnTo>
                  <a:lnTo>
                    <a:pt x="70" y="43"/>
                  </a:lnTo>
                  <a:lnTo>
                    <a:pt x="68" y="14"/>
                  </a:lnTo>
                  <a:lnTo>
                    <a:pt x="54" y="0"/>
                  </a:lnTo>
                  <a:lnTo>
                    <a:pt x="11" y="7"/>
                  </a:lnTo>
                  <a:lnTo>
                    <a:pt x="0" y="50"/>
                  </a:lnTo>
                  <a:lnTo>
                    <a:pt x="26" y="76"/>
                  </a:lnTo>
                  <a:lnTo>
                    <a:pt x="47" y="80"/>
                  </a:lnTo>
                  <a:lnTo>
                    <a:pt x="70" y="95"/>
                  </a:lnTo>
                  <a:lnTo>
                    <a:pt x="73" y="104"/>
                  </a:lnTo>
                  <a:lnTo>
                    <a:pt x="63" y="128"/>
                  </a:lnTo>
                  <a:lnTo>
                    <a:pt x="92" y="135"/>
                  </a:lnTo>
                  <a:lnTo>
                    <a:pt x="101" y="130"/>
                  </a:lnTo>
                  <a:lnTo>
                    <a:pt x="118" y="118"/>
                  </a:lnTo>
                  <a:lnTo>
                    <a:pt x="120" y="10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5" name="Freeform 63"/>
            <p:cNvSpPr>
              <a:spLocks/>
            </p:cNvSpPr>
            <p:nvPr/>
          </p:nvSpPr>
          <p:spPr bwMode="auto">
            <a:xfrm>
              <a:off x="3212" y="3855"/>
              <a:ext cx="46" cy="39"/>
            </a:xfrm>
            <a:custGeom>
              <a:avLst/>
              <a:gdLst>
                <a:gd name="T0" fmla="*/ 2 w 78"/>
                <a:gd name="T1" fmla="*/ 1 h 73"/>
                <a:gd name="T2" fmla="*/ 2 w 78"/>
                <a:gd name="T3" fmla="*/ 0 h 73"/>
                <a:gd name="T4" fmla="*/ 2 w 78"/>
                <a:gd name="T5" fmla="*/ 0 h 73"/>
                <a:gd name="T6" fmla="*/ 1 w 78"/>
                <a:gd name="T7" fmla="*/ 1 h 73"/>
                <a:gd name="T8" fmla="*/ 1 w 78"/>
                <a:gd name="T9" fmla="*/ 1 h 73"/>
                <a:gd name="T10" fmla="*/ 1 w 78"/>
                <a:gd name="T11" fmla="*/ 1 h 73"/>
                <a:gd name="T12" fmla="*/ 2 w 78"/>
                <a:gd name="T13" fmla="*/ 1 h 73"/>
                <a:gd name="T14" fmla="*/ 2 w 78"/>
                <a:gd name="T15" fmla="*/ 1 h 73"/>
                <a:gd name="T16" fmla="*/ 1 w 78"/>
                <a:gd name="T17" fmla="*/ 1 h 73"/>
                <a:gd name="T18" fmla="*/ 1 w 78"/>
                <a:gd name="T19" fmla="*/ 1 h 73"/>
                <a:gd name="T20" fmla="*/ 1 w 78"/>
                <a:gd name="T21" fmla="*/ 1 h 73"/>
                <a:gd name="T22" fmla="*/ 1 w 78"/>
                <a:gd name="T23" fmla="*/ 1 h 73"/>
                <a:gd name="T24" fmla="*/ 1 w 78"/>
                <a:gd name="T25" fmla="*/ 1 h 73"/>
                <a:gd name="T26" fmla="*/ 1 w 78"/>
                <a:gd name="T27" fmla="*/ 1 h 73"/>
                <a:gd name="T28" fmla="*/ 0 w 78"/>
                <a:gd name="T29" fmla="*/ 1 h 73"/>
                <a:gd name="T30" fmla="*/ 1 w 78"/>
                <a:gd name="T31" fmla="*/ 1 h 73"/>
                <a:gd name="T32" fmla="*/ 1 w 78"/>
                <a:gd name="T33" fmla="*/ 1 h 73"/>
                <a:gd name="T34" fmla="*/ 1 w 78"/>
                <a:gd name="T35" fmla="*/ 1 h 73"/>
                <a:gd name="T36" fmla="*/ 1 w 78"/>
                <a:gd name="T37" fmla="*/ 1 h 73"/>
                <a:gd name="T38" fmla="*/ 1 w 78"/>
                <a:gd name="T39" fmla="*/ 1 h 73"/>
                <a:gd name="T40" fmla="*/ 1 w 78"/>
                <a:gd name="T41" fmla="*/ 1 h 73"/>
                <a:gd name="T42" fmla="*/ 1 w 78"/>
                <a:gd name="T43" fmla="*/ 1 h 73"/>
                <a:gd name="T44" fmla="*/ 2 w 78"/>
                <a:gd name="T45" fmla="*/ 1 h 73"/>
                <a:gd name="T46" fmla="*/ 2 w 78"/>
                <a:gd name="T47" fmla="*/ 1 h 73"/>
                <a:gd name="T48" fmla="*/ 2 w 78"/>
                <a:gd name="T49" fmla="*/ 1 h 7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8"/>
                <a:gd name="T76" fmla="*/ 0 h 73"/>
                <a:gd name="T77" fmla="*/ 78 w 78"/>
                <a:gd name="T78" fmla="*/ 73 h 7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8" h="73">
                  <a:moveTo>
                    <a:pt x="78" y="56"/>
                  </a:moveTo>
                  <a:lnTo>
                    <a:pt x="76" y="0"/>
                  </a:lnTo>
                  <a:lnTo>
                    <a:pt x="52" y="4"/>
                  </a:lnTo>
                  <a:lnTo>
                    <a:pt x="50" y="19"/>
                  </a:lnTo>
                  <a:lnTo>
                    <a:pt x="55" y="21"/>
                  </a:lnTo>
                  <a:lnTo>
                    <a:pt x="64" y="19"/>
                  </a:lnTo>
                  <a:lnTo>
                    <a:pt x="66" y="21"/>
                  </a:lnTo>
                  <a:lnTo>
                    <a:pt x="55" y="28"/>
                  </a:lnTo>
                  <a:lnTo>
                    <a:pt x="57" y="40"/>
                  </a:lnTo>
                  <a:lnTo>
                    <a:pt x="52" y="37"/>
                  </a:lnTo>
                  <a:lnTo>
                    <a:pt x="47" y="30"/>
                  </a:lnTo>
                  <a:lnTo>
                    <a:pt x="40" y="37"/>
                  </a:lnTo>
                  <a:lnTo>
                    <a:pt x="5" y="19"/>
                  </a:lnTo>
                  <a:lnTo>
                    <a:pt x="0" y="23"/>
                  </a:lnTo>
                  <a:lnTo>
                    <a:pt x="7" y="37"/>
                  </a:lnTo>
                  <a:lnTo>
                    <a:pt x="17" y="37"/>
                  </a:lnTo>
                  <a:lnTo>
                    <a:pt x="19" y="45"/>
                  </a:lnTo>
                  <a:lnTo>
                    <a:pt x="26" y="45"/>
                  </a:lnTo>
                  <a:lnTo>
                    <a:pt x="26" y="52"/>
                  </a:lnTo>
                  <a:lnTo>
                    <a:pt x="50" y="63"/>
                  </a:lnTo>
                  <a:lnTo>
                    <a:pt x="57" y="59"/>
                  </a:lnTo>
                  <a:lnTo>
                    <a:pt x="66" y="73"/>
                  </a:lnTo>
                  <a:lnTo>
                    <a:pt x="78" y="56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6" name="Freeform 64"/>
            <p:cNvSpPr>
              <a:spLocks/>
            </p:cNvSpPr>
            <p:nvPr/>
          </p:nvSpPr>
          <p:spPr bwMode="auto">
            <a:xfrm>
              <a:off x="3257" y="3855"/>
              <a:ext cx="31" cy="41"/>
            </a:xfrm>
            <a:custGeom>
              <a:avLst/>
              <a:gdLst>
                <a:gd name="T0" fmla="*/ 1 w 52"/>
                <a:gd name="T1" fmla="*/ 1 h 78"/>
                <a:gd name="T2" fmla="*/ 0 w 52"/>
                <a:gd name="T3" fmla="*/ 0 h 78"/>
                <a:gd name="T4" fmla="*/ 0 w 52"/>
                <a:gd name="T5" fmla="*/ 0 h 78"/>
                <a:gd name="T6" fmla="*/ 1 w 52"/>
                <a:gd name="T7" fmla="*/ 1 h 78"/>
                <a:gd name="T8" fmla="*/ 1 w 52"/>
                <a:gd name="T9" fmla="*/ 1 h 78"/>
                <a:gd name="T10" fmla="*/ 1 w 52"/>
                <a:gd name="T11" fmla="*/ 1 h 78"/>
                <a:gd name="T12" fmla="*/ 1 w 52"/>
                <a:gd name="T13" fmla="*/ 1 h 78"/>
                <a:gd name="T14" fmla="*/ 1 w 52"/>
                <a:gd name="T15" fmla="*/ 1 h 78"/>
                <a:gd name="T16" fmla="*/ 1 w 52"/>
                <a:gd name="T17" fmla="*/ 1 h 78"/>
                <a:gd name="T18" fmla="*/ 1 w 52"/>
                <a:gd name="T19" fmla="*/ 1 h 78"/>
                <a:gd name="T20" fmla="*/ 1 w 52"/>
                <a:gd name="T21" fmla="*/ 1 h 7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78"/>
                <a:gd name="T35" fmla="*/ 52 w 52"/>
                <a:gd name="T36" fmla="*/ 78 h 7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78">
                  <a:moveTo>
                    <a:pt x="2" y="56"/>
                  </a:moveTo>
                  <a:lnTo>
                    <a:pt x="0" y="0"/>
                  </a:lnTo>
                  <a:lnTo>
                    <a:pt x="12" y="26"/>
                  </a:lnTo>
                  <a:lnTo>
                    <a:pt x="35" y="47"/>
                  </a:lnTo>
                  <a:lnTo>
                    <a:pt x="52" y="52"/>
                  </a:lnTo>
                  <a:lnTo>
                    <a:pt x="45" y="59"/>
                  </a:lnTo>
                  <a:lnTo>
                    <a:pt x="14" y="68"/>
                  </a:lnTo>
                  <a:lnTo>
                    <a:pt x="12" y="78"/>
                  </a:lnTo>
                  <a:lnTo>
                    <a:pt x="2" y="56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7" name="Freeform 65"/>
            <p:cNvSpPr>
              <a:spLocks/>
            </p:cNvSpPr>
            <p:nvPr/>
          </p:nvSpPr>
          <p:spPr bwMode="auto">
            <a:xfrm>
              <a:off x="3215" y="3548"/>
              <a:ext cx="175" cy="304"/>
            </a:xfrm>
            <a:custGeom>
              <a:avLst/>
              <a:gdLst>
                <a:gd name="T0" fmla="*/ 6 w 295"/>
                <a:gd name="T1" fmla="*/ 2 h 584"/>
                <a:gd name="T2" fmla="*/ 8 w 295"/>
                <a:gd name="T3" fmla="*/ 1 h 584"/>
                <a:gd name="T4" fmla="*/ 7 w 295"/>
                <a:gd name="T5" fmla="*/ 1 h 584"/>
                <a:gd name="T6" fmla="*/ 7 w 295"/>
                <a:gd name="T7" fmla="*/ 1 h 584"/>
                <a:gd name="T8" fmla="*/ 6 w 295"/>
                <a:gd name="T9" fmla="*/ 1 h 584"/>
                <a:gd name="T10" fmla="*/ 6 w 295"/>
                <a:gd name="T11" fmla="*/ 1 h 584"/>
                <a:gd name="T12" fmla="*/ 5 w 295"/>
                <a:gd name="T13" fmla="*/ 1 h 584"/>
                <a:gd name="T14" fmla="*/ 4 w 295"/>
                <a:gd name="T15" fmla="*/ 1 h 584"/>
                <a:gd name="T16" fmla="*/ 3 w 295"/>
                <a:gd name="T17" fmla="*/ 0 h 584"/>
                <a:gd name="T18" fmla="*/ 2 w 295"/>
                <a:gd name="T19" fmla="*/ 1 h 584"/>
                <a:gd name="T20" fmla="*/ 2 w 295"/>
                <a:gd name="T21" fmla="*/ 1 h 584"/>
                <a:gd name="T22" fmla="*/ 1 w 295"/>
                <a:gd name="T23" fmla="*/ 2 h 584"/>
                <a:gd name="T24" fmla="*/ 1 w 295"/>
                <a:gd name="T25" fmla="*/ 3 h 584"/>
                <a:gd name="T26" fmla="*/ 1 w 295"/>
                <a:gd name="T27" fmla="*/ 3 h 584"/>
                <a:gd name="T28" fmla="*/ 1 w 295"/>
                <a:gd name="T29" fmla="*/ 3 h 584"/>
                <a:gd name="T30" fmla="*/ 1 w 295"/>
                <a:gd name="T31" fmla="*/ 4 h 584"/>
                <a:gd name="T32" fmla="*/ 1 w 295"/>
                <a:gd name="T33" fmla="*/ 4 h 584"/>
                <a:gd name="T34" fmla="*/ 1 w 295"/>
                <a:gd name="T35" fmla="*/ 4 h 584"/>
                <a:gd name="T36" fmla="*/ 1 w 295"/>
                <a:gd name="T37" fmla="*/ 5 h 584"/>
                <a:gd name="T38" fmla="*/ 1 w 295"/>
                <a:gd name="T39" fmla="*/ 5 h 584"/>
                <a:gd name="T40" fmla="*/ 0 w 295"/>
                <a:gd name="T41" fmla="*/ 6 h 584"/>
                <a:gd name="T42" fmla="*/ 1 w 295"/>
                <a:gd name="T43" fmla="*/ 6 h 584"/>
                <a:gd name="T44" fmla="*/ 1 w 295"/>
                <a:gd name="T45" fmla="*/ 6 h 584"/>
                <a:gd name="T46" fmla="*/ 2 w 295"/>
                <a:gd name="T47" fmla="*/ 6 h 584"/>
                <a:gd name="T48" fmla="*/ 2 w 295"/>
                <a:gd name="T49" fmla="*/ 6 h 584"/>
                <a:gd name="T50" fmla="*/ 2 w 295"/>
                <a:gd name="T51" fmla="*/ 5 h 584"/>
                <a:gd name="T52" fmla="*/ 3 w 295"/>
                <a:gd name="T53" fmla="*/ 5 h 584"/>
                <a:gd name="T54" fmla="*/ 3 w 295"/>
                <a:gd name="T55" fmla="*/ 5 h 584"/>
                <a:gd name="T56" fmla="*/ 2 w 295"/>
                <a:gd name="T57" fmla="*/ 5 h 584"/>
                <a:gd name="T58" fmla="*/ 3 w 295"/>
                <a:gd name="T59" fmla="*/ 4 h 584"/>
                <a:gd name="T60" fmla="*/ 3 w 295"/>
                <a:gd name="T61" fmla="*/ 4 h 584"/>
                <a:gd name="T62" fmla="*/ 4 w 295"/>
                <a:gd name="T63" fmla="*/ 4 h 584"/>
                <a:gd name="T64" fmla="*/ 4 w 295"/>
                <a:gd name="T65" fmla="*/ 4 h 584"/>
                <a:gd name="T66" fmla="*/ 4 w 295"/>
                <a:gd name="T67" fmla="*/ 4 h 584"/>
                <a:gd name="T68" fmla="*/ 4 w 295"/>
                <a:gd name="T69" fmla="*/ 4 h 584"/>
                <a:gd name="T70" fmla="*/ 3 w 295"/>
                <a:gd name="T71" fmla="*/ 3 h 584"/>
                <a:gd name="T72" fmla="*/ 4 w 295"/>
                <a:gd name="T73" fmla="*/ 4 h 584"/>
                <a:gd name="T74" fmla="*/ 4 w 295"/>
                <a:gd name="T75" fmla="*/ 3 h 584"/>
                <a:gd name="T76" fmla="*/ 4 w 295"/>
                <a:gd name="T77" fmla="*/ 3 h 584"/>
                <a:gd name="T78" fmla="*/ 6 w 295"/>
                <a:gd name="T79" fmla="*/ 3 h 584"/>
                <a:gd name="T80" fmla="*/ 7 w 295"/>
                <a:gd name="T81" fmla="*/ 3 h 584"/>
                <a:gd name="T82" fmla="*/ 7 w 295"/>
                <a:gd name="T83" fmla="*/ 3 h 584"/>
                <a:gd name="T84" fmla="*/ 6 w 295"/>
                <a:gd name="T85" fmla="*/ 2 h 58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95"/>
                <a:gd name="T130" fmla="*/ 0 h 584"/>
                <a:gd name="T131" fmla="*/ 295 w 295"/>
                <a:gd name="T132" fmla="*/ 584 h 58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95" h="584">
                  <a:moveTo>
                    <a:pt x="224" y="206"/>
                  </a:moveTo>
                  <a:lnTo>
                    <a:pt x="236" y="140"/>
                  </a:lnTo>
                  <a:lnTo>
                    <a:pt x="279" y="95"/>
                  </a:lnTo>
                  <a:lnTo>
                    <a:pt x="295" y="85"/>
                  </a:lnTo>
                  <a:lnTo>
                    <a:pt x="290" y="62"/>
                  </a:lnTo>
                  <a:lnTo>
                    <a:pt x="281" y="62"/>
                  </a:lnTo>
                  <a:lnTo>
                    <a:pt x="279" y="78"/>
                  </a:lnTo>
                  <a:lnTo>
                    <a:pt x="262" y="90"/>
                  </a:lnTo>
                  <a:lnTo>
                    <a:pt x="253" y="95"/>
                  </a:lnTo>
                  <a:lnTo>
                    <a:pt x="224" y="88"/>
                  </a:lnTo>
                  <a:lnTo>
                    <a:pt x="234" y="64"/>
                  </a:lnTo>
                  <a:lnTo>
                    <a:pt x="231" y="55"/>
                  </a:lnTo>
                  <a:lnTo>
                    <a:pt x="208" y="40"/>
                  </a:lnTo>
                  <a:lnTo>
                    <a:pt x="187" y="36"/>
                  </a:lnTo>
                  <a:lnTo>
                    <a:pt x="161" y="10"/>
                  </a:lnTo>
                  <a:lnTo>
                    <a:pt x="142" y="5"/>
                  </a:lnTo>
                  <a:lnTo>
                    <a:pt x="137" y="12"/>
                  </a:lnTo>
                  <a:lnTo>
                    <a:pt x="109" y="0"/>
                  </a:lnTo>
                  <a:lnTo>
                    <a:pt x="92" y="17"/>
                  </a:lnTo>
                  <a:lnTo>
                    <a:pt x="90" y="38"/>
                  </a:lnTo>
                  <a:lnTo>
                    <a:pt x="73" y="45"/>
                  </a:lnTo>
                  <a:lnTo>
                    <a:pt x="76" y="81"/>
                  </a:lnTo>
                  <a:lnTo>
                    <a:pt x="57" y="106"/>
                  </a:lnTo>
                  <a:lnTo>
                    <a:pt x="45" y="158"/>
                  </a:lnTo>
                  <a:lnTo>
                    <a:pt x="54" y="203"/>
                  </a:lnTo>
                  <a:lnTo>
                    <a:pt x="42" y="229"/>
                  </a:lnTo>
                  <a:lnTo>
                    <a:pt x="45" y="243"/>
                  </a:lnTo>
                  <a:lnTo>
                    <a:pt x="35" y="258"/>
                  </a:lnTo>
                  <a:lnTo>
                    <a:pt x="35" y="291"/>
                  </a:lnTo>
                  <a:lnTo>
                    <a:pt x="26" y="317"/>
                  </a:lnTo>
                  <a:lnTo>
                    <a:pt x="26" y="354"/>
                  </a:lnTo>
                  <a:lnTo>
                    <a:pt x="21" y="369"/>
                  </a:lnTo>
                  <a:lnTo>
                    <a:pt x="24" y="406"/>
                  </a:lnTo>
                  <a:lnTo>
                    <a:pt x="28" y="406"/>
                  </a:lnTo>
                  <a:lnTo>
                    <a:pt x="31" y="414"/>
                  </a:lnTo>
                  <a:lnTo>
                    <a:pt x="26" y="414"/>
                  </a:lnTo>
                  <a:lnTo>
                    <a:pt x="28" y="421"/>
                  </a:lnTo>
                  <a:lnTo>
                    <a:pt x="26" y="454"/>
                  </a:lnTo>
                  <a:lnTo>
                    <a:pt x="16" y="477"/>
                  </a:lnTo>
                  <a:lnTo>
                    <a:pt x="16" y="489"/>
                  </a:lnTo>
                  <a:lnTo>
                    <a:pt x="2" y="525"/>
                  </a:lnTo>
                  <a:lnTo>
                    <a:pt x="0" y="539"/>
                  </a:lnTo>
                  <a:lnTo>
                    <a:pt x="2" y="546"/>
                  </a:lnTo>
                  <a:lnTo>
                    <a:pt x="16" y="543"/>
                  </a:lnTo>
                  <a:lnTo>
                    <a:pt x="16" y="567"/>
                  </a:lnTo>
                  <a:lnTo>
                    <a:pt x="24" y="577"/>
                  </a:lnTo>
                  <a:lnTo>
                    <a:pt x="54" y="577"/>
                  </a:lnTo>
                  <a:lnTo>
                    <a:pt x="73" y="581"/>
                  </a:lnTo>
                  <a:lnTo>
                    <a:pt x="73" y="584"/>
                  </a:lnTo>
                  <a:lnTo>
                    <a:pt x="64" y="553"/>
                  </a:lnTo>
                  <a:lnTo>
                    <a:pt x="66" y="539"/>
                  </a:lnTo>
                  <a:lnTo>
                    <a:pt x="83" y="529"/>
                  </a:lnTo>
                  <a:lnTo>
                    <a:pt x="90" y="506"/>
                  </a:lnTo>
                  <a:lnTo>
                    <a:pt x="113" y="482"/>
                  </a:lnTo>
                  <a:lnTo>
                    <a:pt x="116" y="466"/>
                  </a:lnTo>
                  <a:lnTo>
                    <a:pt x="104" y="466"/>
                  </a:lnTo>
                  <a:lnTo>
                    <a:pt x="90" y="449"/>
                  </a:lnTo>
                  <a:lnTo>
                    <a:pt x="90" y="440"/>
                  </a:lnTo>
                  <a:lnTo>
                    <a:pt x="99" y="423"/>
                  </a:lnTo>
                  <a:lnTo>
                    <a:pt x="118" y="418"/>
                  </a:lnTo>
                  <a:lnTo>
                    <a:pt x="118" y="411"/>
                  </a:lnTo>
                  <a:lnTo>
                    <a:pt x="123" y="406"/>
                  </a:lnTo>
                  <a:lnTo>
                    <a:pt x="123" y="390"/>
                  </a:lnTo>
                  <a:lnTo>
                    <a:pt x="135" y="378"/>
                  </a:lnTo>
                  <a:lnTo>
                    <a:pt x="125" y="373"/>
                  </a:lnTo>
                  <a:lnTo>
                    <a:pt x="135" y="366"/>
                  </a:lnTo>
                  <a:lnTo>
                    <a:pt x="139" y="373"/>
                  </a:lnTo>
                  <a:lnTo>
                    <a:pt x="146" y="373"/>
                  </a:lnTo>
                  <a:lnTo>
                    <a:pt x="144" y="359"/>
                  </a:lnTo>
                  <a:lnTo>
                    <a:pt x="135" y="364"/>
                  </a:lnTo>
                  <a:lnTo>
                    <a:pt x="125" y="359"/>
                  </a:lnTo>
                  <a:lnTo>
                    <a:pt x="123" y="336"/>
                  </a:lnTo>
                  <a:lnTo>
                    <a:pt x="127" y="331"/>
                  </a:lnTo>
                  <a:lnTo>
                    <a:pt x="144" y="340"/>
                  </a:lnTo>
                  <a:lnTo>
                    <a:pt x="165" y="336"/>
                  </a:lnTo>
                  <a:lnTo>
                    <a:pt x="170" y="307"/>
                  </a:lnTo>
                  <a:lnTo>
                    <a:pt x="168" y="293"/>
                  </a:lnTo>
                  <a:lnTo>
                    <a:pt x="170" y="298"/>
                  </a:lnTo>
                  <a:lnTo>
                    <a:pt x="194" y="298"/>
                  </a:lnTo>
                  <a:lnTo>
                    <a:pt x="236" y="284"/>
                  </a:lnTo>
                  <a:lnTo>
                    <a:pt x="250" y="258"/>
                  </a:lnTo>
                  <a:lnTo>
                    <a:pt x="248" y="248"/>
                  </a:lnTo>
                  <a:lnTo>
                    <a:pt x="239" y="239"/>
                  </a:lnTo>
                  <a:lnTo>
                    <a:pt x="243" y="229"/>
                  </a:lnTo>
                  <a:lnTo>
                    <a:pt x="224" y="218"/>
                  </a:lnTo>
                  <a:lnTo>
                    <a:pt x="224" y="206"/>
                  </a:lnTo>
                  <a:close/>
                </a:path>
              </a:pathLst>
            </a:custGeom>
            <a:solidFill>
              <a:srgbClr val="12457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27432" tIns="27432" rIns="27432" bIns="27432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8" name="Freeform 66"/>
            <p:cNvSpPr>
              <a:spLocks/>
            </p:cNvSpPr>
            <p:nvPr/>
          </p:nvSpPr>
          <p:spPr bwMode="auto">
            <a:xfrm>
              <a:off x="3348" y="3621"/>
              <a:ext cx="46" cy="41"/>
            </a:xfrm>
            <a:custGeom>
              <a:avLst/>
              <a:gdLst>
                <a:gd name="T0" fmla="*/ 2 w 78"/>
                <a:gd name="T1" fmla="*/ 1 h 80"/>
                <a:gd name="T2" fmla="*/ 2 w 78"/>
                <a:gd name="T3" fmla="*/ 1 h 80"/>
                <a:gd name="T4" fmla="*/ 2 w 78"/>
                <a:gd name="T5" fmla="*/ 1 h 80"/>
                <a:gd name="T6" fmla="*/ 1 w 78"/>
                <a:gd name="T7" fmla="*/ 1 h 80"/>
                <a:gd name="T8" fmla="*/ 1 w 78"/>
                <a:gd name="T9" fmla="*/ 1 h 80"/>
                <a:gd name="T10" fmla="*/ 1 w 78"/>
                <a:gd name="T11" fmla="*/ 0 h 80"/>
                <a:gd name="T12" fmla="*/ 1 w 78"/>
                <a:gd name="T13" fmla="*/ 0 h 80"/>
                <a:gd name="T14" fmla="*/ 0 w 78"/>
                <a:gd name="T15" fmla="*/ 1 h 80"/>
                <a:gd name="T16" fmla="*/ 0 w 78"/>
                <a:gd name="T17" fmla="*/ 1 h 80"/>
                <a:gd name="T18" fmla="*/ 1 w 78"/>
                <a:gd name="T19" fmla="*/ 1 h 80"/>
                <a:gd name="T20" fmla="*/ 1 w 78"/>
                <a:gd name="T21" fmla="*/ 1 h 80"/>
                <a:gd name="T22" fmla="*/ 2 w 78"/>
                <a:gd name="T23" fmla="*/ 1 h 80"/>
                <a:gd name="T24" fmla="*/ 2 w 78"/>
                <a:gd name="T25" fmla="*/ 1 h 80"/>
                <a:gd name="T26" fmla="*/ 2 w 78"/>
                <a:gd name="T27" fmla="*/ 1 h 8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8"/>
                <a:gd name="T43" fmla="*/ 0 h 80"/>
                <a:gd name="T44" fmla="*/ 78 w 78"/>
                <a:gd name="T45" fmla="*/ 80 h 8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8" h="80">
                  <a:moveTo>
                    <a:pt x="74" y="61"/>
                  </a:moveTo>
                  <a:lnTo>
                    <a:pt x="78" y="44"/>
                  </a:lnTo>
                  <a:lnTo>
                    <a:pt x="69" y="30"/>
                  </a:lnTo>
                  <a:lnTo>
                    <a:pt x="43" y="11"/>
                  </a:lnTo>
                  <a:lnTo>
                    <a:pt x="38" y="14"/>
                  </a:lnTo>
                  <a:lnTo>
                    <a:pt x="26" y="0"/>
                  </a:lnTo>
                  <a:lnTo>
                    <a:pt x="12" y="0"/>
                  </a:lnTo>
                  <a:lnTo>
                    <a:pt x="0" y="66"/>
                  </a:lnTo>
                  <a:lnTo>
                    <a:pt x="10" y="73"/>
                  </a:lnTo>
                  <a:lnTo>
                    <a:pt x="33" y="80"/>
                  </a:lnTo>
                  <a:lnTo>
                    <a:pt x="66" y="75"/>
                  </a:lnTo>
                  <a:lnTo>
                    <a:pt x="74" y="61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9" name="Freeform 67"/>
            <p:cNvSpPr>
              <a:spLocks/>
            </p:cNvSpPr>
            <p:nvPr/>
          </p:nvSpPr>
          <p:spPr bwMode="auto">
            <a:xfrm>
              <a:off x="3212" y="3336"/>
              <a:ext cx="344" cy="316"/>
            </a:xfrm>
            <a:custGeom>
              <a:avLst/>
              <a:gdLst>
                <a:gd name="T0" fmla="*/ 8 w 581"/>
                <a:gd name="T1" fmla="*/ 1 h 607"/>
                <a:gd name="T2" fmla="*/ 8 w 581"/>
                <a:gd name="T3" fmla="*/ 1 h 607"/>
                <a:gd name="T4" fmla="*/ 7 w 581"/>
                <a:gd name="T5" fmla="*/ 1 h 607"/>
                <a:gd name="T6" fmla="*/ 7 w 581"/>
                <a:gd name="T7" fmla="*/ 1 h 607"/>
                <a:gd name="T8" fmla="*/ 6 w 581"/>
                <a:gd name="T9" fmla="*/ 1 h 607"/>
                <a:gd name="T10" fmla="*/ 5 w 581"/>
                <a:gd name="T11" fmla="*/ 1 h 607"/>
                <a:gd name="T12" fmla="*/ 5 w 581"/>
                <a:gd name="T13" fmla="*/ 0 h 607"/>
                <a:gd name="T14" fmla="*/ 5 w 581"/>
                <a:gd name="T15" fmla="*/ 1 h 607"/>
                <a:gd name="T16" fmla="*/ 4 w 581"/>
                <a:gd name="T17" fmla="*/ 1 h 607"/>
                <a:gd name="T18" fmla="*/ 4 w 581"/>
                <a:gd name="T19" fmla="*/ 1 h 607"/>
                <a:gd name="T20" fmla="*/ 3 w 581"/>
                <a:gd name="T21" fmla="*/ 1 h 607"/>
                <a:gd name="T22" fmla="*/ 2 w 581"/>
                <a:gd name="T23" fmla="*/ 1 h 607"/>
                <a:gd name="T24" fmla="*/ 1 w 581"/>
                <a:gd name="T25" fmla="*/ 1 h 607"/>
                <a:gd name="T26" fmla="*/ 2 w 581"/>
                <a:gd name="T27" fmla="*/ 1 h 607"/>
                <a:gd name="T28" fmla="*/ 2 w 581"/>
                <a:gd name="T29" fmla="*/ 1 h 607"/>
                <a:gd name="T30" fmla="*/ 1 w 581"/>
                <a:gd name="T31" fmla="*/ 2 h 607"/>
                <a:gd name="T32" fmla="*/ 1 w 581"/>
                <a:gd name="T33" fmla="*/ 2 h 607"/>
                <a:gd name="T34" fmla="*/ 1 w 581"/>
                <a:gd name="T35" fmla="*/ 2 h 607"/>
                <a:gd name="T36" fmla="*/ 2 w 581"/>
                <a:gd name="T37" fmla="*/ 3 h 607"/>
                <a:gd name="T38" fmla="*/ 3 w 581"/>
                <a:gd name="T39" fmla="*/ 2 h 607"/>
                <a:gd name="T40" fmla="*/ 3 w 581"/>
                <a:gd name="T41" fmla="*/ 3 h 607"/>
                <a:gd name="T42" fmla="*/ 5 w 581"/>
                <a:gd name="T43" fmla="*/ 3 h 607"/>
                <a:gd name="T44" fmla="*/ 5 w 581"/>
                <a:gd name="T45" fmla="*/ 3 h 607"/>
                <a:gd name="T46" fmla="*/ 6 w 581"/>
                <a:gd name="T47" fmla="*/ 3 h 607"/>
                <a:gd name="T48" fmla="*/ 7 w 581"/>
                <a:gd name="T49" fmla="*/ 4 h 607"/>
                <a:gd name="T50" fmla="*/ 6 w 581"/>
                <a:gd name="T51" fmla="*/ 4 h 607"/>
                <a:gd name="T52" fmla="*/ 7 w 581"/>
                <a:gd name="T53" fmla="*/ 4 h 607"/>
                <a:gd name="T54" fmla="*/ 7 w 581"/>
                <a:gd name="T55" fmla="*/ 5 h 607"/>
                <a:gd name="T56" fmla="*/ 8 w 581"/>
                <a:gd name="T57" fmla="*/ 5 h 607"/>
                <a:gd name="T58" fmla="*/ 7 w 581"/>
                <a:gd name="T59" fmla="*/ 5 h 607"/>
                <a:gd name="T60" fmla="*/ 7 w 581"/>
                <a:gd name="T61" fmla="*/ 6 h 607"/>
                <a:gd name="T62" fmla="*/ 7 w 581"/>
                <a:gd name="T63" fmla="*/ 6 h 607"/>
                <a:gd name="T64" fmla="*/ 8 w 581"/>
                <a:gd name="T65" fmla="*/ 6 h 607"/>
                <a:gd name="T66" fmla="*/ 8 w 581"/>
                <a:gd name="T67" fmla="*/ 6 h 607"/>
                <a:gd name="T68" fmla="*/ 8 w 581"/>
                <a:gd name="T69" fmla="*/ 6 h 607"/>
                <a:gd name="T70" fmla="*/ 9 w 581"/>
                <a:gd name="T71" fmla="*/ 5 h 607"/>
                <a:gd name="T72" fmla="*/ 10 w 581"/>
                <a:gd name="T73" fmla="*/ 5 h 607"/>
                <a:gd name="T74" fmla="*/ 11 w 581"/>
                <a:gd name="T75" fmla="*/ 5 h 607"/>
                <a:gd name="T76" fmla="*/ 12 w 581"/>
                <a:gd name="T77" fmla="*/ 4 h 607"/>
                <a:gd name="T78" fmla="*/ 12 w 581"/>
                <a:gd name="T79" fmla="*/ 4 h 607"/>
                <a:gd name="T80" fmla="*/ 13 w 581"/>
                <a:gd name="T81" fmla="*/ 4 h 607"/>
                <a:gd name="T82" fmla="*/ 13 w 581"/>
                <a:gd name="T83" fmla="*/ 4 h 607"/>
                <a:gd name="T84" fmla="*/ 14 w 581"/>
                <a:gd name="T85" fmla="*/ 2 h 607"/>
                <a:gd name="T86" fmla="*/ 14 w 581"/>
                <a:gd name="T87" fmla="*/ 2 h 607"/>
                <a:gd name="T88" fmla="*/ 13 w 581"/>
                <a:gd name="T89" fmla="*/ 2 h 607"/>
                <a:gd name="T90" fmla="*/ 12 w 581"/>
                <a:gd name="T91" fmla="*/ 1 h 607"/>
                <a:gd name="T92" fmla="*/ 11 w 581"/>
                <a:gd name="T93" fmla="*/ 1 h 607"/>
                <a:gd name="T94" fmla="*/ 11 w 581"/>
                <a:gd name="T95" fmla="*/ 1 h 607"/>
                <a:gd name="T96" fmla="*/ 10 w 581"/>
                <a:gd name="T97" fmla="*/ 1 h 607"/>
                <a:gd name="T98" fmla="*/ 9 w 581"/>
                <a:gd name="T99" fmla="*/ 1 h 607"/>
                <a:gd name="T100" fmla="*/ 9 w 581"/>
                <a:gd name="T101" fmla="*/ 1 h 607"/>
                <a:gd name="T102" fmla="*/ 9 w 581"/>
                <a:gd name="T103" fmla="*/ 1 h 607"/>
                <a:gd name="T104" fmla="*/ 8 w 581"/>
                <a:gd name="T105" fmla="*/ 1 h 607"/>
                <a:gd name="T106" fmla="*/ 9 w 581"/>
                <a:gd name="T107" fmla="*/ 1 h 607"/>
                <a:gd name="T108" fmla="*/ 9 w 581"/>
                <a:gd name="T109" fmla="*/ 1 h 60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1"/>
                <a:gd name="T166" fmla="*/ 0 h 607"/>
                <a:gd name="T167" fmla="*/ 581 w 581"/>
                <a:gd name="T168" fmla="*/ 607 h 60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1" h="607">
                  <a:moveTo>
                    <a:pt x="340" y="19"/>
                  </a:moveTo>
                  <a:lnTo>
                    <a:pt x="331" y="16"/>
                  </a:lnTo>
                  <a:lnTo>
                    <a:pt x="310" y="42"/>
                  </a:lnTo>
                  <a:lnTo>
                    <a:pt x="298" y="47"/>
                  </a:lnTo>
                  <a:lnTo>
                    <a:pt x="288" y="42"/>
                  </a:lnTo>
                  <a:lnTo>
                    <a:pt x="269" y="40"/>
                  </a:lnTo>
                  <a:lnTo>
                    <a:pt x="265" y="47"/>
                  </a:lnTo>
                  <a:lnTo>
                    <a:pt x="258" y="47"/>
                  </a:lnTo>
                  <a:lnTo>
                    <a:pt x="225" y="57"/>
                  </a:lnTo>
                  <a:lnTo>
                    <a:pt x="215" y="54"/>
                  </a:lnTo>
                  <a:lnTo>
                    <a:pt x="208" y="38"/>
                  </a:lnTo>
                  <a:lnTo>
                    <a:pt x="210" y="14"/>
                  </a:lnTo>
                  <a:lnTo>
                    <a:pt x="206" y="0"/>
                  </a:lnTo>
                  <a:lnTo>
                    <a:pt x="196" y="0"/>
                  </a:lnTo>
                  <a:lnTo>
                    <a:pt x="192" y="7"/>
                  </a:lnTo>
                  <a:lnTo>
                    <a:pt x="161" y="19"/>
                  </a:lnTo>
                  <a:lnTo>
                    <a:pt x="135" y="14"/>
                  </a:lnTo>
                  <a:lnTo>
                    <a:pt x="142" y="24"/>
                  </a:lnTo>
                  <a:lnTo>
                    <a:pt x="142" y="38"/>
                  </a:lnTo>
                  <a:lnTo>
                    <a:pt x="154" y="45"/>
                  </a:lnTo>
                  <a:lnTo>
                    <a:pt x="121" y="64"/>
                  </a:lnTo>
                  <a:lnTo>
                    <a:pt x="111" y="64"/>
                  </a:lnTo>
                  <a:lnTo>
                    <a:pt x="102" y="57"/>
                  </a:lnTo>
                  <a:lnTo>
                    <a:pt x="95" y="47"/>
                  </a:lnTo>
                  <a:lnTo>
                    <a:pt x="59" y="50"/>
                  </a:lnTo>
                  <a:lnTo>
                    <a:pt x="59" y="59"/>
                  </a:lnTo>
                  <a:lnTo>
                    <a:pt x="69" y="66"/>
                  </a:lnTo>
                  <a:lnTo>
                    <a:pt x="55" y="71"/>
                  </a:lnTo>
                  <a:lnTo>
                    <a:pt x="64" y="97"/>
                  </a:lnTo>
                  <a:lnTo>
                    <a:pt x="57" y="137"/>
                  </a:lnTo>
                  <a:lnTo>
                    <a:pt x="21" y="149"/>
                  </a:lnTo>
                  <a:lnTo>
                    <a:pt x="0" y="189"/>
                  </a:lnTo>
                  <a:lnTo>
                    <a:pt x="12" y="215"/>
                  </a:lnTo>
                  <a:lnTo>
                    <a:pt x="29" y="224"/>
                  </a:lnTo>
                  <a:lnTo>
                    <a:pt x="47" y="215"/>
                  </a:lnTo>
                  <a:lnTo>
                    <a:pt x="50" y="238"/>
                  </a:lnTo>
                  <a:lnTo>
                    <a:pt x="62" y="238"/>
                  </a:lnTo>
                  <a:lnTo>
                    <a:pt x="83" y="238"/>
                  </a:lnTo>
                  <a:lnTo>
                    <a:pt x="106" y="222"/>
                  </a:lnTo>
                  <a:lnTo>
                    <a:pt x="125" y="220"/>
                  </a:lnTo>
                  <a:lnTo>
                    <a:pt x="125" y="243"/>
                  </a:lnTo>
                  <a:lnTo>
                    <a:pt x="130" y="255"/>
                  </a:lnTo>
                  <a:lnTo>
                    <a:pt x="192" y="279"/>
                  </a:lnTo>
                  <a:lnTo>
                    <a:pt x="201" y="295"/>
                  </a:lnTo>
                  <a:lnTo>
                    <a:pt x="199" y="305"/>
                  </a:lnTo>
                  <a:lnTo>
                    <a:pt x="203" y="319"/>
                  </a:lnTo>
                  <a:lnTo>
                    <a:pt x="229" y="321"/>
                  </a:lnTo>
                  <a:lnTo>
                    <a:pt x="229" y="331"/>
                  </a:lnTo>
                  <a:lnTo>
                    <a:pt x="239" y="350"/>
                  </a:lnTo>
                  <a:lnTo>
                    <a:pt x="234" y="380"/>
                  </a:lnTo>
                  <a:lnTo>
                    <a:pt x="236" y="409"/>
                  </a:lnTo>
                  <a:lnTo>
                    <a:pt x="265" y="413"/>
                  </a:lnTo>
                  <a:lnTo>
                    <a:pt x="269" y="418"/>
                  </a:lnTo>
                  <a:lnTo>
                    <a:pt x="272" y="439"/>
                  </a:lnTo>
                  <a:lnTo>
                    <a:pt x="288" y="442"/>
                  </a:lnTo>
                  <a:lnTo>
                    <a:pt x="286" y="468"/>
                  </a:lnTo>
                  <a:lnTo>
                    <a:pt x="295" y="468"/>
                  </a:lnTo>
                  <a:lnTo>
                    <a:pt x="300" y="491"/>
                  </a:lnTo>
                  <a:lnTo>
                    <a:pt x="284" y="501"/>
                  </a:lnTo>
                  <a:lnTo>
                    <a:pt x="241" y="546"/>
                  </a:lnTo>
                  <a:lnTo>
                    <a:pt x="255" y="546"/>
                  </a:lnTo>
                  <a:lnTo>
                    <a:pt x="267" y="560"/>
                  </a:lnTo>
                  <a:lnTo>
                    <a:pt x="272" y="557"/>
                  </a:lnTo>
                  <a:lnTo>
                    <a:pt x="298" y="576"/>
                  </a:lnTo>
                  <a:lnTo>
                    <a:pt x="307" y="590"/>
                  </a:lnTo>
                  <a:lnTo>
                    <a:pt x="303" y="607"/>
                  </a:lnTo>
                  <a:lnTo>
                    <a:pt x="319" y="586"/>
                  </a:lnTo>
                  <a:lnTo>
                    <a:pt x="340" y="567"/>
                  </a:lnTo>
                  <a:lnTo>
                    <a:pt x="357" y="534"/>
                  </a:lnTo>
                  <a:lnTo>
                    <a:pt x="373" y="515"/>
                  </a:lnTo>
                  <a:lnTo>
                    <a:pt x="376" y="472"/>
                  </a:lnTo>
                  <a:lnTo>
                    <a:pt x="388" y="458"/>
                  </a:lnTo>
                  <a:lnTo>
                    <a:pt x="402" y="444"/>
                  </a:lnTo>
                  <a:lnTo>
                    <a:pt x="437" y="430"/>
                  </a:lnTo>
                  <a:lnTo>
                    <a:pt x="435" y="425"/>
                  </a:lnTo>
                  <a:lnTo>
                    <a:pt x="475" y="425"/>
                  </a:lnTo>
                  <a:lnTo>
                    <a:pt x="475" y="418"/>
                  </a:lnTo>
                  <a:lnTo>
                    <a:pt x="489" y="411"/>
                  </a:lnTo>
                  <a:lnTo>
                    <a:pt x="492" y="394"/>
                  </a:lnTo>
                  <a:lnTo>
                    <a:pt x="508" y="371"/>
                  </a:lnTo>
                  <a:lnTo>
                    <a:pt x="510" y="347"/>
                  </a:lnTo>
                  <a:lnTo>
                    <a:pt x="515" y="340"/>
                  </a:lnTo>
                  <a:lnTo>
                    <a:pt x="520" y="274"/>
                  </a:lnTo>
                  <a:lnTo>
                    <a:pt x="570" y="217"/>
                  </a:lnTo>
                  <a:lnTo>
                    <a:pt x="581" y="187"/>
                  </a:lnTo>
                  <a:lnTo>
                    <a:pt x="572" y="153"/>
                  </a:lnTo>
                  <a:lnTo>
                    <a:pt x="548" y="151"/>
                  </a:lnTo>
                  <a:lnTo>
                    <a:pt x="503" y="118"/>
                  </a:lnTo>
                  <a:lnTo>
                    <a:pt x="482" y="120"/>
                  </a:lnTo>
                  <a:lnTo>
                    <a:pt x="451" y="111"/>
                  </a:lnTo>
                  <a:lnTo>
                    <a:pt x="435" y="118"/>
                  </a:lnTo>
                  <a:lnTo>
                    <a:pt x="437" y="109"/>
                  </a:lnTo>
                  <a:lnTo>
                    <a:pt x="432" y="99"/>
                  </a:lnTo>
                  <a:lnTo>
                    <a:pt x="423" y="99"/>
                  </a:lnTo>
                  <a:lnTo>
                    <a:pt x="423" y="94"/>
                  </a:lnTo>
                  <a:lnTo>
                    <a:pt x="388" y="85"/>
                  </a:lnTo>
                  <a:lnTo>
                    <a:pt x="376" y="99"/>
                  </a:lnTo>
                  <a:lnTo>
                    <a:pt x="373" y="97"/>
                  </a:lnTo>
                  <a:lnTo>
                    <a:pt x="378" y="80"/>
                  </a:lnTo>
                  <a:lnTo>
                    <a:pt x="369" y="78"/>
                  </a:lnTo>
                  <a:lnTo>
                    <a:pt x="347" y="80"/>
                  </a:lnTo>
                  <a:lnTo>
                    <a:pt x="345" y="99"/>
                  </a:lnTo>
                  <a:lnTo>
                    <a:pt x="343" y="90"/>
                  </a:lnTo>
                  <a:lnTo>
                    <a:pt x="333" y="94"/>
                  </a:lnTo>
                  <a:lnTo>
                    <a:pt x="338" y="78"/>
                  </a:lnTo>
                  <a:lnTo>
                    <a:pt x="355" y="61"/>
                  </a:lnTo>
                  <a:lnTo>
                    <a:pt x="357" y="50"/>
                  </a:lnTo>
                  <a:lnTo>
                    <a:pt x="347" y="47"/>
                  </a:lnTo>
                  <a:lnTo>
                    <a:pt x="340" y="19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0" name="Freeform 68"/>
            <p:cNvSpPr>
              <a:spLocks/>
            </p:cNvSpPr>
            <p:nvPr/>
          </p:nvSpPr>
          <p:spPr bwMode="auto">
            <a:xfrm>
              <a:off x="3383" y="3332"/>
              <a:ext cx="25" cy="29"/>
            </a:xfrm>
            <a:custGeom>
              <a:avLst/>
              <a:gdLst>
                <a:gd name="T0" fmla="*/ 0 w 43"/>
                <a:gd name="T1" fmla="*/ 1 h 54"/>
                <a:gd name="T2" fmla="*/ 1 w 43"/>
                <a:gd name="T3" fmla="*/ 1 h 54"/>
                <a:gd name="T4" fmla="*/ 1 w 43"/>
                <a:gd name="T5" fmla="*/ 1 h 54"/>
                <a:gd name="T6" fmla="*/ 1 w 43"/>
                <a:gd name="T7" fmla="*/ 1 h 54"/>
                <a:gd name="T8" fmla="*/ 1 w 43"/>
                <a:gd name="T9" fmla="*/ 1 h 54"/>
                <a:gd name="T10" fmla="*/ 1 w 43"/>
                <a:gd name="T11" fmla="*/ 0 h 54"/>
                <a:gd name="T12" fmla="*/ 1 w 43"/>
                <a:gd name="T13" fmla="*/ 1 h 54"/>
                <a:gd name="T14" fmla="*/ 1 w 43"/>
                <a:gd name="T15" fmla="*/ 1 h 54"/>
                <a:gd name="T16" fmla="*/ 1 w 43"/>
                <a:gd name="T17" fmla="*/ 1 h 54"/>
                <a:gd name="T18" fmla="*/ 0 w 43"/>
                <a:gd name="T19" fmla="*/ 1 h 5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54"/>
                <a:gd name="T32" fmla="*/ 43 w 43"/>
                <a:gd name="T33" fmla="*/ 54 h 5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54">
                  <a:moveTo>
                    <a:pt x="0" y="49"/>
                  </a:moveTo>
                  <a:lnTo>
                    <a:pt x="10" y="54"/>
                  </a:lnTo>
                  <a:lnTo>
                    <a:pt x="22" y="49"/>
                  </a:lnTo>
                  <a:lnTo>
                    <a:pt x="43" y="23"/>
                  </a:lnTo>
                  <a:lnTo>
                    <a:pt x="7" y="0"/>
                  </a:lnTo>
                  <a:lnTo>
                    <a:pt x="7" y="2"/>
                  </a:lnTo>
                  <a:lnTo>
                    <a:pt x="3" y="9"/>
                  </a:lnTo>
                  <a:lnTo>
                    <a:pt x="7" y="28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1" name="Freeform 69"/>
            <p:cNvSpPr>
              <a:spLocks/>
            </p:cNvSpPr>
            <p:nvPr/>
          </p:nvSpPr>
          <p:spPr bwMode="auto">
            <a:xfrm>
              <a:off x="3351" y="3331"/>
              <a:ext cx="36" cy="30"/>
            </a:xfrm>
            <a:custGeom>
              <a:avLst/>
              <a:gdLst>
                <a:gd name="T0" fmla="*/ 1 w 61"/>
                <a:gd name="T1" fmla="*/ 1 h 57"/>
                <a:gd name="T2" fmla="*/ 1 w 61"/>
                <a:gd name="T3" fmla="*/ 1 h 57"/>
                <a:gd name="T4" fmla="*/ 1 w 61"/>
                <a:gd name="T5" fmla="*/ 1 h 57"/>
                <a:gd name="T6" fmla="*/ 1 w 61"/>
                <a:gd name="T7" fmla="*/ 1 h 57"/>
                <a:gd name="T8" fmla="*/ 1 w 61"/>
                <a:gd name="T9" fmla="*/ 1 h 57"/>
                <a:gd name="T10" fmla="*/ 1 w 61"/>
                <a:gd name="T11" fmla="*/ 0 h 57"/>
                <a:gd name="T12" fmla="*/ 1 w 61"/>
                <a:gd name="T13" fmla="*/ 0 h 57"/>
                <a:gd name="T14" fmla="*/ 0 w 61"/>
                <a:gd name="T15" fmla="*/ 1 h 57"/>
                <a:gd name="T16" fmla="*/ 1 w 61"/>
                <a:gd name="T17" fmla="*/ 1 h 57"/>
                <a:gd name="T18" fmla="*/ 1 w 61"/>
                <a:gd name="T19" fmla="*/ 1 h 57"/>
                <a:gd name="T20" fmla="*/ 1 w 61"/>
                <a:gd name="T21" fmla="*/ 1 h 57"/>
                <a:gd name="T22" fmla="*/ 1 w 61"/>
                <a:gd name="T23" fmla="*/ 1 h 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1"/>
                <a:gd name="T37" fmla="*/ 0 h 57"/>
                <a:gd name="T38" fmla="*/ 61 w 61"/>
                <a:gd name="T39" fmla="*/ 57 h 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1" h="57">
                  <a:moveTo>
                    <a:pt x="54" y="52"/>
                  </a:moveTo>
                  <a:lnTo>
                    <a:pt x="61" y="31"/>
                  </a:lnTo>
                  <a:lnTo>
                    <a:pt x="57" y="12"/>
                  </a:lnTo>
                  <a:lnTo>
                    <a:pt x="61" y="5"/>
                  </a:lnTo>
                  <a:lnTo>
                    <a:pt x="61" y="3"/>
                  </a:lnTo>
                  <a:lnTo>
                    <a:pt x="17" y="0"/>
                  </a:lnTo>
                  <a:lnTo>
                    <a:pt x="0" y="24"/>
                  </a:lnTo>
                  <a:lnTo>
                    <a:pt x="24" y="57"/>
                  </a:lnTo>
                  <a:lnTo>
                    <a:pt x="31" y="57"/>
                  </a:lnTo>
                  <a:lnTo>
                    <a:pt x="35" y="50"/>
                  </a:lnTo>
                  <a:lnTo>
                    <a:pt x="54" y="5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2" name="Freeform 70"/>
            <p:cNvSpPr>
              <a:spLocks/>
            </p:cNvSpPr>
            <p:nvPr/>
          </p:nvSpPr>
          <p:spPr bwMode="auto">
            <a:xfrm>
              <a:off x="3323" y="3311"/>
              <a:ext cx="42" cy="55"/>
            </a:xfrm>
            <a:custGeom>
              <a:avLst/>
              <a:gdLst>
                <a:gd name="T0" fmla="*/ 1 w 71"/>
                <a:gd name="T1" fmla="*/ 0 h 104"/>
                <a:gd name="T2" fmla="*/ 1 w 71"/>
                <a:gd name="T3" fmla="*/ 1 h 104"/>
                <a:gd name="T4" fmla="*/ 1 w 71"/>
                <a:gd name="T5" fmla="*/ 1 h 104"/>
                <a:gd name="T6" fmla="*/ 1 w 71"/>
                <a:gd name="T7" fmla="*/ 1 h 104"/>
                <a:gd name="T8" fmla="*/ 2 w 71"/>
                <a:gd name="T9" fmla="*/ 1 h 104"/>
                <a:gd name="T10" fmla="*/ 2 w 71"/>
                <a:gd name="T11" fmla="*/ 1 h 104"/>
                <a:gd name="T12" fmla="*/ 1 w 71"/>
                <a:gd name="T13" fmla="*/ 1 h 104"/>
                <a:gd name="T14" fmla="*/ 2 w 71"/>
                <a:gd name="T15" fmla="*/ 1 h 104"/>
                <a:gd name="T16" fmla="*/ 1 w 71"/>
                <a:gd name="T17" fmla="*/ 1 h 104"/>
                <a:gd name="T18" fmla="*/ 1 w 71"/>
                <a:gd name="T19" fmla="*/ 1 h 104"/>
                <a:gd name="T20" fmla="*/ 1 w 71"/>
                <a:gd name="T21" fmla="*/ 1 h 104"/>
                <a:gd name="T22" fmla="*/ 1 w 71"/>
                <a:gd name="T23" fmla="*/ 1 h 104"/>
                <a:gd name="T24" fmla="*/ 1 w 71"/>
                <a:gd name="T25" fmla="*/ 1 h 104"/>
                <a:gd name="T26" fmla="*/ 1 w 71"/>
                <a:gd name="T27" fmla="*/ 1 h 104"/>
                <a:gd name="T28" fmla="*/ 0 w 71"/>
                <a:gd name="T29" fmla="*/ 1 h 104"/>
                <a:gd name="T30" fmla="*/ 1 w 71"/>
                <a:gd name="T31" fmla="*/ 1 h 104"/>
                <a:gd name="T32" fmla="*/ 1 w 71"/>
                <a:gd name="T33" fmla="*/ 1 h 104"/>
                <a:gd name="T34" fmla="*/ 1 w 71"/>
                <a:gd name="T35" fmla="*/ 1 h 104"/>
                <a:gd name="T36" fmla="*/ 1 w 71"/>
                <a:gd name="T37" fmla="*/ 0 h 104"/>
                <a:gd name="T38" fmla="*/ 1 w 71"/>
                <a:gd name="T39" fmla="*/ 0 h 10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1"/>
                <a:gd name="T61" fmla="*/ 0 h 104"/>
                <a:gd name="T62" fmla="*/ 71 w 71"/>
                <a:gd name="T63" fmla="*/ 104 h 10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1" h="104">
                  <a:moveTo>
                    <a:pt x="23" y="0"/>
                  </a:moveTo>
                  <a:lnTo>
                    <a:pt x="38" y="9"/>
                  </a:lnTo>
                  <a:lnTo>
                    <a:pt x="40" y="23"/>
                  </a:lnTo>
                  <a:lnTo>
                    <a:pt x="47" y="21"/>
                  </a:lnTo>
                  <a:lnTo>
                    <a:pt x="64" y="37"/>
                  </a:lnTo>
                  <a:lnTo>
                    <a:pt x="47" y="61"/>
                  </a:lnTo>
                  <a:lnTo>
                    <a:pt x="71" y="94"/>
                  </a:lnTo>
                  <a:lnTo>
                    <a:pt x="38" y="104"/>
                  </a:lnTo>
                  <a:lnTo>
                    <a:pt x="28" y="101"/>
                  </a:lnTo>
                  <a:lnTo>
                    <a:pt x="21" y="85"/>
                  </a:lnTo>
                  <a:lnTo>
                    <a:pt x="23" y="61"/>
                  </a:lnTo>
                  <a:lnTo>
                    <a:pt x="19" y="47"/>
                  </a:lnTo>
                  <a:lnTo>
                    <a:pt x="9" y="47"/>
                  </a:lnTo>
                  <a:lnTo>
                    <a:pt x="0" y="35"/>
                  </a:lnTo>
                  <a:lnTo>
                    <a:pt x="2" y="23"/>
                  </a:lnTo>
                  <a:lnTo>
                    <a:pt x="12" y="19"/>
                  </a:lnTo>
                  <a:lnTo>
                    <a:pt x="9" y="9"/>
                  </a:lnTo>
                  <a:lnTo>
                    <a:pt x="21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3" name="Freeform 71"/>
            <p:cNvSpPr>
              <a:spLocks/>
            </p:cNvSpPr>
            <p:nvPr/>
          </p:nvSpPr>
          <p:spPr bwMode="auto">
            <a:xfrm>
              <a:off x="3216" y="3281"/>
              <a:ext cx="121" cy="88"/>
            </a:xfrm>
            <a:custGeom>
              <a:avLst/>
              <a:gdLst>
                <a:gd name="T0" fmla="*/ 5 w 203"/>
                <a:gd name="T1" fmla="*/ 1 h 170"/>
                <a:gd name="T2" fmla="*/ 5 w 203"/>
                <a:gd name="T3" fmla="*/ 1 h 170"/>
                <a:gd name="T4" fmla="*/ 5 w 203"/>
                <a:gd name="T5" fmla="*/ 1 h 170"/>
                <a:gd name="T6" fmla="*/ 5 w 203"/>
                <a:gd name="T7" fmla="*/ 1 h 170"/>
                <a:gd name="T8" fmla="*/ 5 w 203"/>
                <a:gd name="T9" fmla="*/ 1 h 170"/>
                <a:gd name="T10" fmla="*/ 5 w 203"/>
                <a:gd name="T11" fmla="*/ 1 h 170"/>
                <a:gd name="T12" fmla="*/ 5 w 203"/>
                <a:gd name="T13" fmla="*/ 1 h 170"/>
                <a:gd name="T14" fmla="*/ 4 w 203"/>
                <a:gd name="T15" fmla="*/ 2 h 170"/>
                <a:gd name="T16" fmla="*/ 4 w 203"/>
                <a:gd name="T17" fmla="*/ 2 h 170"/>
                <a:gd name="T18" fmla="*/ 4 w 203"/>
                <a:gd name="T19" fmla="*/ 2 h 170"/>
                <a:gd name="T20" fmla="*/ 4 w 203"/>
                <a:gd name="T21" fmla="*/ 2 h 170"/>
                <a:gd name="T22" fmla="*/ 4 w 203"/>
                <a:gd name="T23" fmla="*/ 2 h 170"/>
                <a:gd name="T24" fmla="*/ 3 w 203"/>
                <a:gd name="T25" fmla="*/ 2 h 170"/>
                <a:gd name="T26" fmla="*/ 3 w 203"/>
                <a:gd name="T27" fmla="*/ 2 h 170"/>
                <a:gd name="T28" fmla="*/ 2 w 203"/>
                <a:gd name="T29" fmla="*/ 2 h 170"/>
                <a:gd name="T30" fmla="*/ 2 w 203"/>
                <a:gd name="T31" fmla="*/ 2 h 170"/>
                <a:gd name="T32" fmla="*/ 2 w 203"/>
                <a:gd name="T33" fmla="*/ 2 h 170"/>
                <a:gd name="T34" fmla="*/ 2 w 203"/>
                <a:gd name="T35" fmla="*/ 2 h 170"/>
                <a:gd name="T36" fmla="*/ 2 w 203"/>
                <a:gd name="T37" fmla="*/ 2 h 170"/>
                <a:gd name="T38" fmla="*/ 2 w 203"/>
                <a:gd name="T39" fmla="*/ 1 h 170"/>
                <a:gd name="T40" fmla="*/ 2 w 203"/>
                <a:gd name="T41" fmla="*/ 1 h 170"/>
                <a:gd name="T42" fmla="*/ 2 w 203"/>
                <a:gd name="T43" fmla="*/ 1 h 170"/>
                <a:gd name="T44" fmla="*/ 1 w 203"/>
                <a:gd name="T45" fmla="*/ 1 h 170"/>
                <a:gd name="T46" fmla="*/ 1 w 203"/>
                <a:gd name="T47" fmla="*/ 1 h 170"/>
                <a:gd name="T48" fmla="*/ 1 w 203"/>
                <a:gd name="T49" fmla="*/ 1 h 170"/>
                <a:gd name="T50" fmla="*/ 1 w 203"/>
                <a:gd name="T51" fmla="*/ 1 h 170"/>
                <a:gd name="T52" fmla="*/ 0 w 203"/>
                <a:gd name="T53" fmla="*/ 1 h 170"/>
                <a:gd name="T54" fmla="*/ 1 w 203"/>
                <a:gd name="T55" fmla="*/ 1 h 170"/>
                <a:gd name="T56" fmla="*/ 1 w 203"/>
                <a:gd name="T57" fmla="*/ 1 h 170"/>
                <a:gd name="T58" fmla="*/ 1 w 203"/>
                <a:gd name="T59" fmla="*/ 1 h 170"/>
                <a:gd name="T60" fmla="*/ 1 w 203"/>
                <a:gd name="T61" fmla="*/ 1 h 170"/>
                <a:gd name="T62" fmla="*/ 1 w 203"/>
                <a:gd name="T63" fmla="*/ 1 h 170"/>
                <a:gd name="T64" fmla="*/ 1 w 203"/>
                <a:gd name="T65" fmla="*/ 1 h 170"/>
                <a:gd name="T66" fmla="*/ 1 w 203"/>
                <a:gd name="T67" fmla="*/ 1 h 170"/>
                <a:gd name="T68" fmla="*/ 1 w 203"/>
                <a:gd name="T69" fmla="*/ 1 h 170"/>
                <a:gd name="T70" fmla="*/ 1 w 203"/>
                <a:gd name="T71" fmla="*/ 1 h 170"/>
                <a:gd name="T72" fmla="*/ 1 w 203"/>
                <a:gd name="T73" fmla="*/ 1 h 170"/>
                <a:gd name="T74" fmla="*/ 1 w 203"/>
                <a:gd name="T75" fmla="*/ 0 h 170"/>
                <a:gd name="T76" fmla="*/ 1 w 203"/>
                <a:gd name="T77" fmla="*/ 1 h 170"/>
                <a:gd name="T78" fmla="*/ 2 w 203"/>
                <a:gd name="T79" fmla="*/ 1 h 170"/>
                <a:gd name="T80" fmla="*/ 2 w 203"/>
                <a:gd name="T81" fmla="*/ 1 h 170"/>
                <a:gd name="T82" fmla="*/ 3 w 203"/>
                <a:gd name="T83" fmla="*/ 1 h 170"/>
                <a:gd name="T84" fmla="*/ 3 w 203"/>
                <a:gd name="T85" fmla="*/ 1 h 170"/>
                <a:gd name="T86" fmla="*/ 4 w 203"/>
                <a:gd name="T87" fmla="*/ 1 h 170"/>
                <a:gd name="T88" fmla="*/ 5 w 203"/>
                <a:gd name="T89" fmla="*/ 1 h 170"/>
                <a:gd name="T90" fmla="*/ 4 w 203"/>
                <a:gd name="T91" fmla="*/ 1 h 170"/>
                <a:gd name="T92" fmla="*/ 5 w 203"/>
                <a:gd name="T93" fmla="*/ 1 h 170"/>
                <a:gd name="T94" fmla="*/ 5 w 203"/>
                <a:gd name="T95" fmla="*/ 1 h 170"/>
                <a:gd name="T96" fmla="*/ 5 w 203"/>
                <a:gd name="T97" fmla="*/ 1 h 170"/>
                <a:gd name="T98" fmla="*/ 5 w 203"/>
                <a:gd name="T99" fmla="*/ 1 h 170"/>
                <a:gd name="T100" fmla="*/ 5 w 203"/>
                <a:gd name="T101" fmla="*/ 1 h 170"/>
                <a:gd name="T102" fmla="*/ 5 w 203"/>
                <a:gd name="T103" fmla="*/ 1 h 1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03"/>
                <a:gd name="T157" fmla="*/ 0 h 170"/>
                <a:gd name="T158" fmla="*/ 203 w 203"/>
                <a:gd name="T159" fmla="*/ 170 h 1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03" h="170">
                  <a:moveTo>
                    <a:pt x="201" y="59"/>
                  </a:moveTo>
                  <a:lnTo>
                    <a:pt x="189" y="68"/>
                  </a:lnTo>
                  <a:lnTo>
                    <a:pt x="192" y="78"/>
                  </a:lnTo>
                  <a:lnTo>
                    <a:pt x="182" y="82"/>
                  </a:lnTo>
                  <a:lnTo>
                    <a:pt x="180" y="94"/>
                  </a:lnTo>
                  <a:lnTo>
                    <a:pt x="189" y="106"/>
                  </a:lnTo>
                  <a:lnTo>
                    <a:pt x="185" y="113"/>
                  </a:lnTo>
                  <a:lnTo>
                    <a:pt x="154" y="125"/>
                  </a:lnTo>
                  <a:lnTo>
                    <a:pt x="128" y="120"/>
                  </a:lnTo>
                  <a:lnTo>
                    <a:pt x="135" y="130"/>
                  </a:lnTo>
                  <a:lnTo>
                    <a:pt x="135" y="144"/>
                  </a:lnTo>
                  <a:lnTo>
                    <a:pt x="147" y="151"/>
                  </a:lnTo>
                  <a:lnTo>
                    <a:pt x="114" y="170"/>
                  </a:lnTo>
                  <a:lnTo>
                    <a:pt x="104" y="170"/>
                  </a:lnTo>
                  <a:lnTo>
                    <a:pt x="95" y="163"/>
                  </a:lnTo>
                  <a:lnTo>
                    <a:pt x="88" y="153"/>
                  </a:lnTo>
                  <a:lnTo>
                    <a:pt x="85" y="139"/>
                  </a:lnTo>
                  <a:lnTo>
                    <a:pt x="88" y="134"/>
                  </a:lnTo>
                  <a:lnTo>
                    <a:pt x="81" y="113"/>
                  </a:lnTo>
                  <a:lnTo>
                    <a:pt x="88" y="92"/>
                  </a:lnTo>
                  <a:lnTo>
                    <a:pt x="62" y="92"/>
                  </a:lnTo>
                  <a:lnTo>
                    <a:pt x="48" y="78"/>
                  </a:lnTo>
                  <a:lnTo>
                    <a:pt x="22" y="78"/>
                  </a:lnTo>
                  <a:lnTo>
                    <a:pt x="14" y="71"/>
                  </a:lnTo>
                  <a:lnTo>
                    <a:pt x="14" y="61"/>
                  </a:lnTo>
                  <a:lnTo>
                    <a:pt x="0" y="42"/>
                  </a:lnTo>
                  <a:lnTo>
                    <a:pt x="12" y="19"/>
                  </a:lnTo>
                  <a:lnTo>
                    <a:pt x="22" y="11"/>
                  </a:lnTo>
                  <a:lnTo>
                    <a:pt x="22" y="9"/>
                  </a:lnTo>
                  <a:lnTo>
                    <a:pt x="26" y="23"/>
                  </a:lnTo>
                  <a:lnTo>
                    <a:pt x="19" y="35"/>
                  </a:lnTo>
                  <a:lnTo>
                    <a:pt x="24" y="47"/>
                  </a:lnTo>
                  <a:lnTo>
                    <a:pt x="33" y="45"/>
                  </a:lnTo>
                  <a:lnTo>
                    <a:pt x="29" y="19"/>
                  </a:lnTo>
                  <a:lnTo>
                    <a:pt x="48" y="9"/>
                  </a:lnTo>
                  <a:lnTo>
                    <a:pt x="45" y="4"/>
                  </a:lnTo>
                  <a:lnTo>
                    <a:pt x="50" y="0"/>
                  </a:lnTo>
                  <a:lnTo>
                    <a:pt x="52" y="9"/>
                  </a:lnTo>
                  <a:lnTo>
                    <a:pt x="74" y="16"/>
                  </a:lnTo>
                  <a:lnTo>
                    <a:pt x="76" y="26"/>
                  </a:lnTo>
                  <a:lnTo>
                    <a:pt x="107" y="23"/>
                  </a:lnTo>
                  <a:lnTo>
                    <a:pt x="123" y="30"/>
                  </a:lnTo>
                  <a:lnTo>
                    <a:pt x="140" y="23"/>
                  </a:lnTo>
                  <a:lnTo>
                    <a:pt x="166" y="23"/>
                  </a:lnTo>
                  <a:lnTo>
                    <a:pt x="154" y="26"/>
                  </a:lnTo>
                  <a:lnTo>
                    <a:pt x="163" y="35"/>
                  </a:lnTo>
                  <a:lnTo>
                    <a:pt x="185" y="40"/>
                  </a:lnTo>
                  <a:lnTo>
                    <a:pt x="185" y="56"/>
                  </a:lnTo>
                  <a:lnTo>
                    <a:pt x="194" y="54"/>
                  </a:lnTo>
                  <a:lnTo>
                    <a:pt x="203" y="59"/>
                  </a:lnTo>
                  <a:lnTo>
                    <a:pt x="201" y="59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4" name="Freeform 72"/>
            <p:cNvSpPr>
              <a:spLocks/>
            </p:cNvSpPr>
            <p:nvPr/>
          </p:nvSpPr>
          <p:spPr bwMode="auto">
            <a:xfrm>
              <a:off x="3907" y="2579"/>
              <a:ext cx="232" cy="243"/>
            </a:xfrm>
            <a:custGeom>
              <a:avLst/>
              <a:gdLst>
                <a:gd name="T0" fmla="*/ 2 w 392"/>
                <a:gd name="T1" fmla="*/ 5 h 466"/>
                <a:gd name="T2" fmla="*/ 2 w 392"/>
                <a:gd name="T3" fmla="*/ 5 h 466"/>
                <a:gd name="T4" fmla="*/ 1 w 392"/>
                <a:gd name="T5" fmla="*/ 5 h 466"/>
                <a:gd name="T6" fmla="*/ 1 w 392"/>
                <a:gd name="T7" fmla="*/ 5 h 466"/>
                <a:gd name="T8" fmla="*/ 1 w 392"/>
                <a:gd name="T9" fmla="*/ 5 h 466"/>
                <a:gd name="T10" fmla="*/ 1 w 392"/>
                <a:gd name="T11" fmla="*/ 4 h 466"/>
                <a:gd name="T12" fmla="*/ 0 w 392"/>
                <a:gd name="T13" fmla="*/ 4 h 466"/>
                <a:gd name="T14" fmla="*/ 1 w 392"/>
                <a:gd name="T15" fmla="*/ 4 h 466"/>
                <a:gd name="T16" fmla="*/ 1 w 392"/>
                <a:gd name="T17" fmla="*/ 3 h 466"/>
                <a:gd name="T18" fmla="*/ 2 w 392"/>
                <a:gd name="T19" fmla="*/ 3 h 466"/>
                <a:gd name="T20" fmla="*/ 3 w 392"/>
                <a:gd name="T21" fmla="*/ 3 h 466"/>
                <a:gd name="T22" fmla="*/ 4 w 392"/>
                <a:gd name="T23" fmla="*/ 2 h 466"/>
                <a:gd name="T24" fmla="*/ 4 w 392"/>
                <a:gd name="T25" fmla="*/ 2 h 466"/>
                <a:gd name="T26" fmla="*/ 3 w 392"/>
                <a:gd name="T27" fmla="*/ 2 h 466"/>
                <a:gd name="T28" fmla="*/ 4 w 392"/>
                <a:gd name="T29" fmla="*/ 1 h 466"/>
                <a:gd name="T30" fmla="*/ 4 w 392"/>
                <a:gd name="T31" fmla="*/ 1 h 466"/>
                <a:gd name="T32" fmla="*/ 5 w 392"/>
                <a:gd name="T33" fmla="*/ 1 h 466"/>
                <a:gd name="T34" fmla="*/ 5 w 392"/>
                <a:gd name="T35" fmla="*/ 1 h 466"/>
                <a:gd name="T36" fmla="*/ 5 w 392"/>
                <a:gd name="T37" fmla="*/ 1 h 466"/>
                <a:gd name="T38" fmla="*/ 6 w 392"/>
                <a:gd name="T39" fmla="*/ 1 h 466"/>
                <a:gd name="T40" fmla="*/ 7 w 392"/>
                <a:gd name="T41" fmla="*/ 1 h 466"/>
                <a:gd name="T42" fmla="*/ 8 w 392"/>
                <a:gd name="T43" fmla="*/ 1 h 466"/>
                <a:gd name="T44" fmla="*/ 8 w 392"/>
                <a:gd name="T45" fmla="*/ 1 h 466"/>
                <a:gd name="T46" fmla="*/ 8 w 392"/>
                <a:gd name="T47" fmla="*/ 1 h 466"/>
                <a:gd name="T48" fmla="*/ 9 w 392"/>
                <a:gd name="T49" fmla="*/ 1 h 466"/>
                <a:gd name="T50" fmla="*/ 9 w 392"/>
                <a:gd name="T51" fmla="*/ 1 h 466"/>
                <a:gd name="T52" fmla="*/ 9 w 392"/>
                <a:gd name="T53" fmla="*/ 1 h 466"/>
                <a:gd name="T54" fmla="*/ 10 w 392"/>
                <a:gd name="T55" fmla="*/ 1 h 466"/>
                <a:gd name="T56" fmla="*/ 10 w 392"/>
                <a:gd name="T57" fmla="*/ 1 h 466"/>
                <a:gd name="T58" fmla="*/ 9 w 392"/>
                <a:gd name="T59" fmla="*/ 1 h 466"/>
                <a:gd name="T60" fmla="*/ 8 w 392"/>
                <a:gd name="T61" fmla="*/ 1 h 466"/>
                <a:gd name="T62" fmla="*/ 8 w 392"/>
                <a:gd name="T63" fmla="*/ 1 h 466"/>
                <a:gd name="T64" fmla="*/ 7 w 392"/>
                <a:gd name="T65" fmla="*/ 1 h 466"/>
                <a:gd name="T66" fmla="*/ 7 w 392"/>
                <a:gd name="T67" fmla="*/ 1 h 466"/>
                <a:gd name="T68" fmla="*/ 6 w 392"/>
                <a:gd name="T69" fmla="*/ 1 h 466"/>
                <a:gd name="T70" fmla="*/ 5 w 392"/>
                <a:gd name="T71" fmla="*/ 1 h 466"/>
                <a:gd name="T72" fmla="*/ 5 w 392"/>
                <a:gd name="T73" fmla="*/ 2 h 466"/>
                <a:gd name="T74" fmla="*/ 5 w 392"/>
                <a:gd name="T75" fmla="*/ 2 h 466"/>
                <a:gd name="T76" fmla="*/ 4 w 392"/>
                <a:gd name="T77" fmla="*/ 2 h 466"/>
                <a:gd name="T78" fmla="*/ 4 w 392"/>
                <a:gd name="T79" fmla="*/ 2 h 466"/>
                <a:gd name="T80" fmla="*/ 4 w 392"/>
                <a:gd name="T81" fmla="*/ 3 h 466"/>
                <a:gd name="T82" fmla="*/ 4 w 392"/>
                <a:gd name="T83" fmla="*/ 3 h 466"/>
                <a:gd name="T84" fmla="*/ 3 w 392"/>
                <a:gd name="T85" fmla="*/ 3 h 466"/>
                <a:gd name="T86" fmla="*/ 3 w 392"/>
                <a:gd name="T87" fmla="*/ 4 h 466"/>
                <a:gd name="T88" fmla="*/ 3 w 392"/>
                <a:gd name="T89" fmla="*/ 4 h 466"/>
                <a:gd name="T90" fmla="*/ 2 w 392"/>
                <a:gd name="T91" fmla="*/ 5 h 466"/>
                <a:gd name="T92" fmla="*/ 2 w 392"/>
                <a:gd name="T93" fmla="*/ 5 h 46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2"/>
                <a:gd name="T142" fmla="*/ 0 h 466"/>
                <a:gd name="T143" fmla="*/ 392 w 392"/>
                <a:gd name="T144" fmla="*/ 466 h 46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2" h="466">
                  <a:moveTo>
                    <a:pt x="94" y="442"/>
                  </a:moveTo>
                  <a:lnTo>
                    <a:pt x="92" y="435"/>
                  </a:lnTo>
                  <a:lnTo>
                    <a:pt x="85" y="428"/>
                  </a:lnTo>
                  <a:lnTo>
                    <a:pt x="80" y="437"/>
                  </a:lnTo>
                  <a:lnTo>
                    <a:pt x="73" y="437"/>
                  </a:lnTo>
                  <a:lnTo>
                    <a:pt x="42" y="466"/>
                  </a:lnTo>
                  <a:lnTo>
                    <a:pt x="31" y="466"/>
                  </a:lnTo>
                  <a:lnTo>
                    <a:pt x="12" y="449"/>
                  </a:lnTo>
                  <a:lnTo>
                    <a:pt x="21" y="428"/>
                  </a:lnTo>
                  <a:lnTo>
                    <a:pt x="9" y="430"/>
                  </a:lnTo>
                  <a:lnTo>
                    <a:pt x="7" y="421"/>
                  </a:lnTo>
                  <a:lnTo>
                    <a:pt x="12" y="411"/>
                  </a:lnTo>
                  <a:lnTo>
                    <a:pt x="5" y="399"/>
                  </a:lnTo>
                  <a:lnTo>
                    <a:pt x="0" y="373"/>
                  </a:lnTo>
                  <a:lnTo>
                    <a:pt x="7" y="362"/>
                  </a:lnTo>
                  <a:lnTo>
                    <a:pt x="2" y="352"/>
                  </a:lnTo>
                  <a:lnTo>
                    <a:pt x="33" y="319"/>
                  </a:lnTo>
                  <a:lnTo>
                    <a:pt x="47" y="314"/>
                  </a:lnTo>
                  <a:lnTo>
                    <a:pt x="61" y="291"/>
                  </a:lnTo>
                  <a:lnTo>
                    <a:pt x="68" y="298"/>
                  </a:lnTo>
                  <a:lnTo>
                    <a:pt x="97" y="251"/>
                  </a:lnTo>
                  <a:lnTo>
                    <a:pt x="109" y="239"/>
                  </a:lnTo>
                  <a:lnTo>
                    <a:pt x="127" y="189"/>
                  </a:lnTo>
                  <a:lnTo>
                    <a:pt x="151" y="142"/>
                  </a:lnTo>
                  <a:lnTo>
                    <a:pt x="170" y="121"/>
                  </a:lnTo>
                  <a:lnTo>
                    <a:pt x="137" y="128"/>
                  </a:lnTo>
                  <a:lnTo>
                    <a:pt x="120" y="142"/>
                  </a:lnTo>
                  <a:lnTo>
                    <a:pt x="132" y="125"/>
                  </a:lnTo>
                  <a:lnTo>
                    <a:pt x="151" y="118"/>
                  </a:lnTo>
                  <a:lnTo>
                    <a:pt x="144" y="107"/>
                  </a:lnTo>
                  <a:lnTo>
                    <a:pt x="170" y="83"/>
                  </a:lnTo>
                  <a:lnTo>
                    <a:pt x="165" y="104"/>
                  </a:lnTo>
                  <a:lnTo>
                    <a:pt x="175" y="95"/>
                  </a:lnTo>
                  <a:lnTo>
                    <a:pt x="177" y="107"/>
                  </a:lnTo>
                  <a:lnTo>
                    <a:pt x="191" y="95"/>
                  </a:lnTo>
                  <a:lnTo>
                    <a:pt x="182" y="90"/>
                  </a:lnTo>
                  <a:lnTo>
                    <a:pt x="182" y="76"/>
                  </a:lnTo>
                  <a:lnTo>
                    <a:pt x="198" y="69"/>
                  </a:lnTo>
                  <a:lnTo>
                    <a:pt x="210" y="48"/>
                  </a:lnTo>
                  <a:lnTo>
                    <a:pt x="229" y="48"/>
                  </a:lnTo>
                  <a:lnTo>
                    <a:pt x="248" y="40"/>
                  </a:lnTo>
                  <a:lnTo>
                    <a:pt x="276" y="12"/>
                  </a:lnTo>
                  <a:lnTo>
                    <a:pt x="290" y="22"/>
                  </a:lnTo>
                  <a:lnTo>
                    <a:pt x="298" y="7"/>
                  </a:lnTo>
                  <a:lnTo>
                    <a:pt x="309" y="0"/>
                  </a:lnTo>
                  <a:lnTo>
                    <a:pt x="309" y="26"/>
                  </a:lnTo>
                  <a:lnTo>
                    <a:pt x="324" y="12"/>
                  </a:lnTo>
                  <a:lnTo>
                    <a:pt x="328" y="31"/>
                  </a:lnTo>
                  <a:lnTo>
                    <a:pt x="342" y="3"/>
                  </a:lnTo>
                  <a:lnTo>
                    <a:pt x="361" y="12"/>
                  </a:lnTo>
                  <a:lnTo>
                    <a:pt x="392" y="33"/>
                  </a:lnTo>
                  <a:lnTo>
                    <a:pt x="376" y="48"/>
                  </a:lnTo>
                  <a:lnTo>
                    <a:pt x="357" y="45"/>
                  </a:lnTo>
                  <a:lnTo>
                    <a:pt x="376" y="59"/>
                  </a:lnTo>
                  <a:lnTo>
                    <a:pt x="390" y="64"/>
                  </a:lnTo>
                  <a:lnTo>
                    <a:pt x="385" y="71"/>
                  </a:lnTo>
                  <a:lnTo>
                    <a:pt x="378" y="71"/>
                  </a:lnTo>
                  <a:lnTo>
                    <a:pt x="361" y="92"/>
                  </a:lnTo>
                  <a:lnTo>
                    <a:pt x="364" y="64"/>
                  </a:lnTo>
                  <a:lnTo>
                    <a:pt x="342" y="50"/>
                  </a:lnTo>
                  <a:lnTo>
                    <a:pt x="319" y="57"/>
                  </a:lnTo>
                  <a:lnTo>
                    <a:pt x="312" y="95"/>
                  </a:lnTo>
                  <a:lnTo>
                    <a:pt x="300" y="107"/>
                  </a:lnTo>
                  <a:lnTo>
                    <a:pt x="286" y="100"/>
                  </a:lnTo>
                  <a:lnTo>
                    <a:pt x="274" y="107"/>
                  </a:lnTo>
                  <a:lnTo>
                    <a:pt x="267" y="104"/>
                  </a:lnTo>
                  <a:lnTo>
                    <a:pt x="246" y="81"/>
                  </a:lnTo>
                  <a:lnTo>
                    <a:pt x="234" y="92"/>
                  </a:lnTo>
                  <a:lnTo>
                    <a:pt x="229" y="92"/>
                  </a:lnTo>
                  <a:lnTo>
                    <a:pt x="229" y="116"/>
                  </a:lnTo>
                  <a:lnTo>
                    <a:pt x="203" y="114"/>
                  </a:lnTo>
                  <a:lnTo>
                    <a:pt x="198" y="116"/>
                  </a:lnTo>
                  <a:lnTo>
                    <a:pt x="196" y="133"/>
                  </a:lnTo>
                  <a:lnTo>
                    <a:pt x="184" y="133"/>
                  </a:lnTo>
                  <a:lnTo>
                    <a:pt x="179" y="137"/>
                  </a:lnTo>
                  <a:lnTo>
                    <a:pt x="170" y="156"/>
                  </a:lnTo>
                  <a:lnTo>
                    <a:pt x="172" y="166"/>
                  </a:lnTo>
                  <a:lnTo>
                    <a:pt x="168" y="177"/>
                  </a:lnTo>
                  <a:lnTo>
                    <a:pt x="153" y="206"/>
                  </a:lnTo>
                  <a:lnTo>
                    <a:pt x="146" y="206"/>
                  </a:lnTo>
                  <a:lnTo>
                    <a:pt x="142" y="239"/>
                  </a:lnTo>
                  <a:lnTo>
                    <a:pt x="132" y="258"/>
                  </a:lnTo>
                  <a:lnTo>
                    <a:pt x="137" y="277"/>
                  </a:lnTo>
                  <a:lnTo>
                    <a:pt x="120" y="281"/>
                  </a:lnTo>
                  <a:lnTo>
                    <a:pt x="109" y="291"/>
                  </a:lnTo>
                  <a:lnTo>
                    <a:pt x="106" y="331"/>
                  </a:lnTo>
                  <a:lnTo>
                    <a:pt x="116" y="371"/>
                  </a:lnTo>
                  <a:lnTo>
                    <a:pt x="109" y="378"/>
                  </a:lnTo>
                  <a:lnTo>
                    <a:pt x="111" y="409"/>
                  </a:lnTo>
                  <a:lnTo>
                    <a:pt x="101" y="418"/>
                  </a:lnTo>
                  <a:lnTo>
                    <a:pt x="99" y="440"/>
                  </a:lnTo>
                  <a:lnTo>
                    <a:pt x="94" y="442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5" name="Freeform 73"/>
            <p:cNvSpPr>
              <a:spLocks/>
            </p:cNvSpPr>
            <p:nvPr/>
          </p:nvSpPr>
          <p:spPr bwMode="auto">
            <a:xfrm>
              <a:off x="4069" y="2847"/>
              <a:ext cx="85" cy="63"/>
            </a:xfrm>
            <a:custGeom>
              <a:avLst/>
              <a:gdLst>
                <a:gd name="T0" fmla="*/ 3 w 144"/>
                <a:gd name="T1" fmla="*/ 1 h 123"/>
                <a:gd name="T2" fmla="*/ 3 w 144"/>
                <a:gd name="T3" fmla="*/ 1 h 123"/>
                <a:gd name="T4" fmla="*/ 3 w 144"/>
                <a:gd name="T5" fmla="*/ 1 h 123"/>
                <a:gd name="T6" fmla="*/ 4 w 144"/>
                <a:gd name="T7" fmla="*/ 1 h 123"/>
                <a:gd name="T8" fmla="*/ 4 w 144"/>
                <a:gd name="T9" fmla="*/ 1 h 123"/>
                <a:gd name="T10" fmla="*/ 3 w 144"/>
                <a:gd name="T11" fmla="*/ 1 h 123"/>
                <a:gd name="T12" fmla="*/ 3 w 144"/>
                <a:gd name="T13" fmla="*/ 1 h 123"/>
                <a:gd name="T14" fmla="*/ 3 w 144"/>
                <a:gd name="T15" fmla="*/ 1 h 123"/>
                <a:gd name="T16" fmla="*/ 3 w 144"/>
                <a:gd name="T17" fmla="*/ 1 h 123"/>
                <a:gd name="T18" fmla="*/ 2 w 144"/>
                <a:gd name="T19" fmla="*/ 0 h 123"/>
                <a:gd name="T20" fmla="*/ 1 w 144"/>
                <a:gd name="T21" fmla="*/ 1 h 123"/>
                <a:gd name="T22" fmla="*/ 1 w 144"/>
                <a:gd name="T23" fmla="*/ 1 h 123"/>
                <a:gd name="T24" fmla="*/ 1 w 144"/>
                <a:gd name="T25" fmla="*/ 1 h 123"/>
                <a:gd name="T26" fmla="*/ 1 w 144"/>
                <a:gd name="T27" fmla="*/ 1 h 123"/>
                <a:gd name="T28" fmla="*/ 1 w 144"/>
                <a:gd name="T29" fmla="*/ 1 h 123"/>
                <a:gd name="T30" fmla="*/ 1 w 144"/>
                <a:gd name="T31" fmla="*/ 1 h 123"/>
                <a:gd name="T32" fmla="*/ 1 w 144"/>
                <a:gd name="T33" fmla="*/ 1 h 123"/>
                <a:gd name="T34" fmla="*/ 1 w 144"/>
                <a:gd name="T35" fmla="*/ 1 h 123"/>
                <a:gd name="T36" fmla="*/ 1 w 144"/>
                <a:gd name="T37" fmla="*/ 1 h 123"/>
                <a:gd name="T38" fmla="*/ 0 w 144"/>
                <a:gd name="T39" fmla="*/ 1 h 123"/>
                <a:gd name="T40" fmla="*/ 1 w 144"/>
                <a:gd name="T41" fmla="*/ 1 h 123"/>
                <a:gd name="T42" fmla="*/ 1 w 144"/>
                <a:gd name="T43" fmla="*/ 1 h 123"/>
                <a:gd name="T44" fmla="*/ 1 w 144"/>
                <a:gd name="T45" fmla="*/ 1 h 123"/>
                <a:gd name="T46" fmla="*/ 2 w 144"/>
                <a:gd name="T47" fmla="*/ 1 h 123"/>
                <a:gd name="T48" fmla="*/ 2 w 144"/>
                <a:gd name="T49" fmla="*/ 1 h 123"/>
                <a:gd name="T50" fmla="*/ 2 w 144"/>
                <a:gd name="T51" fmla="*/ 1 h 123"/>
                <a:gd name="T52" fmla="*/ 2 w 144"/>
                <a:gd name="T53" fmla="*/ 1 h 123"/>
                <a:gd name="T54" fmla="*/ 2 w 144"/>
                <a:gd name="T55" fmla="*/ 1 h 123"/>
                <a:gd name="T56" fmla="*/ 3 w 144"/>
                <a:gd name="T57" fmla="*/ 1 h 123"/>
                <a:gd name="T58" fmla="*/ 3 w 144"/>
                <a:gd name="T59" fmla="*/ 1 h 123"/>
                <a:gd name="T60" fmla="*/ 3 w 144"/>
                <a:gd name="T61" fmla="*/ 1 h 12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44"/>
                <a:gd name="T94" fmla="*/ 0 h 123"/>
                <a:gd name="T95" fmla="*/ 144 w 144"/>
                <a:gd name="T96" fmla="*/ 123 h 12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44" h="123">
                  <a:moveTo>
                    <a:pt x="130" y="101"/>
                  </a:moveTo>
                  <a:lnTo>
                    <a:pt x="120" y="78"/>
                  </a:lnTo>
                  <a:lnTo>
                    <a:pt x="125" y="73"/>
                  </a:lnTo>
                  <a:lnTo>
                    <a:pt x="135" y="78"/>
                  </a:lnTo>
                  <a:lnTo>
                    <a:pt x="144" y="66"/>
                  </a:lnTo>
                  <a:lnTo>
                    <a:pt x="130" y="61"/>
                  </a:lnTo>
                  <a:lnTo>
                    <a:pt x="116" y="35"/>
                  </a:lnTo>
                  <a:lnTo>
                    <a:pt x="116" y="14"/>
                  </a:lnTo>
                  <a:lnTo>
                    <a:pt x="106" y="9"/>
                  </a:lnTo>
                  <a:lnTo>
                    <a:pt x="76" y="0"/>
                  </a:lnTo>
                  <a:lnTo>
                    <a:pt x="54" y="14"/>
                  </a:lnTo>
                  <a:lnTo>
                    <a:pt x="52" y="28"/>
                  </a:lnTo>
                  <a:lnTo>
                    <a:pt x="40" y="31"/>
                  </a:lnTo>
                  <a:lnTo>
                    <a:pt x="40" y="52"/>
                  </a:lnTo>
                  <a:lnTo>
                    <a:pt x="31" y="49"/>
                  </a:lnTo>
                  <a:lnTo>
                    <a:pt x="26" y="57"/>
                  </a:lnTo>
                  <a:lnTo>
                    <a:pt x="5" y="59"/>
                  </a:lnTo>
                  <a:lnTo>
                    <a:pt x="2" y="59"/>
                  </a:lnTo>
                  <a:lnTo>
                    <a:pt x="9" y="85"/>
                  </a:lnTo>
                  <a:lnTo>
                    <a:pt x="0" y="104"/>
                  </a:lnTo>
                  <a:lnTo>
                    <a:pt x="2" y="118"/>
                  </a:lnTo>
                  <a:lnTo>
                    <a:pt x="21" y="109"/>
                  </a:lnTo>
                  <a:lnTo>
                    <a:pt x="40" y="106"/>
                  </a:lnTo>
                  <a:lnTo>
                    <a:pt x="68" y="118"/>
                  </a:lnTo>
                  <a:lnTo>
                    <a:pt x="76" y="116"/>
                  </a:lnTo>
                  <a:lnTo>
                    <a:pt x="85" y="120"/>
                  </a:lnTo>
                  <a:lnTo>
                    <a:pt x="87" y="116"/>
                  </a:lnTo>
                  <a:lnTo>
                    <a:pt x="94" y="120"/>
                  </a:lnTo>
                  <a:lnTo>
                    <a:pt x="109" y="123"/>
                  </a:lnTo>
                  <a:lnTo>
                    <a:pt x="118" y="104"/>
                  </a:lnTo>
                  <a:lnTo>
                    <a:pt x="130" y="101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6" name="Freeform 74"/>
            <p:cNvSpPr>
              <a:spLocks/>
            </p:cNvSpPr>
            <p:nvPr/>
          </p:nvSpPr>
          <p:spPr bwMode="auto">
            <a:xfrm>
              <a:off x="4103" y="2385"/>
              <a:ext cx="1441" cy="639"/>
            </a:xfrm>
            <a:custGeom>
              <a:avLst/>
              <a:gdLst>
                <a:gd name="T0" fmla="*/ 33 w 2433"/>
                <a:gd name="T1" fmla="*/ 2 h 1226"/>
                <a:gd name="T2" fmla="*/ 30 w 2433"/>
                <a:gd name="T3" fmla="*/ 1 h 1226"/>
                <a:gd name="T4" fmla="*/ 24 w 2433"/>
                <a:gd name="T5" fmla="*/ 2 h 1226"/>
                <a:gd name="T6" fmla="*/ 20 w 2433"/>
                <a:gd name="T7" fmla="*/ 3 h 1226"/>
                <a:gd name="T8" fmla="*/ 18 w 2433"/>
                <a:gd name="T9" fmla="*/ 4 h 1226"/>
                <a:gd name="T10" fmla="*/ 17 w 2433"/>
                <a:gd name="T11" fmla="*/ 6 h 1226"/>
                <a:gd name="T12" fmla="*/ 18 w 2433"/>
                <a:gd name="T13" fmla="*/ 3 h 1226"/>
                <a:gd name="T14" fmla="*/ 16 w 2433"/>
                <a:gd name="T15" fmla="*/ 5 h 1226"/>
                <a:gd name="T16" fmla="*/ 12 w 2433"/>
                <a:gd name="T17" fmla="*/ 5 h 1226"/>
                <a:gd name="T18" fmla="*/ 7 w 2433"/>
                <a:gd name="T19" fmla="*/ 6 h 1226"/>
                <a:gd name="T20" fmla="*/ 7 w 2433"/>
                <a:gd name="T21" fmla="*/ 6 h 1226"/>
                <a:gd name="T22" fmla="*/ 4 w 2433"/>
                <a:gd name="T23" fmla="*/ 7 h 1226"/>
                <a:gd name="T24" fmla="*/ 4 w 2433"/>
                <a:gd name="T25" fmla="*/ 6 h 1226"/>
                <a:gd name="T26" fmla="*/ 1 w 2433"/>
                <a:gd name="T27" fmla="*/ 5 h 1226"/>
                <a:gd name="T28" fmla="*/ 1 w 2433"/>
                <a:gd name="T29" fmla="*/ 6 h 1226"/>
                <a:gd name="T30" fmla="*/ 1 w 2433"/>
                <a:gd name="T31" fmla="*/ 8 h 1226"/>
                <a:gd name="T32" fmla="*/ 1 w 2433"/>
                <a:gd name="T33" fmla="*/ 9 h 1226"/>
                <a:gd name="T34" fmla="*/ 1 w 2433"/>
                <a:gd name="T35" fmla="*/ 9 h 1226"/>
                <a:gd name="T36" fmla="*/ 2 w 2433"/>
                <a:gd name="T37" fmla="*/ 10 h 1226"/>
                <a:gd name="T38" fmla="*/ 4 w 2433"/>
                <a:gd name="T39" fmla="*/ 11 h 1226"/>
                <a:gd name="T40" fmla="*/ 5 w 2433"/>
                <a:gd name="T41" fmla="*/ 11 h 1226"/>
                <a:gd name="T42" fmla="*/ 5 w 2433"/>
                <a:gd name="T43" fmla="*/ 12 h 1226"/>
                <a:gd name="T44" fmla="*/ 8 w 2433"/>
                <a:gd name="T45" fmla="*/ 13 h 1226"/>
                <a:gd name="T46" fmla="*/ 8 w 2433"/>
                <a:gd name="T47" fmla="*/ 11 h 1226"/>
                <a:gd name="T48" fmla="*/ 8 w 2433"/>
                <a:gd name="T49" fmla="*/ 11 h 1226"/>
                <a:gd name="T50" fmla="*/ 11 w 2433"/>
                <a:gd name="T51" fmla="*/ 11 h 1226"/>
                <a:gd name="T52" fmla="*/ 13 w 2433"/>
                <a:gd name="T53" fmla="*/ 10 h 1226"/>
                <a:gd name="T54" fmla="*/ 16 w 2433"/>
                <a:gd name="T55" fmla="*/ 9 h 1226"/>
                <a:gd name="T56" fmla="*/ 18 w 2433"/>
                <a:gd name="T57" fmla="*/ 10 h 1226"/>
                <a:gd name="T58" fmla="*/ 22 w 2433"/>
                <a:gd name="T59" fmla="*/ 10 h 1226"/>
                <a:gd name="T60" fmla="*/ 24 w 2433"/>
                <a:gd name="T61" fmla="*/ 11 h 1226"/>
                <a:gd name="T62" fmla="*/ 28 w 2433"/>
                <a:gd name="T63" fmla="*/ 10 h 1226"/>
                <a:gd name="T64" fmla="*/ 33 w 2433"/>
                <a:gd name="T65" fmla="*/ 11 h 1226"/>
                <a:gd name="T66" fmla="*/ 36 w 2433"/>
                <a:gd name="T67" fmla="*/ 10 h 1226"/>
                <a:gd name="T68" fmla="*/ 39 w 2433"/>
                <a:gd name="T69" fmla="*/ 11 h 1226"/>
                <a:gd name="T70" fmla="*/ 40 w 2433"/>
                <a:gd name="T71" fmla="*/ 12 h 1226"/>
                <a:gd name="T72" fmla="*/ 40 w 2433"/>
                <a:gd name="T73" fmla="*/ 13 h 1226"/>
                <a:gd name="T74" fmla="*/ 43 w 2433"/>
                <a:gd name="T75" fmla="*/ 10 h 1226"/>
                <a:gd name="T76" fmla="*/ 41 w 2433"/>
                <a:gd name="T77" fmla="*/ 9 h 1226"/>
                <a:gd name="T78" fmla="*/ 46 w 2433"/>
                <a:gd name="T79" fmla="*/ 8 h 1226"/>
                <a:gd name="T80" fmla="*/ 49 w 2433"/>
                <a:gd name="T81" fmla="*/ 8 h 1226"/>
                <a:gd name="T82" fmla="*/ 52 w 2433"/>
                <a:gd name="T83" fmla="*/ 7 h 1226"/>
                <a:gd name="T84" fmla="*/ 49 w 2433"/>
                <a:gd name="T85" fmla="*/ 9 h 1226"/>
                <a:gd name="T86" fmla="*/ 51 w 2433"/>
                <a:gd name="T87" fmla="*/ 10 h 1226"/>
                <a:gd name="T88" fmla="*/ 52 w 2433"/>
                <a:gd name="T89" fmla="*/ 9 h 1226"/>
                <a:gd name="T90" fmla="*/ 52 w 2433"/>
                <a:gd name="T91" fmla="*/ 8 h 1226"/>
                <a:gd name="T92" fmla="*/ 57 w 2433"/>
                <a:gd name="T93" fmla="*/ 7 h 1226"/>
                <a:gd name="T94" fmla="*/ 58 w 2433"/>
                <a:gd name="T95" fmla="*/ 7 h 1226"/>
                <a:gd name="T96" fmla="*/ 61 w 2433"/>
                <a:gd name="T97" fmla="*/ 7 h 1226"/>
                <a:gd name="T98" fmla="*/ 58 w 2433"/>
                <a:gd name="T99" fmla="*/ 5 h 1226"/>
                <a:gd name="T100" fmla="*/ 54 w 2433"/>
                <a:gd name="T101" fmla="*/ 5 h 1226"/>
                <a:gd name="T102" fmla="*/ 51 w 2433"/>
                <a:gd name="T103" fmla="*/ 4 h 1226"/>
                <a:gd name="T104" fmla="*/ 47 w 2433"/>
                <a:gd name="T105" fmla="*/ 4 h 1226"/>
                <a:gd name="T106" fmla="*/ 41 w 2433"/>
                <a:gd name="T107" fmla="*/ 4 h 1226"/>
                <a:gd name="T108" fmla="*/ 37 w 2433"/>
                <a:gd name="T109" fmla="*/ 3 h 1226"/>
                <a:gd name="T110" fmla="*/ 33 w 2433"/>
                <a:gd name="T111" fmla="*/ 3 h 122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433"/>
                <a:gd name="T169" fmla="*/ 0 h 1226"/>
                <a:gd name="T170" fmla="*/ 2433 w 2433"/>
                <a:gd name="T171" fmla="*/ 1226 h 122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433" h="1226">
                  <a:moveTo>
                    <a:pt x="1240" y="232"/>
                  </a:moveTo>
                  <a:lnTo>
                    <a:pt x="1230" y="243"/>
                  </a:lnTo>
                  <a:lnTo>
                    <a:pt x="1240" y="258"/>
                  </a:lnTo>
                  <a:lnTo>
                    <a:pt x="1202" y="276"/>
                  </a:lnTo>
                  <a:lnTo>
                    <a:pt x="1185" y="276"/>
                  </a:lnTo>
                  <a:lnTo>
                    <a:pt x="1195" y="253"/>
                  </a:lnTo>
                  <a:lnTo>
                    <a:pt x="1292" y="161"/>
                  </a:lnTo>
                  <a:lnTo>
                    <a:pt x="1289" y="106"/>
                  </a:lnTo>
                  <a:lnTo>
                    <a:pt x="1254" y="73"/>
                  </a:lnTo>
                  <a:lnTo>
                    <a:pt x="1209" y="69"/>
                  </a:lnTo>
                  <a:lnTo>
                    <a:pt x="1204" y="85"/>
                  </a:lnTo>
                  <a:lnTo>
                    <a:pt x="1183" y="85"/>
                  </a:lnTo>
                  <a:lnTo>
                    <a:pt x="1200" y="52"/>
                  </a:lnTo>
                  <a:lnTo>
                    <a:pt x="1150" y="45"/>
                  </a:lnTo>
                  <a:lnTo>
                    <a:pt x="1178" y="24"/>
                  </a:lnTo>
                  <a:lnTo>
                    <a:pt x="1150" y="0"/>
                  </a:lnTo>
                  <a:lnTo>
                    <a:pt x="1103" y="52"/>
                  </a:lnTo>
                  <a:lnTo>
                    <a:pt x="1103" y="85"/>
                  </a:lnTo>
                  <a:lnTo>
                    <a:pt x="1072" y="85"/>
                  </a:lnTo>
                  <a:lnTo>
                    <a:pt x="987" y="111"/>
                  </a:lnTo>
                  <a:lnTo>
                    <a:pt x="919" y="156"/>
                  </a:lnTo>
                  <a:lnTo>
                    <a:pt x="888" y="194"/>
                  </a:lnTo>
                  <a:lnTo>
                    <a:pt x="895" y="236"/>
                  </a:lnTo>
                  <a:lnTo>
                    <a:pt x="796" y="258"/>
                  </a:lnTo>
                  <a:lnTo>
                    <a:pt x="803" y="314"/>
                  </a:lnTo>
                  <a:lnTo>
                    <a:pt x="831" y="343"/>
                  </a:lnTo>
                  <a:lnTo>
                    <a:pt x="815" y="350"/>
                  </a:lnTo>
                  <a:lnTo>
                    <a:pt x="782" y="317"/>
                  </a:lnTo>
                  <a:lnTo>
                    <a:pt x="756" y="305"/>
                  </a:lnTo>
                  <a:lnTo>
                    <a:pt x="744" y="317"/>
                  </a:lnTo>
                  <a:lnTo>
                    <a:pt x="722" y="295"/>
                  </a:lnTo>
                  <a:lnTo>
                    <a:pt x="708" y="279"/>
                  </a:lnTo>
                  <a:lnTo>
                    <a:pt x="704" y="288"/>
                  </a:lnTo>
                  <a:lnTo>
                    <a:pt x="718" y="317"/>
                  </a:lnTo>
                  <a:lnTo>
                    <a:pt x="687" y="364"/>
                  </a:lnTo>
                  <a:lnTo>
                    <a:pt x="706" y="399"/>
                  </a:lnTo>
                  <a:lnTo>
                    <a:pt x="697" y="439"/>
                  </a:lnTo>
                  <a:lnTo>
                    <a:pt x="699" y="463"/>
                  </a:lnTo>
                  <a:lnTo>
                    <a:pt x="722" y="468"/>
                  </a:lnTo>
                  <a:lnTo>
                    <a:pt x="708" y="477"/>
                  </a:lnTo>
                  <a:lnTo>
                    <a:pt x="713" y="522"/>
                  </a:lnTo>
                  <a:lnTo>
                    <a:pt x="663" y="574"/>
                  </a:lnTo>
                  <a:lnTo>
                    <a:pt x="649" y="560"/>
                  </a:lnTo>
                  <a:lnTo>
                    <a:pt x="687" y="517"/>
                  </a:lnTo>
                  <a:lnTo>
                    <a:pt x="694" y="484"/>
                  </a:lnTo>
                  <a:lnTo>
                    <a:pt x="680" y="468"/>
                  </a:lnTo>
                  <a:lnTo>
                    <a:pt x="680" y="376"/>
                  </a:lnTo>
                  <a:lnTo>
                    <a:pt x="668" y="357"/>
                  </a:lnTo>
                  <a:lnTo>
                    <a:pt x="682" y="300"/>
                  </a:lnTo>
                  <a:lnTo>
                    <a:pt x="661" y="288"/>
                  </a:lnTo>
                  <a:lnTo>
                    <a:pt x="666" y="276"/>
                  </a:lnTo>
                  <a:lnTo>
                    <a:pt x="659" y="258"/>
                  </a:lnTo>
                  <a:lnTo>
                    <a:pt x="642" y="267"/>
                  </a:lnTo>
                  <a:lnTo>
                    <a:pt x="593" y="387"/>
                  </a:lnTo>
                  <a:lnTo>
                    <a:pt x="595" y="439"/>
                  </a:lnTo>
                  <a:lnTo>
                    <a:pt x="626" y="477"/>
                  </a:lnTo>
                  <a:lnTo>
                    <a:pt x="619" y="498"/>
                  </a:lnTo>
                  <a:lnTo>
                    <a:pt x="597" y="475"/>
                  </a:lnTo>
                  <a:lnTo>
                    <a:pt x="479" y="404"/>
                  </a:lnTo>
                  <a:lnTo>
                    <a:pt x="470" y="418"/>
                  </a:lnTo>
                  <a:lnTo>
                    <a:pt x="508" y="468"/>
                  </a:lnTo>
                  <a:lnTo>
                    <a:pt x="489" y="480"/>
                  </a:lnTo>
                  <a:lnTo>
                    <a:pt x="479" y="468"/>
                  </a:lnTo>
                  <a:lnTo>
                    <a:pt x="420" y="489"/>
                  </a:lnTo>
                  <a:lnTo>
                    <a:pt x="415" y="501"/>
                  </a:lnTo>
                  <a:lnTo>
                    <a:pt x="401" y="489"/>
                  </a:lnTo>
                  <a:lnTo>
                    <a:pt x="401" y="468"/>
                  </a:lnTo>
                  <a:lnTo>
                    <a:pt x="314" y="522"/>
                  </a:lnTo>
                  <a:lnTo>
                    <a:pt x="314" y="543"/>
                  </a:lnTo>
                  <a:lnTo>
                    <a:pt x="288" y="553"/>
                  </a:lnTo>
                  <a:lnTo>
                    <a:pt x="267" y="534"/>
                  </a:lnTo>
                  <a:lnTo>
                    <a:pt x="293" y="515"/>
                  </a:lnTo>
                  <a:lnTo>
                    <a:pt x="278" y="489"/>
                  </a:lnTo>
                  <a:lnTo>
                    <a:pt x="243" y="480"/>
                  </a:lnTo>
                  <a:lnTo>
                    <a:pt x="255" y="498"/>
                  </a:lnTo>
                  <a:lnTo>
                    <a:pt x="250" y="541"/>
                  </a:lnTo>
                  <a:lnTo>
                    <a:pt x="262" y="565"/>
                  </a:lnTo>
                  <a:lnTo>
                    <a:pt x="252" y="579"/>
                  </a:lnTo>
                  <a:lnTo>
                    <a:pt x="226" y="569"/>
                  </a:lnTo>
                  <a:lnTo>
                    <a:pt x="189" y="602"/>
                  </a:lnTo>
                  <a:lnTo>
                    <a:pt x="203" y="635"/>
                  </a:lnTo>
                  <a:lnTo>
                    <a:pt x="148" y="614"/>
                  </a:lnTo>
                  <a:lnTo>
                    <a:pt x="141" y="626"/>
                  </a:lnTo>
                  <a:lnTo>
                    <a:pt x="163" y="657"/>
                  </a:lnTo>
                  <a:lnTo>
                    <a:pt x="144" y="657"/>
                  </a:lnTo>
                  <a:lnTo>
                    <a:pt x="113" y="635"/>
                  </a:lnTo>
                  <a:lnTo>
                    <a:pt x="113" y="584"/>
                  </a:lnTo>
                  <a:lnTo>
                    <a:pt x="87" y="560"/>
                  </a:lnTo>
                  <a:lnTo>
                    <a:pt x="78" y="541"/>
                  </a:lnTo>
                  <a:lnTo>
                    <a:pt x="92" y="553"/>
                  </a:lnTo>
                  <a:lnTo>
                    <a:pt x="167" y="581"/>
                  </a:lnTo>
                  <a:lnTo>
                    <a:pt x="212" y="555"/>
                  </a:lnTo>
                  <a:lnTo>
                    <a:pt x="208" y="522"/>
                  </a:lnTo>
                  <a:lnTo>
                    <a:pt x="148" y="470"/>
                  </a:lnTo>
                  <a:lnTo>
                    <a:pt x="89" y="449"/>
                  </a:lnTo>
                  <a:lnTo>
                    <a:pt x="89" y="435"/>
                  </a:lnTo>
                  <a:lnTo>
                    <a:pt x="75" y="428"/>
                  </a:lnTo>
                  <a:lnTo>
                    <a:pt x="59" y="437"/>
                  </a:lnTo>
                  <a:lnTo>
                    <a:pt x="54" y="444"/>
                  </a:lnTo>
                  <a:lnTo>
                    <a:pt x="47" y="444"/>
                  </a:lnTo>
                  <a:lnTo>
                    <a:pt x="30" y="465"/>
                  </a:lnTo>
                  <a:lnTo>
                    <a:pt x="23" y="498"/>
                  </a:lnTo>
                  <a:lnTo>
                    <a:pt x="45" y="517"/>
                  </a:lnTo>
                  <a:lnTo>
                    <a:pt x="35" y="546"/>
                  </a:lnTo>
                  <a:lnTo>
                    <a:pt x="45" y="588"/>
                  </a:lnTo>
                  <a:lnTo>
                    <a:pt x="40" y="621"/>
                  </a:lnTo>
                  <a:lnTo>
                    <a:pt x="54" y="645"/>
                  </a:lnTo>
                  <a:lnTo>
                    <a:pt x="49" y="664"/>
                  </a:lnTo>
                  <a:lnTo>
                    <a:pt x="66" y="687"/>
                  </a:lnTo>
                  <a:lnTo>
                    <a:pt x="66" y="697"/>
                  </a:lnTo>
                  <a:lnTo>
                    <a:pt x="37" y="737"/>
                  </a:lnTo>
                  <a:lnTo>
                    <a:pt x="9" y="763"/>
                  </a:lnTo>
                  <a:lnTo>
                    <a:pt x="21" y="763"/>
                  </a:lnTo>
                  <a:lnTo>
                    <a:pt x="33" y="782"/>
                  </a:lnTo>
                  <a:lnTo>
                    <a:pt x="14" y="798"/>
                  </a:lnTo>
                  <a:lnTo>
                    <a:pt x="11" y="806"/>
                  </a:lnTo>
                  <a:lnTo>
                    <a:pt x="0" y="810"/>
                  </a:lnTo>
                  <a:lnTo>
                    <a:pt x="11" y="836"/>
                  </a:lnTo>
                  <a:lnTo>
                    <a:pt x="7" y="846"/>
                  </a:lnTo>
                  <a:lnTo>
                    <a:pt x="11" y="855"/>
                  </a:lnTo>
                  <a:lnTo>
                    <a:pt x="11" y="867"/>
                  </a:lnTo>
                  <a:lnTo>
                    <a:pt x="19" y="886"/>
                  </a:lnTo>
                  <a:lnTo>
                    <a:pt x="49" y="895"/>
                  </a:lnTo>
                  <a:lnTo>
                    <a:pt x="59" y="900"/>
                  </a:lnTo>
                  <a:lnTo>
                    <a:pt x="59" y="921"/>
                  </a:lnTo>
                  <a:lnTo>
                    <a:pt x="73" y="947"/>
                  </a:lnTo>
                  <a:lnTo>
                    <a:pt x="87" y="952"/>
                  </a:lnTo>
                  <a:lnTo>
                    <a:pt x="78" y="964"/>
                  </a:lnTo>
                  <a:lnTo>
                    <a:pt x="68" y="959"/>
                  </a:lnTo>
                  <a:lnTo>
                    <a:pt x="63" y="964"/>
                  </a:lnTo>
                  <a:lnTo>
                    <a:pt x="73" y="987"/>
                  </a:lnTo>
                  <a:lnTo>
                    <a:pt x="101" y="983"/>
                  </a:lnTo>
                  <a:lnTo>
                    <a:pt x="111" y="995"/>
                  </a:lnTo>
                  <a:lnTo>
                    <a:pt x="106" y="999"/>
                  </a:lnTo>
                  <a:lnTo>
                    <a:pt x="108" y="1006"/>
                  </a:lnTo>
                  <a:lnTo>
                    <a:pt x="120" y="1009"/>
                  </a:lnTo>
                  <a:lnTo>
                    <a:pt x="130" y="1028"/>
                  </a:lnTo>
                  <a:lnTo>
                    <a:pt x="144" y="1032"/>
                  </a:lnTo>
                  <a:lnTo>
                    <a:pt x="153" y="1028"/>
                  </a:lnTo>
                  <a:lnTo>
                    <a:pt x="196" y="1049"/>
                  </a:lnTo>
                  <a:lnTo>
                    <a:pt x="191" y="1087"/>
                  </a:lnTo>
                  <a:lnTo>
                    <a:pt x="177" y="1084"/>
                  </a:lnTo>
                  <a:lnTo>
                    <a:pt x="170" y="1094"/>
                  </a:lnTo>
                  <a:lnTo>
                    <a:pt x="167" y="1106"/>
                  </a:lnTo>
                  <a:lnTo>
                    <a:pt x="179" y="1103"/>
                  </a:lnTo>
                  <a:lnTo>
                    <a:pt x="184" y="1108"/>
                  </a:lnTo>
                  <a:lnTo>
                    <a:pt x="158" y="1117"/>
                  </a:lnTo>
                  <a:lnTo>
                    <a:pt x="167" y="1127"/>
                  </a:lnTo>
                  <a:lnTo>
                    <a:pt x="153" y="1146"/>
                  </a:lnTo>
                  <a:lnTo>
                    <a:pt x="144" y="1146"/>
                  </a:lnTo>
                  <a:lnTo>
                    <a:pt x="144" y="1150"/>
                  </a:lnTo>
                  <a:lnTo>
                    <a:pt x="148" y="1150"/>
                  </a:lnTo>
                  <a:lnTo>
                    <a:pt x="189" y="1181"/>
                  </a:lnTo>
                  <a:lnTo>
                    <a:pt x="236" y="1186"/>
                  </a:lnTo>
                  <a:lnTo>
                    <a:pt x="252" y="1198"/>
                  </a:lnTo>
                  <a:lnTo>
                    <a:pt x="271" y="1195"/>
                  </a:lnTo>
                  <a:lnTo>
                    <a:pt x="288" y="1212"/>
                  </a:lnTo>
                  <a:lnTo>
                    <a:pt x="302" y="1224"/>
                  </a:lnTo>
                  <a:lnTo>
                    <a:pt x="309" y="1226"/>
                  </a:lnTo>
                  <a:lnTo>
                    <a:pt x="319" y="1217"/>
                  </a:lnTo>
                  <a:lnTo>
                    <a:pt x="304" y="1193"/>
                  </a:lnTo>
                  <a:lnTo>
                    <a:pt x="304" y="1179"/>
                  </a:lnTo>
                  <a:lnTo>
                    <a:pt x="293" y="1157"/>
                  </a:lnTo>
                  <a:lnTo>
                    <a:pt x="307" y="1129"/>
                  </a:lnTo>
                  <a:lnTo>
                    <a:pt x="316" y="1134"/>
                  </a:lnTo>
                  <a:lnTo>
                    <a:pt x="328" y="1124"/>
                  </a:lnTo>
                  <a:lnTo>
                    <a:pt x="326" y="1120"/>
                  </a:lnTo>
                  <a:lnTo>
                    <a:pt x="319" y="1115"/>
                  </a:lnTo>
                  <a:lnTo>
                    <a:pt x="328" y="1113"/>
                  </a:lnTo>
                  <a:lnTo>
                    <a:pt x="316" y="1089"/>
                  </a:lnTo>
                  <a:lnTo>
                    <a:pt x="304" y="1089"/>
                  </a:lnTo>
                  <a:lnTo>
                    <a:pt x="290" y="1075"/>
                  </a:lnTo>
                  <a:lnTo>
                    <a:pt x="304" y="1028"/>
                  </a:lnTo>
                  <a:lnTo>
                    <a:pt x="319" y="1044"/>
                  </a:lnTo>
                  <a:lnTo>
                    <a:pt x="326" y="1039"/>
                  </a:lnTo>
                  <a:lnTo>
                    <a:pt x="321" y="1023"/>
                  </a:lnTo>
                  <a:lnTo>
                    <a:pt x="352" y="999"/>
                  </a:lnTo>
                  <a:lnTo>
                    <a:pt x="368" y="1004"/>
                  </a:lnTo>
                  <a:lnTo>
                    <a:pt x="375" y="997"/>
                  </a:lnTo>
                  <a:lnTo>
                    <a:pt x="394" y="1004"/>
                  </a:lnTo>
                  <a:lnTo>
                    <a:pt x="427" y="1025"/>
                  </a:lnTo>
                  <a:lnTo>
                    <a:pt x="444" y="1013"/>
                  </a:lnTo>
                  <a:lnTo>
                    <a:pt x="465" y="1013"/>
                  </a:lnTo>
                  <a:lnTo>
                    <a:pt x="474" y="1023"/>
                  </a:lnTo>
                  <a:lnTo>
                    <a:pt x="512" y="1020"/>
                  </a:lnTo>
                  <a:lnTo>
                    <a:pt x="517" y="1009"/>
                  </a:lnTo>
                  <a:lnTo>
                    <a:pt x="493" y="995"/>
                  </a:lnTo>
                  <a:lnTo>
                    <a:pt x="505" y="985"/>
                  </a:lnTo>
                  <a:lnTo>
                    <a:pt x="503" y="973"/>
                  </a:lnTo>
                  <a:lnTo>
                    <a:pt x="508" y="969"/>
                  </a:lnTo>
                  <a:lnTo>
                    <a:pt x="508" y="943"/>
                  </a:lnTo>
                  <a:lnTo>
                    <a:pt x="531" y="945"/>
                  </a:lnTo>
                  <a:lnTo>
                    <a:pt x="614" y="917"/>
                  </a:lnTo>
                  <a:lnTo>
                    <a:pt x="616" y="912"/>
                  </a:lnTo>
                  <a:lnTo>
                    <a:pt x="626" y="907"/>
                  </a:lnTo>
                  <a:lnTo>
                    <a:pt x="652" y="909"/>
                  </a:lnTo>
                  <a:lnTo>
                    <a:pt x="659" y="926"/>
                  </a:lnTo>
                  <a:lnTo>
                    <a:pt x="659" y="940"/>
                  </a:lnTo>
                  <a:lnTo>
                    <a:pt x="673" y="938"/>
                  </a:lnTo>
                  <a:lnTo>
                    <a:pt x="689" y="945"/>
                  </a:lnTo>
                  <a:lnTo>
                    <a:pt x="692" y="957"/>
                  </a:lnTo>
                  <a:lnTo>
                    <a:pt x="706" y="954"/>
                  </a:lnTo>
                  <a:lnTo>
                    <a:pt x="725" y="938"/>
                  </a:lnTo>
                  <a:lnTo>
                    <a:pt x="741" y="933"/>
                  </a:lnTo>
                  <a:lnTo>
                    <a:pt x="758" y="961"/>
                  </a:lnTo>
                  <a:lnTo>
                    <a:pt x="791" y="1020"/>
                  </a:lnTo>
                  <a:lnTo>
                    <a:pt x="800" y="1009"/>
                  </a:lnTo>
                  <a:lnTo>
                    <a:pt x="812" y="1023"/>
                  </a:lnTo>
                  <a:lnTo>
                    <a:pt x="843" y="1016"/>
                  </a:lnTo>
                  <a:lnTo>
                    <a:pt x="869" y="1046"/>
                  </a:lnTo>
                  <a:lnTo>
                    <a:pt x="883" y="1051"/>
                  </a:lnTo>
                  <a:lnTo>
                    <a:pt x="890" y="1046"/>
                  </a:lnTo>
                  <a:lnTo>
                    <a:pt x="897" y="1058"/>
                  </a:lnTo>
                  <a:lnTo>
                    <a:pt x="890" y="1075"/>
                  </a:lnTo>
                  <a:lnTo>
                    <a:pt x="907" y="1065"/>
                  </a:lnTo>
                  <a:lnTo>
                    <a:pt x="914" y="1056"/>
                  </a:lnTo>
                  <a:lnTo>
                    <a:pt x="966" y="1028"/>
                  </a:lnTo>
                  <a:lnTo>
                    <a:pt x="1001" y="1032"/>
                  </a:lnTo>
                  <a:lnTo>
                    <a:pt x="1015" y="1044"/>
                  </a:lnTo>
                  <a:lnTo>
                    <a:pt x="1056" y="1042"/>
                  </a:lnTo>
                  <a:lnTo>
                    <a:pt x="1060" y="1028"/>
                  </a:lnTo>
                  <a:lnTo>
                    <a:pt x="1056" y="1009"/>
                  </a:lnTo>
                  <a:lnTo>
                    <a:pt x="1077" y="992"/>
                  </a:lnTo>
                  <a:lnTo>
                    <a:pt x="1117" y="1006"/>
                  </a:lnTo>
                  <a:lnTo>
                    <a:pt x="1131" y="1032"/>
                  </a:lnTo>
                  <a:lnTo>
                    <a:pt x="1141" y="1037"/>
                  </a:lnTo>
                  <a:lnTo>
                    <a:pt x="1164" y="1028"/>
                  </a:lnTo>
                  <a:lnTo>
                    <a:pt x="1216" y="1056"/>
                  </a:lnTo>
                  <a:lnTo>
                    <a:pt x="1249" y="1061"/>
                  </a:lnTo>
                  <a:lnTo>
                    <a:pt x="1282" y="1054"/>
                  </a:lnTo>
                  <a:lnTo>
                    <a:pt x="1304" y="1037"/>
                  </a:lnTo>
                  <a:lnTo>
                    <a:pt x="1332" y="1044"/>
                  </a:lnTo>
                  <a:lnTo>
                    <a:pt x="1353" y="1054"/>
                  </a:lnTo>
                  <a:lnTo>
                    <a:pt x="1374" y="1042"/>
                  </a:lnTo>
                  <a:lnTo>
                    <a:pt x="1386" y="1006"/>
                  </a:lnTo>
                  <a:lnTo>
                    <a:pt x="1393" y="999"/>
                  </a:lnTo>
                  <a:lnTo>
                    <a:pt x="1396" y="985"/>
                  </a:lnTo>
                  <a:lnTo>
                    <a:pt x="1386" y="985"/>
                  </a:lnTo>
                  <a:lnTo>
                    <a:pt x="1400" y="966"/>
                  </a:lnTo>
                  <a:lnTo>
                    <a:pt x="1436" y="959"/>
                  </a:lnTo>
                  <a:lnTo>
                    <a:pt x="1467" y="971"/>
                  </a:lnTo>
                  <a:lnTo>
                    <a:pt x="1481" y="987"/>
                  </a:lnTo>
                  <a:lnTo>
                    <a:pt x="1497" y="1051"/>
                  </a:lnTo>
                  <a:lnTo>
                    <a:pt x="1523" y="1056"/>
                  </a:lnTo>
                  <a:lnTo>
                    <a:pt x="1545" y="1070"/>
                  </a:lnTo>
                  <a:lnTo>
                    <a:pt x="1552" y="1094"/>
                  </a:lnTo>
                  <a:lnTo>
                    <a:pt x="1566" y="1094"/>
                  </a:lnTo>
                  <a:lnTo>
                    <a:pt x="1608" y="1077"/>
                  </a:lnTo>
                  <a:lnTo>
                    <a:pt x="1606" y="1096"/>
                  </a:lnTo>
                  <a:lnTo>
                    <a:pt x="1580" y="1153"/>
                  </a:lnTo>
                  <a:lnTo>
                    <a:pt x="1563" y="1148"/>
                  </a:lnTo>
                  <a:lnTo>
                    <a:pt x="1552" y="1160"/>
                  </a:lnTo>
                  <a:lnTo>
                    <a:pt x="1556" y="1188"/>
                  </a:lnTo>
                  <a:lnTo>
                    <a:pt x="1547" y="1205"/>
                  </a:lnTo>
                  <a:lnTo>
                    <a:pt x="1561" y="1188"/>
                  </a:lnTo>
                  <a:lnTo>
                    <a:pt x="1571" y="1188"/>
                  </a:lnTo>
                  <a:lnTo>
                    <a:pt x="1571" y="1195"/>
                  </a:lnTo>
                  <a:lnTo>
                    <a:pt x="1580" y="1200"/>
                  </a:lnTo>
                  <a:lnTo>
                    <a:pt x="1608" y="1186"/>
                  </a:lnTo>
                  <a:lnTo>
                    <a:pt x="1686" y="1077"/>
                  </a:lnTo>
                  <a:lnTo>
                    <a:pt x="1691" y="1018"/>
                  </a:lnTo>
                  <a:lnTo>
                    <a:pt x="1703" y="992"/>
                  </a:lnTo>
                  <a:lnTo>
                    <a:pt x="1703" y="966"/>
                  </a:lnTo>
                  <a:lnTo>
                    <a:pt x="1677" y="943"/>
                  </a:lnTo>
                  <a:lnTo>
                    <a:pt x="1667" y="943"/>
                  </a:lnTo>
                  <a:lnTo>
                    <a:pt x="1658" y="954"/>
                  </a:lnTo>
                  <a:lnTo>
                    <a:pt x="1644" y="959"/>
                  </a:lnTo>
                  <a:lnTo>
                    <a:pt x="1649" y="940"/>
                  </a:lnTo>
                  <a:lnTo>
                    <a:pt x="1641" y="943"/>
                  </a:lnTo>
                  <a:lnTo>
                    <a:pt x="1634" y="931"/>
                  </a:lnTo>
                  <a:lnTo>
                    <a:pt x="1613" y="928"/>
                  </a:lnTo>
                  <a:lnTo>
                    <a:pt x="1613" y="924"/>
                  </a:lnTo>
                  <a:lnTo>
                    <a:pt x="1644" y="895"/>
                  </a:lnTo>
                  <a:lnTo>
                    <a:pt x="1724" y="803"/>
                  </a:lnTo>
                  <a:lnTo>
                    <a:pt x="1767" y="801"/>
                  </a:lnTo>
                  <a:lnTo>
                    <a:pt x="1774" y="806"/>
                  </a:lnTo>
                  <a:lnTo>
                    <a:pt x="1781" y="798"/>
                  </a:lnTo>
                  <a:lnTo>
                    <a:pt x="1816" y="803"/>
                  </a:lnTo>
                  <a:lnTo>
                    <a:pt x="1826" y="789"/>
                  </a:lnTo>
                  <a:lnTo>
                    <a:pt x="1854" y="794"/>
                  </a:lnTo>
                  <a:lnTo>
                    <a:pt x="1859" y="801"/>
                  </a:lnTo>
                  <a:lnTo>
                    <a:pt x="1849" y="808"/>
                  </a:lnTo>
                  <a:lnTo>
                    <a:pt x="1854" y="815"/>
                  </a:lnTo>
                  <a:lnTo>
                    <a:pt x="1911" y="806"/>
                  </a:lnTo>
                  <a:lnTo>
                    <a:pt x="1897" y="796"/>
                  </a:lnTo>
                  <a:lnTo>
                    <a:pt x="1937" y="735"/>
                  </a:lnTo>
                  <a:lnTo>
                    <a:pt x="1986" y="725"/>
                  </a:lnTo>
                  <a:lnTo>
                    <a:pt x="1979" y="744"/>
                  </a:lnTo>
                  <a:lnTo>
                    <a:pt x="1986" y="763"/>
                  </a:lnTo>
                  <a:lnTo>
                    <a:pt x="2026" y="730"/>
                  </a:lnTo>
                  <a:lnTo>
                    <a:pt x="2031" y="704"/>
                  </a:lnTo>
                  <a:lnTo>
                    <a:pt x="2048" y="699"/>
                  </a:lnTo>
                  <a:lnTo>
                    <a:pt x="2052" y="704"/>
                  </a:lnTo>
                  <a:lnTo>
                    <a:pt x="2043" y="711"/>
                  </a:lnTo>
                  <a:lnTo>
                    <a:pt x="2034" y="756"/>
                  </a:lnTo>
                  <a:lnTo>
                    <a:pt x="2010" y="770"/>
                  </a:lnTo>
                  <a:lnTo>
                    <a:pt x="1956" y="839"/>
                  </a:lnTo>
                  <a:lnTo>
                    <a:pt x="1934" y="846"/>
                  </a:lnTo>
                  <a:lnTo>
                    <a:pt x="1915" y="914"/>
                  </a:lnTo>
                  <a:lnTo>
                    <a:pt x="1932" y="1020"/>
                  </a:lnTo>
                  <a:lnTo>
                    <a:pt x="1951" y="1004"/>
                  </a:lnTo>
                  <a:lnTo>
                    <a:pt x="1970" y="966"/>
                  </a:lnTo>
                  <a:lnTo>
                    <a:pt x="1982" y="966"/>
                  </a:lnTo>
                  <a:lnTo>
                    <a:pt x="1982" y="943"/>
                  </a:lnTo>
                  <a:lnTo>
                    <a:pt x="1989" y="935"/>
                  </a:lnTo>
                  <a:lnTo>
                    <a:pt x="2008" y="933"/>
                  </a:lnTo>
                  <a:lnTo>
                    <a:pt x="2015" y="926"/>
                  </a:lnTo>
                  <a:lnTo>
                    <a:pt x="2005" y="902"/>
                  </a:lnTo>
                  <a:lnTo>
                    <a:pt x="2019" y="888"/>
                  </a:lnTo>
                  <a:lnTo>
                    <a:pt x="2024" y="895"/>
                  </a:lnTo>
                  <a:lnTo>
                    <a:pt x="2031" y="891"/>
                  </a:lnTo>
                  <a:lnTo>
                    <a:pt x="2029" y="876"/>
                  </a:lnTo>
                  <a:lnTo>
                    <a:pt x="2022" y="872"/>
                  </a:lnTo>
                  <a:lnTo>
                    <a:pt x="2029" y="848"/>
                  </a:lnTo>
                  <a:lnTo>
                    <a:pt x="2022" y="841"/>
                  </a:lnTo>
                  <a:lnTo>
                    <a:pt x="2015" y="846"/>
                  </a:lnTo>
                  <a:lnTo>
                    <a:pt x="2010" y="834"/>
                  </a:lnTo>
                  <a:lnTo>
                    <a:pt x="2026" y="810"/>
                  </a:lnTo>
                  <a:lnTo>
                    <a:pt x="2034" y="787"/>
                  </a:lnTo>
                  <a:lnTo>
                    <a:pt x="2052" y="787"/>
                  </a:lnTo>
                  <a:lnTo>
                    <a:pt x="2074" y="772"/>
                  </a:lnTo>
                  <a:lnTo>
                    <a:pt x="2074" y="789"/>
                  </a:lnTo>
                  <a:lnTo>
                    <a:pt x="2086" y="777"/>
                  </a:lnTo>
                  <a:lnTo>
                    <a:pt x="2119" y="768"/>
                  </a:lnTo>
                  <a:lnTo>
                    <a:pt x="2138" y="784"/>
                  </a:lnTo>
                  <a:lnTo>
                    <a:pt x="2142" y="770"/>
                  </a:lnTo>
                  <a:lnTo>
                    <a:pt x="2237" y="704"/>
                  </a:lnTo>
                  <a:lnTo>
                    <a:pt x="2265" y="711"/>
                  </a:lnTo>
                  <a:lnTo>
                    <a:pt x="2275" y="699"/>
                  </a:lnTo>
                  <a:lnTo>
                    <a:pt x="2256" y="643"/>
                  </a:lnTo>
                  <a:lnTo>
                    <a:pt x="2244" y="643"/>
                  </a:lnTo>
                  <a:lnTo>
                    <a:pt x="2244" y="628"/>
                  </a:lnTo>
                  <a:lnTo>
                    <a:pt x="2260" y="631"/>
                  </a:lnTo>
                  <a:lnTo>
                    <a:pt x="2279" y="619"/>
                  </a:lnTo>
                  <a:lnTo>
                    <a:pt x="2291" y="598"/>
                  </a:lnTo>
                  <a:lnTo>
                    <a:pt x="2282" y="584"/>
                  </a:lnTo>
                  <a:lnTo>
                    <a:pt x="2296" y="572"/>
                  </a:lnTo>
                  <a:lnTo>
                    <a:pt x="2303" y="602"/>
                  </a:lnTo>
                  <a:lnTo>
                    <a:pt x="2326" y="600"/>
                  </a:lnTo>
                  <a:lnTo>
                    <a:pt x="2343" y="621"/>
                  </a:lnTo>
                  <a:lnTo>
                    <a:pt x="2386" y="645"/>
                  </a:lnTo>
                  <a:lnTo>
                    <a:pt x="2397" y="621"/>
                  </a:lnTo>
                  <a:lnTo>
                    <a:pt x="2397" y="602"/>
                  </a:lnTo>
                  <a:lnTo>
                    <a:pt x="2414" y="602"/>
                  </a:lnTo>
                  <a:lnTo>
                    <a:pt x="2433" y="581"/>
                  </a:lnTo>
                  <a:lnTo>
                    <a:pt x="2404" y="550"/>
                  </a:lnTo>
                  <a:lnTo>
                    <a:pt x="2362" y="543"/>
                  </a:lnTo>
                  <a:lnTo>
                    <a:pt x="2279" y="463"/>
                  </a:lnTo>
                  <a:lnTo>
                    <a:pt x="2223" y="432"/>
                  </a:lnTo>
                  <a:lnTo>
                    <a:pt x="2140" y="421"/>
                  </a:lnTo>
                  <a:lnTo>
                    <a:pt x="2147" y="463"/>
                  </a:lnTo>
                  <a:lnTo>
                    <a:pt x="2126" y="477"/>
                  </a:lnTo>
                  <a:lnTo>
                    <a:pt x="2107" y="456"/>
                  </a:lnTo>
                  <a:lnTo>
                    <a:pt x="2104" y="442"/>
                  </a:lnTo>
                  <a:lnTo>
                    <a:pt x="2119" y="442"/>
                  </a:lnTo>
                  <a:lnTo>
                    <a:pt x="2123" y="432"/>
                  </a:lnTo>
                  <a:lnTo>
                    <a:pt x="2104" y="425"/>
                  </a:lnTo>
                  <a:lnTo>
                    <a:pt x="2086" y="449"/>
                  </a:lnTo>
                  <a:lnTo>
                    <a:pt x="2043" y="439"/>
                  </a:lnTo>
                  <a:lnTo>
                    <a:pt x="1991" y="442"/>
                  </a:lnTo>
                  <a:lnTo>
                    <a:pt x="1975" y="432"/>
                  </a:lnTo>
                  <a:lnTo>
                    <a:pt x="1982" y="413"/>
                  </a:lnTo>
                  <a:lnTo>
                    <a:pt x="1965" y="385"/>
                  </a:lnTo>
                  <a:lnTo>
                    <a:pt x="1923" y="376"/>
                  </a:lnTo>
                  <a:lnTo>
                    <a:pt x="1868" y="387"/>
                  </a:lnTo>
                  <a:lnTo>
                    <a:pt x="1856" y="361"/>
                  </a:lnTo>
                  <a:lnTo>
                    <a:pt x="1845" y="361"/>
                  </a:lnTo>
                  <a:lnTo>
                    <a:pt x="1833" y="350"/>
                  </a:lnTo>
                  <a:lnTo>
                    <a:pt x="1830" y="324"/>
                  </a:lnTo>
                  <a:lnTo>
                    <a:pt x="1762" y="305"/>
                  </a:lnTo>
                  <a:lnTo>
                    <a:pt x="1693" y="291"/>
                  </a:lnTo>
                  <a:lnTo>
                    <a:pt x="1674" y="321"/>
                  </a:lnTo>
                  <a:lnTo>
                    <a:pt x="1686" y="357"/>
                  </a:lnTo>
                  <a:lnTo>
                    <a:pt x="1634" y="357"/>
                  </a:lnTo>
                  <a:lnTo>
                    <a:pt x="1623" y="350"/>
                  </a:lnTo>
                  <a:lnTo>
                    <a:pt x="1601" y="364"/>
                  </a:lnTo>
                  <a:lnTo>
                    <a:pt x="1573" y="338"/>
                  </a:lnTo>
                  <a:lnTo>
                    <a:pt x="1554" y="392"/>
                  </a:lnTo>
                  <a:lnTo>
                    <a:pt x="1540" y="385"/>
                  </a:lnTo>
                  <a:lnTo>
                    <a:pt x="1516" y="343"/>
                  </a:lnTo>
                  <a:lnTo>
                    <a:pt x="1533" y="295"/>
                  </a:lnTo>
                  <a:lnTo>
                    <a:pt x="1514" y="272"/>
                  </a:lnTo>
                  <a:lnTo>
                    <a:pt x="1457" y="248"/>
                  </a:lnTo>
                  <a:lnTo>
                    <a:pt x="1431" y="248"/>
                  </a:lnTo>
                  <a:lnTo>
                    <a:pt x="1429" y="267"/>
                  </a:lnTo>
                  <a:lnTo>
                    <a:pt x="1436" y="284"/>
                  </a:lnTo>
                  <a:lnTo>
                    <a:pt x="1363" y="276"/>
                  </a:lnTo>
                  <a:lnTo>
                    <a:pt x="1367" y="253"/>
                  </a:lnTo>
                  <a:lnTo>
                    <a:pt x="1325" y="243"/>
                  </a:lnTo>
                  <a:lnTo>
                    <a:pt x="1292" y="258"/>
                  </a:lnTo>
                  <a:lnTo>
                    <a:pt x="1240" y="232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7" name="Freeform 75"/>
            <p:cNvSpPr>
              <a:spLocks/>
            </p:cNvSpPr>
            <p:nvPr/>
          </p:nvSpPr>
          <p:spPr bwMode="auto">
            <a:xfrm>
              <a:off x="4059" y="2897"/>
              <a:ext cx="160" cy="96"/>
            </a:xfrm>
            <a:custGeom>
              <a:avLst/>
              <a:gdLst>
                <a:gd name="T0" fmla="*/ 3 w 270"/>
                <a:gd name="T1" fmla="*/ 2 h 184"/>
                <a:gd name="T2" fmla="*/ 2 w 270"/>
                <a:gd name="T3" fmla="*/ 2 h 184"/>
                <a:gd name="T4" fmla="*/ 2 w 270"/>
                <a:gd name="T5" fmla="*/ 2 h 184"/>
                <a:gd name="T6" fmla="*/ 3 w 270"/>
                <a:gd name="T7" fmla="*/ 2 h 184"/>
                <a:gd name="T8" fmla="*/ 3 w 270"/>
                <a:gd name="T9" fmla="*/ 2 h 184"/>
                <a:gd name="T10" fmla="*/ 3 w 270"/>
                <a:gd name="T11" fmla="*/ 2 h 184"/>
                <a:gd name="T12" fmla="*/ 3 w 270"/>
                <a:gd name="T13" fmla="*/ 1 h 184"/>
                <a:gd name="T14" fmla="*/ 3 w 270"/>
                <a:gd name="T15" fmla="*/ 1 h 184"/>
                <a:gd name="T16" fmla="*/ 2 w 270"/>
                <a:gd name="T17" fmla="*/ 1 h 184"/>
                <a:gd name="T18" fmla="*/ 2 w 270"/>
                <a:gd name="T19" fmla="*/ 1 h 184"/>
                <a:gd name="T20" fmla="*/ 1 w 270"/>
                <a:gd name="T21" fmla="*/ 1 h 184"/>
                <a:gd name="T22" fmla="*/ 1 w 270"/>
                <a:gd name="T23" fmla="*/ 1 h 184"/>
                <a:gd name="T24" fmla="*/ 1 w 270"/>
                <a:gd name="T25" fmla="*/ 1 h 184"/>
                <a:gd name="T26" fmla="*/ 0 w 270"/>
                <a:gd name="T27" fmla="*/ 1 h 184"/>
                <a:gd name="T28" fmla="*/ 0 w 270"/>
                <a:gd name="T29" fmla="*/ 1 h 184"/>
                <a:gd name="T30" fmla="*/ 1 w 270"/>
                <a:gd name="T31" fmla="*/ 1 h 184"/>
                <a:gd name="T32" fmla="*/ 1 w 270"/>
                <a:gd name="T33" fmla="*/ 1 h 184"/>
                <a:gd name="T34" fmla="*/ 1 w 270"/>
                <a:gd name="T35" fmla="*/ 1 h 184"/>
                <a:gd name="T36" fmla="*/ 1 w 270"/>
                <a:gd name="T37" fmla="*/ 1 h 184"/>
                <a:gd name="T38" fmla="*/ 1 w 270"/>
                <a:gd name="T39" fmla="*/ 1 h 184"/>
                <a:gd name="T40" fmla="*/ 1 w 270"/>
                <a:gd name="T41" fmla="*/ 1 h 184"/>
                <a:gd name="T42" fmla="*/ 2 w 270"/>
                <a:gd name="T43" fmla="*/ 1 h 184"/>
                <a:gd name="T44" fmla="*/ 2 w 270"/>
                <a:gd name="T45" fmla="*/ 1 h 184"/>
                <a:gd name="T46" fmla="*/ 2 w 270"/>
                <a:gd name="T47" fmla="*/ 1 h 184"/>
                <a:gd name="T48" fmla="*/ 3 w 270"/>
                <a:gd name="T49" fmla="*/ 1 h 184"/>
                <a:gd name="T50" fmla="*/ 3 w 270"/>
                <a:gd name="T51" fmla="*/ 1 h 184"/>
                <a:gd name="T52" fmla="*/ 3 w 270"/>
                <a:gd name="T53" fmla="*/ 1 h 184"/>
                <a:gd name="T54" fmla="*/ 4 w 270"/>
                <a:gd name="T55" fmla="*/ 1 h 184"/>
                <a:gd name="T56" fmla="*/ 4 w 270"/>
                <a:gd name="T57" fmla="*/ 1 h 184"/>
                <a:gd name="T58" fmla="*/ 5 w 270"/>
                <a:gd name="T59" fmla="*/ 0 h 184"/>
                <a:gd name="T60" fmla="*/ 5 w 270"/>
                <a:gd name="T61" fmla="*/ 1 h 184"/>
                <a:gd name="T62" fmla="*/ 5 w 270"/>
                <a:gd name="T63" fmla="*/ 1 h 184"/>
                <a:gd name="T64" fmla="*/ 5 w 270"/>
                <a:gd name="T65" fmla="*/ 1 h 184"/>
                <a:gd name="T66" fmla="*/ 5 w 270"/>
                <a:gd name="T67" fmla="*/ 1 h 184"/>
                <a:gd name="T68" fmla="*/ 5 w 270"/>
                <a:gd name="T69" fmla="*/ 1 h 184"/>
                <a:gd name="T70" fmla="*/ 5 w 270"/>
                <a:gd name="T71" fmla="*/ 1 h 184"/>
                <a:gd name="T72" fmla="*/ 6 w 270"/>
                <a:gd name="T73" fmla="*/ 1 h 184"/>
                <a:gd name="T74" fmla="*/ 7 w 270"/>
                <a:gd name="T75" fmla="*/ 1 h 184"/>
                <a:gd name="T76" fmla="*/ 7 w 270"/>
                <a:gd name="T77" fmla="*/ 1 h 184"/>
                <a:gd name="T78" fmla="*/ 7 w 270"/>
                <a:gd name="T79" fmla="*/ 1 h 184"/>
                <a:gd name="T80" fmla="*/ 7 w 270"/>
                <a:gd name="T81" fmla="*/ 1 h 184"/>
                <a:gd name="T82" fmla="*/ 7 w 270"/>
                <a:gd name="T83" fmla="*/ 2 h 184"/>
                <a:gd name="T84" fmla="*/ 6 w 270"/>
                <a:gd name="T85" fmla="*/ 2 h 184"/>
                <a:gd name="T86" fmla="*/ 5 w 270"/>
                <a:gd name="T87" fmla="*/ 2 h 184"/>
                <a:gd name="T88" fmla="*/ 5 w 270"/>
                <a:gd name="T89" fmla="*/ 2 h 184"/>
                <a:gd name="T90" fmla="*/ 5 w 270"/>
                <a:gd name="T91" fmla="*/ 2 h 184"/>
                <a:gd name="T92" fmla="*/ 5 w 270"/>
                <a:gd name="T93" fmla="*/ 2 h 184"/>
                <a:gd name="T94" fmla="*/ 5 w 270"/>
                <a:gd name="T95" fmla="*/ 2 h 184"/>
                <a:gd name="T96" fmla="*/ 5 w 270"/>
                <a:gd name="T97" fmla="*/ 2 h 184"/>
                <a:gd name="T98" fmla="*/ 4 w 270"/>
                <a:gd name="T99" fmla="*/ 2 h 184"/>
                <a:gd name="T100" fmla="*/ 4 w 270"/>
                <a:gd name="T101" fmla="*/ 2 h 184"/>
                <a:gd name="T102" fmla="*/ 4 w 270"/>
                <a:gd name="T103" fmla="*/ 2 h 184"/>
                <a:gd name="T104" fmla="*/ 5 w 270"/>
                <a:gd name="T105" fmla="*/ 2 h 184"/>
                <a:gd name="T106" fmla="*/ 4 w 270"/>
                <a:gd name="T107" fmla="*/ 2 h 184"/>
                <a:gd name="T108" fmla="*/ 4 w 270"/>
                <a:gd name="T109" fmla="*/ 2 h 184"/>
                <a:gd name="T110" fmla="*/ 3 w 270"/>
                <a:gd name="T111" fmla="*/ 2 h 184"/>
                <a:gd name="T112" fmla="*/ 3 w 270"/>
                <a:gd name="T113" fmla="*/ 2 h 184"/>
                <a:gd name="T114" fmla="*/ 3 w 270"/>
                <a:gd name="T115" fmla="*/ 2 h 184"/>
                <a:gd name="T116" fmla="*/ 3 w 270"/>
                <a:gd name="T117" fmla="*/ 2 h 184"/>
                <a:gd name="T118" fmla="*/ 3 w 270"/>
                <a:gd name="T119" fmla="*/ 2 h 1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0"/>
                <a:gd name="T181" fmla="*/ 0 h 184"/>
                <a:gd name="T182" fmla="*/ 270 w 270"/>
                <a:gd name="T183" fmla="*/ 184 h 18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0" h="184">
                  <a:moveTo>
                    <a:pt x="114" y="163"/>
                  </a:moveTo>
                  <a:lnTo>
                    <a:pt x="95" y="163"/>
                  </a:lnTo>
                  <a:lnTo>
                    <a:pt x="95" y="153"/>
                  </a:lnTo>
                  <a:lnTo>
                    <a:pt x="104" y="134"/>
                  </a:lnTo>
                  <a:lnTo>
                    <a:pt x="119" y="134"/>
                  </a:lnTo>
                  <a:lnTo>
                    <a:pt x="119" y="127"/>
                  </a:lnTo>
                  <a:lnTo>
                    <a:pt x="107" y="111"/>
                  </a:lnTo>
                  <a:lnTo>
                    <a:pt x="107" y="101"/>
                  </a:lnTo>
                  <a:lnTo>
                    <a:pt x="81" y="89"/>
                  </a:lnTo>
                  <a:lnTo>
                    <a:pt x="67" y="99"/>
                  </a:lnTo>
                  <a:lnTo>
                    <a:pt x="43" y="108"/>
                  </a:lnTo>
                  <a:lnTo>
                    <a:pt x="38" y="104"/>
                  </a:lnTo>
                  <a:lnTo>
                    <a:pt x="10" y="106"/>
                  </a:lnTo>
                  <a:lnTo>
                    <a:pt x="0" y="97"/>
                  </a:lnTo>
                  <a:lnTo>
                    <a:pt x="5" y="80"/>
                  </a:lnTo>
                  <a:lnTo>
                    <a:pt x="17" y="56"/>
                  </a:lnTo>
                  <a:lnTo>
                    <a:pt x="29" y="49"/>
                  </a:lnTo>
                  <a:lnTo>
                    <a:pt x="19" y="21"/>
                  </a:lnTo>
                  <a:lnTo>
                    <a:pt x="38" y="12"/>
                  </a:lnTo>
                  <a:lnTo>
                    <a:pt x="57" y="9"/>
                  </a:lnTo>
                  <a:lnTo>
                    <a:pt x="85" y="21"/>
                  </a:lnTo>
                  <a:lnTo>
                    <a:pt x="93" y="19"/>
                  </a:lnTo>
                  <a:lnTo>
                    <a:pt x="102" y="23"/>
                  </a:lnTo>
                  <a:lnTo>
                    <a:pt x="104" y="19"/>
                  </a:lnTo>
                  <a:lnTo>
                    <a:pt x="111" y="23"/>
                  </a:lnTo>
                  <a:lnTo>
                    <a:pt x="126" y="26"/>
                  </a:lnTo>
                  <a:lnTo>
                    <a:pt x="135" y="7"/>
                  </a:lnTo>
                  <a:lnTo>
                    <a:pt x="147" y="4"/>
                  </a:lnTo>
                  <a:lnTo>
                    <a:pt x="175" y="0"/>
                  </a:lnTo>
                  <a:lnTo>
                    <a:pt x="185" y="12"/>
                  </a:lnTo>
                  <a:lnTo>
                    <a:pt x="180" y="16"/>
                  </a:lnTo>
                  <a:lnTo>
                    <a:pt x="182" y="23"/>
                  </a:lnTo>
                  <a:lnTo>
                    <a:pt x="194" y="26"/>
                  </a:lnTo>
                  <a:lnTo>
                    <a:pt x="204" y="45"/>
                  </a:lnTo>
                  <a:lnTo>
                    <a:pt x="218" y="49"/>
                  </a:lnTo>
                  <a:lnTo>
                    <a:pt x="227" y="45"/>
                  </a:lnTo>
                  <a:lnTo>
                    <a:pt x="270" y="66"/>
                  </a:lnTo>
                  <a:lnTo>
                    <a:pt x="265" y="104"/>
                  </a:lnTo>
                  <a:lnTo>
                    <a:pt x="251" y="101"/>
                  </a:lnTo>
                  <a:lnTo>
                    <a:pt x="244" y="111"/>
                  </a:lnTo>
                  <a:lnTo>
                    <a:pt x="241" y="123"/>
                  </a:lnTo>
                  <a:lnTo>
                    <a:pt x="232" y="125"/>
                  </a:lnTo>
                  <a:lnTo>
                    <a:pt x="185" y="151"/>
                  </a:lnTo>
                  <a:lnTo>
                    <a:pt x="201" y="165"/>
                  </a:lnTo>
                  <a:lnTo>
                    <a:pt x="215" y="163"/>
                  </a:lnTo>
                  <a:lnTo>
                    <a:pt x="215" y="167"/>
                  </a:lnTo>
                  <a:lnTo>
                    <a:pt x="201" y="167"/>
                  </a:lnTo>
                  <a:lnTo>
                    <a:pt x="175" y="184"/>
                  </a:lnTo>
                  <a:lnTo>
                    <a:pt x="170" y="179"/>
                  </a:lnTo>
                  <a:lnTo>
                    <a:pt x="170" y="170"/>
                  </a:lnTo>
                  <a:lnTo>
                    <a:pt x="159" y="163"/>
                  </a:lnTo>
                  <a:lnTo>
                    <a:pt x="175" y="151"/>
                  </a:lnTo>
                  <a:lnTo>
                    <a:pt x="147" y="144"/>
                  </a:lnTo>
                  <a:lnTo>
                    <a:pt x="149" y="137"/>
                  </a:lnTo>
                  <a:lnTo>
                    <a:pt x="130" y="137"/>
                  </a:lnTo>
                  <a:lnTo>
                    <a:pt x="121" y="153"/>
                  </a:lnTo>
                  <a:lnTo>
                    <a:pt x="111" y="156"/>
                  </a:lnTo>
                  <a:lnTo>
                    <a:pt x="114" y="163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8" name="Freeform 76"/>
            <p:cNvSpPr>
              <a:spLocks/>
            </p:cNvSpPr>
            <p:nvPr/>
          </p:nvSpPr>
          <p:spPr bwMode="auto">
            <a:xfrm>
              <a:off x="4274" y="2857"/>
              <a:ext cx="360" cy="167"/>
            </a:xfrm>
            <a:custGeom>
              <a:avLst/>
              <a:gdLst>
                <a:gd name="T0" fmla="*/ 15 w 607"/>
                <a:gd name="T1" fmla="*/ 2 h 321"/>
                <a:gd name="T2" fmla="*/ 15 w 607"/>
                <a:gd name="T3" fmla="*/ 2 h 321"/>
                <a:gd name="T4" fmla="*/ 14 w 607"/>
                <a:gd name="T5" fmla="*/ 3 h 321"/>
                <a:gd name="T6" fmla="*/ 13 w 607"/>
                <a:gd name="T7" fmla="*/ 3 h 321"/>
                <a:gd name="T8" fmla="*/ 13 w 607"/>
                <a:gd name="T9" fmla="*/ 3 h 321"/>
                <a:gd name="T10" fmla="*/ 12 w 607"/>
                <a:gd name="T11" fmla="*/ 3 h 321"/>
                <a:gd name="T12" fmla="*/ 11 w 607"/>
                <a:gd name="T13" fmla="*/ 3 h 321"/>
                <a:gd name="T14" fmla="*/ 11 w 607"/>
                <a:gd name="T15" fmla="*/ 3 h 321"/>
                <a:gd name="T16" fmla="*/ 9 w 607"/>
                <a:gd name="T17" fmla="*/ 3 h 321"/>
                <a:gd name="T18" fmla="*/ 8 w 607"/>
                <a:gd name="T19" fmla="*/ 3 h 321"/>
                <a:gd name="T20" fmla="*/ 8 w 607"/>
                <a:gd name="T21" fmla="*/ 3 h 321"/>
                <a:gd name="T22" fmla="*/ 7 w 607"/>
                <a:gd name="T23" fmla="*/ 3 h 321"/>
                <a:gd name="T24" fmla="*/ 7 w 607"/>
                <a:gd name="T25" fmla="*/ 3 h 321"/>
                <a:gd name="T26" fmla="*/ 5 w 607"/>
                <a:gd name="T27" fmla="*/ 3 h 321"/>
                <a:gd name="T28" fmla="*/ 4 w 607"/>
                <a:gd name="T29" fmla="*/ 3 h 321"/>
                <a:gd name="T30" fmla="*/ 3 w 607"/>
                <a:gd name="T31" fmla="*/ 3 h 321"/>
                <a:gd name="T32" fmla="*/ 2 w 607"/>
                <a:gd name="T33" fmla="*/ 3 h 321"/>
                <a:gd name="T34" fmla="*/ 2 w 607"/>
                <a:gd name="T35" fmla="*/ 3 h 321"/>
                <a:gd name="T36" fmla="*/ 2 w 607"/>
                <a:gd name="T37" fmla="*/ 3 h 321"/>
                <a:gd name="T38" fmla="*/ 1 w 607"/>
                <a:gd name="T39" fmla="*/ 3 h 321"/>
                <a:gd name="T40" fmla="*/ 2 w 607"/>
                <a:gd name="T41" fmla="*/ 3 h 321"/>
                <a:gd name="T42" fmla="*/ 3 w 607"/>
                <a:gd name="T43" fmla="*/ 3 h 321"/>
                <a:gd name="T44" fmla="*/ 2 w 607"/>
                <a:gd name="T45" fmla="*/ 2 h 321"/>
                <a:gd name="T46" fmla="*/ 1 w 607"/>
                <a:gd name="T47" fmla="*/ 2 h 321"/>
                <a:gd name="T48" fmla="*/ 1 w 607"/>
                <a:gd name="T49" fmla="*/ 2 h 321"/>
                <a:gd name="T50" fmla="*/ 1 w 607"/>
                <a:gd name="T51" fmla="*/ 2 h 321"/>
                <a:gd name="T52" fmla="*/ 1 w 607"/>
                <a:gd name="T53" fmla="*/ 2 h 321"/>
                <a:gd name="T54" fmla="*/ 1 w 607"/>
                <a:gd name="T55" fmla="*/ 2 h 321"/>
                <a:gd name="T56" fmla="*/ 2 w 607"/>
                <a:gd name="T57" fmla="*/ 1 h 321"/>
                <a:gd name="T58" fmla="*/ 2 w 607"/>
                <a:gd name="T59" fmla="*/ 1 h 321"/>
                <a:gd name="T60" fmla="*/ 4 w 607"/>
                <a:gd name="T61" fmla="*/ 2 h 321"/>
                <a:gd name="T62" fmla="*/ 5 w 607"/>
                <a:gd name="T63" fmla="*/ 1 h 321"/>
                <a:gd name="T64" fmla="*/ 5 w 607"/>
                <a:gd name="T65" fmla="*/ 1 h 321"/>
                <a:gd name="T66" fmla="*/ 5 w 607"/>
                <a:gd name="T67" fmla="*/ 1 h 321"/>
                <a:gd name="T68" fmla="*/ 5 w 607"/>
                <a:gd name="T69" fmla="*/ 1 h 321"/>
                <a:gd name="T70" fmla="*/ 5 w 607"/>
                <a:gd name="T71" fmla="*/ 1 h 321"/>
                <a:gd name="T72" fmla="*/ 8 w 607"/>
                <a:gd name="T73" fmla="*/ 1 h 321"/>
                <a:gd name="T74" fmla="*/ 9 w 607"/>
                <a:gd name="T75" fmla="*/ 0 h 321"/>
                <a:gd name="T76" fmla="*/ 9 w 607"/>
                <a:gd name="T77" fmla="*/ 1 h 321"/>
                <a:gd name="T78" fmla="*/ 10 w 607"/>
                <a:gd name="T79" fmla="*/ 1 h 321"/>
                <a:gd name="T80" fmla="*/ 11 w 607"/>
                <a:gd name="T81" fmla="*/ 1 h 321"/>
                <a:gd name="T82" fmla="*/ 11 w 607"/>
                <a:gd name="T83" fmla="*/ 1 h 321"/>
                <a:gd name="T84" fmla="*/ 12 w 607"/>
                <a:gd name="T85" fmla="*/ 1 h 321"/>
                <a:gd name="T86" fmla="*/ 13 w 607"/>
                <a:gd name="T87" fmla="*/ 1 h 321"/>
                <a:gd name="T88" fmla="*/ 14 w 607"/>
                <a:gd name="T89" fmla="*/ 1 h 321"/>
                <a:gd name="T90" fmla="*/ 15 w 607"/>
                <a:gd name="T91" fmla="*/ 2 h 321"/>
                <a:gd name="T92" fmla="*/ 15 w 607"/>
                <a:gd name="T93" fmla="*/ 2 h 32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07"/>
                <a:gd name="T142" fmla="*/ 0 h 321"/>
                <a:gd name="T143" fmla="*/ 607 w 607"/>
                <a:gd name="T144" fmla="*/ 321 h 32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07" h="321">
                  <a:moveTo>
                    <a:pt x="600" y="168"/>
                  </a:moveTo>
                  <a:lnTo>
                    <a:pt x="586" y="173"/>
                  </a:lnTo>
                  <a:lnTo>
                    <a:pt x="581" y="201"/>
                  </a:lnTo>
                  <a:lnTo>
                    <a:pt x="572" y="206"/>
                  </a:lnTo>
                  <a:lnTo>
                    <a:pt x="544" y="199"/>
                  </a:lnTo>
                  <a:lnTo>
                    <a:pt x="534" y="241"/>
                  </a:lnTo>
                  <a:lnTo>
                    <a:pt x="506" y="243"/>
                  </a:lnTo>
                  <a:lnTo>
                    <a:pt x="501" y="250"/>
                  </a:lnTo>
                  <a:lnTo>
                    <a:pt x="510" y="284"/>
                  </a:lnTo>
                  <a:lnTo>
                    <a:pt x="506" y="295"/>
                  </a:lnTo>
                  <a:lnTo>
                    <a:pt x="503" y="298"/>
                  </a:lnTo>
                  <a:lnTo>
                    <a:pt x="487" y="288"/>
                  </a:lnTo>
                  <a:lnTo>
                    <a:pt x="430" y="284"/>
                  </a:lnTo>
                  <a:lnTo>
                    <a:pt x="411" y="279"/>
                  </a:lnTo>
                  <a:lnTo>
                    <a:pt x="402" y="284"/>
                  </a:lnTo>
                  <a:lnTo>
                    <a:pt x="399" y="293"/>
                  </a:lnTo>
                  <a:lnTo>
                    <a:pt x="366" y="288"/>
                  </a:lnTo>
                  <a:lnTo>
                    <a:pt x="364" y="295"/>
                  </a:lnTo>
                  <a:lnTo>
                    <a:pt x="359" y="300"/>
                  </a:lnTo>
                  <a:lnTo>
                    <a:pt x="331" y="321"/>
                  </a:lnTo>
                  <a:lnTo>
                    <a:pt x="319" y="317"/>
                  </a:lnTo>
                  <a:lnTo>
                    <a:pt x="305" y="319"/>
                  </a:lnTo>
                  <a:lnTo>
                    <a:pt x="303" y="305"/>
                  </a:lnTo>
                  <a:lnTo>
                    <a:pt x="293" y="305"/>
                  </a:lnTo>
                  <a:lnTo>
                    <a:pt x="293" y="284"/>
                  </a:lnTo>
                  <a:lnTo>
                    <a:pt x="277" y="267"/>
                  </a:lnTo>
                  <a:lnTo>
                    <a:pt x="232" y="272"/>
                  </a:lnTo>
                  <a:lnTo>
                    <a:pt x="203" y="243"/>
                  </a:lnTo>
                  <a:lnTo>
                    <a:pt x="180" y="229"/>
                  </a:lnTo>
                  <a:lnTo>
                    <a:pt x="142" y="241"/>
                  </a:lnTo>
                  <a:lnTo>
                    <a:pt x="142" y="317"/>
                  </a:lnTo>
                  <a:lnTo>
                    <a:pt x="132" y="317"/>
                  </a:lnTo>
                  <a:lnTo>
                    <a:pt x="114" y="295"/>
                  </a:lnTo>
                  <a:lnTo>
                    <a:pt x="88" y="307"/>
                  </a:lnTo>
                  <a:lnTo>
                    <a:pt x="88" y="305"/>
                  </a:lnTo>
                  <a:lnTo>
                    <a:pt x="90" y="291"/>
                  </a:lnTo>
                  <a:lnTo>
                    <a:pt x="81" y="291"/>
                  </a:lnTo>
                  <a:lnTo>
                    <a:pt x="64" y="262"/>
                  </a:lnTo>
                  <a:lnTo>
                    <a:pt x="55" y="260"/>
                  </a:lnTo>
                  <a:lnTo>
                    <a:pt x="57" y="255"/>
                  </a:lnTo>
                  <a:lnTo>
                    <a:pt x="73" y="258"/>
                  </a:lnTo>
                  <a:lnTo>
                    <a:pt x="71" y="246"/>
                  </a:lnTo>
                  <a:lnTo>
                    <a:pt x="78" y="239"/>
                  </a:lnTo>
                  <a:lnTo>
                    <a:pt x="116" y="241"/>
                  </a:lnTo>
                  <a:lnTo>
                    <a:pt x="106" y="215"/>
                  </a:lnTo>
                  <a:lnTo>
                    <a:pt x="90" y="199"/>
                  </a:lnTo>
                  <a:lnTo>
                    <a:pt x="66" y="196"/>
                  </a:lnTo>
                  <a:lnTo>
                    <a:pt x="36" y="213"/>
                  </a:lnTo>
                  <a:lnTo>
                    <a:pt x="29" y="208"/>
                  </a:lnTo>
                  <a:lnTo>
                    <a:pt x="38" y="206"/>
                  </a:lnTo>
                  <a:lnTo>
                    <a:pt x="26" y="182"/>
                  </a:lnTo>
                  <a:lnTo>
                    <a:pt x="14" y="182"/>
                  </a:lnTo>
                  <a:lnTo>
                    <a:pt x="0" y="168"/>
                  </a:lnTo>
                  <a:lnTo>
                    <a:pt x="14" y="121"/>
                  </a:lnTo>
                  <a:lnTo>
                    <a:pt x="29" y="137"/>
                  </a:lnTo>
                  <a:lnTo>
                    <a:pt x="36" y="132"/>
                  </a:lnTo>
                  <a:lnTo>
                    <a:pt x="31" y="116"/>
                  </a:lnTo>
                  <a:lnTo>
                    <a:pt x="62" y="92"/>
                  </a:lnTo>
                  <a:lnTo>
                    <a:pt x="78" y="97"/>
                  </a:lnTo>
                  <a:lnTo>
                    <a:pt x="85" y="90"/>
                  </a:lnTo>
                  <a:lnTo>
                    <a:pt x="104" y="97"/>
                  </a:lnTo>
                  <a:lnTo>
                    <a:pt x="137" y="118"/>
                  </a:lnTo>
                  <a:lnTo>
                    <a:pt x="154" y="106"/>
                  </a:lnTo>
                  <a:lnTo>
                    <a:pt x="175" y="106"/>
                  </a:lnTo>
                  <a:lnTo>
                    <a:pt x="184" y="116"/>
                  </a:lnTo>
                  <a:lnTo>
                    <a:pt x="222" y="113"/>
                  </a:lnTo>
                  <a:lnTo>
                    <a:pt x="227" y="102"/>
                  </a:lnTo>
                  <a:lnTo>
                    <a:pt x="203" y="88"/>
                  </a:lnTo>
                  <a:lnTo>
                    <a:pt x="215" y="78"/>
                  </a:lnTo>
                  <a:lnTo>
                    <a:pt x="213" y="66"/>
                  </a:lnTo>
                  <a:lnTo>
                    <a:pt x="218" y="62"/>
                  </a:lnTo>
                  <a:lnTo>
                    <a:pt x="218" y="36"/>
                  </a:lnTo>
                  <a:lnTo>
                    <a:pt x="241" y="38"/>
                  </a:lnTo>
                  <a:lnTo>
                    <a:pt x="324" y="10"/>
                  </a:lnTo>
                  <a:lnTo>
                    <a:pt x="326" y="5"/>
                  </a:lnTo>
                  <a:lnTo>
                    <a:pt x="336" y="0"/>
                  </a:lnTo>
                  <a:lnTo>
                    <a:pt x="362" y="2"/>
                  </a:lnTo>
                  <a:lnTo>
                    <a:pt x="369" y="19"/>
                  </a:lnTo>
                  <a:lnTo>
                    <a:pt x="369" y="33"/>
                  </a:lnTo>
                  <a:lnTo>
                    <a:pt x="383" y="31"/>
                  </a:lnTo>
                  <a:lnTo>
                    <a:pt x="399" y="38"/>
                  </a:lnTo>
                  <a:lnTo>
                    <a:pt x="402" y="50"/>
                  </a:lnTo>
                  <a:lnTo>
                    <a:pt x="416" y="47"/>
                  </a:lnTo>
                  <a:lnTo>
                    <a:pt x="435" y="31"/>
                  </a:lnTo>
                  <a:lnTo>
                    <a:pt x="451" y="26"/>
                  </a:lnTo>
                  <a:lnTo>
                    <a:pt x="468" y="54"/>
                  </a:lnTo>
                  <a:lnTo>
                    <a:pt x="501" y="113"/>
                  </a:lnTo>
                  <a:lnTo>
                    <a:pt x="510" y="102"/>
                  </a:lnTo>
                  <a:lnTo>
                    <a:pt x="522" y="116"/>
                  </a:lnTo>
                  <a:lnTo>
                    <a:pt x="553" y="109"/>
                  </a:lnTo>
                  <a:lnTo>
                    <a:pt x="579" y="139"/>
                  </a:lnTo>
                  <a:lnTo>
                    <a:pt x="593" y="144"/>
                  </a:lnTo>
                  <a:lnTo>
                    <a:pt x="600" y="139"/>
                  </a:lnTo>
                  <a:lnTo>
                    <a:pt x="607" y="151"/>
                  </a:lnTo>
                  <a:lnTo>
                    <a:pt x="600" y="168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9" name="Freeform 77"/>
            <p:cNvSpPr>
              <a:spLocks/>
            </p:cNvSpPr>
            <p:nvPr/>
          </p:nvSpPr>
          <p:spPr bwMode="auto">
            <a:xfrm>
              <a:off x="4049" y="2820"/>
              <a:ext cx="65" cy="34"/>
            </a:xfrm>
            <a:custGeom>
              <a:avLst/>
              <a:gdLst>
                <a:gd name="T0" fmla="*/ 1 w 109"/>
                <a:gd name="T1" fmla="*/ 1 h 64"/>
                <a:gd name="T2" fmla="*/ 1 w 109"/>
                <a:gd name="T3" fmla="*/ 1 h 64"/>
                <a:gd name="T4" fmla="*/ 1 w 109"/>
                <a:gd name="T5" fmla="*/ 1 h 64"/>
                <a:gd name="T6" fmla="*/ 1 w 109"/>
                <a:gd name="T7" fmla="*/ 1 h 64"/>
                <a:gd name="T8" fmla="*/ 1 w 109"/>
                <a:gd name="T9" fmla="*/ 1 h 64"/>
                <a:gd name="T10" fmla="*/ 1 w 109"/>
                <a:gd name="T11" fmla="*/ 1 h 64"/>
                <a:gd name="T12" fmla="*/ 0 w 109"/>
                <a:gd name="T13" fmla="*/ 1 h 64"/>
                <a:gd name="T14" fmla="*/ 0 w 109"/>
                <a:gd name="T15" fmla="*/ 1 h 64"/>
                <a:gd name="T16" fmla="*/ 0 w 109"/>
                <a:gd name="T17" fmla="*/ 1 h 64"/>
                <a:gd name="T18" fmla="*/ 1 w 109"/>
                <a:gd name="T19" fmla="*/ 1 h 64"/>
                <a:gd name="T20" fmla="*/ 1 w 109"/>
                <a:gd name="T21" fmla="*/ 1 h 64"/>
                <a:gd name="T22" fmla="*/ 2 w 109"/>
                <a:gd name="T23" fmla="*/ 1 h 64"/>
                <a:gd name="T24" fmla="*/ 2 w 109"/>
                <a:gd name="T25" fmla="*/ 1 h 64"/>
                <a:gd name="T26" fmla="*/ 2 w 109"/>
                <a:gd name="T27" fmla="*/ 1 h 64"/>
                <a:gd name="T28" fmla="*/ 3 w 109"/>
                <a:gd name="T29" fmla="*/ 1 h 64"/>
                <a:gd name="T30" fmla="*/ 3 w 109"/>
                <a:gd name="T31" fmla="*/ 1 h 64"/>
                <a:gd name="T32" fmla="*/ 3 w 109"/>
                <a:gd name="T33" fmla="*/ 1 h 64"/>
                <a:gd name="T34" fmla="*/ 3 w 109"/>
                <a:gd name="T35" fmla="*/ 1 h 64"/>
                <a:gd name="T36" fmla="*/ 2 w 109"/>
                <a:gd name="T37" fmla="*/ 1 h 64"/>
                <a:gd name="T38" fmla="*/ 2 w 109"/>
                <a:gd name="T39" fmla="*/ 0 h 64"/>
                <a:gd name="T40" fmla="*/ 1 w 109"/>
                <a:gd name="T41" fmla="*/ 1 h 6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09"/>
                <a:gd name="T64" fmla="*/ 0 h 64"/>
                <a:gd name="T65" fmla="*/ 109 w 109"/>
                <a:gd name="T66" fmla="*/ 64 h 6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09" h="64">
                  <a:moveTo>
                    <a:pt x="49" y="3"/>
                  </a:moveTo>
                  <a:lnTo>
                    <a:pt x="49" y="24"/>
                  </a:lnTo>
                  <a:lnTo>
                    <a:pt x="42" y="31"/>
                  </a:lnTo>
                  <a:lnTo>
                    <a:pt x="33" y="29"/>
                  </a:lnTo>
                  <a:lnTo>
                    <a:pt x="21" y="12"/>
                  </a:lnTo>
                  <a:lnTo>
                    <a:pt x="9" y="14"/>
                  </a:lnTo>
                  <a:lnTo>
                    <a:pt x="0" y="38"/>
                  </a:lnTo>
                  <a:lnTo>
                    <a:pt x="0" y="52"/>
                  </a:lnTo>
                  <a:lnTo>
                    <a:pt x="16" y="43"/>
                  </a:lnTo>
                  <a:lnTo>
                    <a:pt x="49" y="47"/>
                  </a:lnTo>
                  <a:lnTo>
                    <a:pt x="59" y="43"/>
                  </a:lnTo>
                  <a:lnTo>
                    <a:pt x="64" y="50"/>
                  </a:lnTo>
                  <a:lnTo>
                    <a:pt x="87" y="64"/>
                  </a:lnTo>
                  <a:lnTo>
                    <a:pt x="109" y="50"/>
                  </a:lnTo>
                  <a:lnTo>
                    <a:pt x="101" y="31"/>
                  </a:lnTo>
                  <a:lnTo>
                    <a:pt x="101" y="19"/>
                  </a:lnTo>
                  <a:lnTo>
                    <a:pt x="97" y="10"/>
                  </a:lnTo>
                  <a:lnTo>
                    <a:pt x="83" y="12"/>
                  </a:lnTo>
                  <a:lnTo>
                    <a:pt x="64" y="0"/>
                  </a:lnTo>
                  <a:lnTo>
                    <a:pt x="49" y="3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0" name="Freeform 78"/>
            <p:cNvSpPr>
              <a:spLocks/>
            </p:cNvSpPr>
            <p:nvPr/>
          </p:nvSpPr>
          <p:spPr bwMode="auto">
            <a:xfrm>
              <a:off x="4049" y="2842"/>
              <a:ext cx="52" cy="35"/>
            </a:xfrm>
            <a:custGeom>
              <a:avLst/>
              <a:gdLst>
                <a:gd name="T0" fmla="*/ 0 w 87"/>
                <a:gd name="T1" fmla="*/ 1 h 66"/>
                <a:gd name="T2" fmla="*/ 1 w 87"/>
                <a:gd name="T3" fmla="*/ 1 h 66"/>
                <a:gd name="T4" fmla="*/ 0 w 87"/>
                <a:gd name="T5" fmla="*/ 1 h 66"/>
                <a:gd name="T6" fmla="*/ 0 w 87"/>
                <a:gd name="T7" fmla="*/ 1 h 66"/>
                <a:gd name="T8" fmla="*/ 1 w 87"/>
                <a:gd name="T9" fmla="*/ 0 h 66"/>
                <a:gd name="T10" fmla="*/ 1 w 87"/>
                <a:gd name="T11" fmla="*/ 1 h 66"/>
                <a:gd name="T12" fmla="*/ 2 w 87"/>
                <a:gd name="T13" fmla="*/ 0 h 66"/>
                <a:gd name="T14" fmla="*/ 2 w 87"/>
                <a:gd name="T15" fmla="*/ 1 h 66"/>
                <a:gd name="T16" fmla="*/ 2 w 87"/>
                <a:gd name="T17" fmla="*/ 1 h 66"/>
                <a:gd name="T18" fmla="*/ 2 w 87"/>
                <a:gd name="T19" fmla="*/ 1 h 66"/>
                <a:gd name="T20" fmla="*/ 2 w 87"/>
                <a:gd name="T21" fmla="*/ 1 h 66"/>
                <a:gd name="T22" fmla="*/ 2 w 87"/>
                <a:gd name="T23" fmla="*/ 1 h 66"/>
                <a:gd name="T24" fmla="*/ 2 w 87"/>
                <a:gd name="T25" fmla="*/ 1 h 66"/>
                <a:gd name="T26" fmla="*/ 2 w 87"/>
                <a:gd name="T27" fmla="*/ 1 h 66"/>
                <a:gd name="T28" fmla="*/ 1 w 87"/>
                <a:gd name="T29" fmla="*/ 1 h 66"/>
                <a:gd name="T30" fmla="*/ 1 w 87"/>
                <a:gd name="T31" fmla="*/ 1 h 66"/>
                <a:gd name="T32" fmla="*/ 1 w 87"/>
                <a:gd name="T33" fmla="*/ 1 h 66"/>
                <a:gd name="T34" fmla="*/ 1 w 87"/>
                <a:gd name="T35" fmla="*/ 1 h 66"/>
                <a:gd name="T36" fmla="*/ 0 w 87"/>
                <a:gd name="T37" fmla="*/ 1 h 6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"/>
                <a:gd name="T58" fmla="*/ 0 h 66"/>
                <a:gd name="T59" fmla="*/ 87 w 87"/>
                <a:gd name="T60" fmla="*/ 66 h 6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" h="66">
                  <a:moveTo>
                    <a:pt x="0" y="30"/>
                  </a:moveTo>
                  <a:lnTo>
                    <a:pt x="2" y="23"/>
                  </a:lnTo>
                  <a:lnTo>
                    <a:pt x="0" y="9"/>
                  </a:lnTo>
                  <a:lnTo>
                    <a:pt x="16" y="0"/>
                  </a:lnTo>
                  <a:lnTo>
                    <a:pt x="49" y="4"/>
                  </a:lnTo>
                  <a:lnTo>
                    <a:pt x="59" y="0"/>
                  </a:lnTo>
                  <a:lnTo>
                    <a:pt x="64" y="7"/>
                  </a:lnTo>
                  <a:lnTo>
                    <a:pt x="87" y="21"/>
                  </a:lnTo>
                  <a:lnTo>
                    <a:pt x="85" y="35"/>
                  </a:lnTo>
                  <a:lnTo>
                    <a:pt x="73" y="38"/>
                  </a:lnTo>
                  <a:lnTo>
                    <a:pt x="73" y="59"/>
                  </a:lnTo>
                  <a:lnTo>
                    <a:pt x="64" y="56"/>
                  </a:lnTo>
                  <a:lnTo>
                    <a:pt x="59" y="64"/>
                  </a:lnTo>
                  <a:lnTo>
                    <a:pt x="38" y="66"/>
                  </a:lnTo>
                  <a:lnTo>
                    <a:pt x="35" y="66"/>
                  </a:lnTo>
                  <a:lnTo>
                    <a:pt x="26" y="56"/>
                  </a:lnTo>
                  <a:lnTo>
                    <a:pt x="26" y="35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1" name="Freeform 79"/>
            <p:cNvSpPr>
              <a:spLocks/>
            </p:cNvSpPr>
            <p:nvPr/>
          </p:nvSpPr>
          <p:spPr bwMode="auto">
            <a:xfrm>
              <a:off x="4072" y="2799"/>
              <a:ext cx="39" cy="27"/>
            </a:xfrm>
            <a:custGeom>
              <a:avLst/>
              <a:gdLst>
                <a:gd name="T0" fmla="*/ 1 w 66"/>
                <a:gd name="T1" fmla="*/ 1 h 54"/>
                <a:gd name="T2" fmla="*/ 1 w 66"/>
                <a:gd name="T3" fmla="*/ 1 h 54"/>
                <a:gd name="T4" fmla="*/ 1 w 66"/>
                <a:gd name="T5" fmla="*/ 1 h 54"/>
                <a:gd name="T6" fmla="*/ 0 w 66"/>
                <a:gd name="T7" fmla="*/ 1 h 54"/>
                <a:gd name="T8" fmla="*/ 1 w 66"/>
                <a:gd name="T9" fmla="*/ 1 h 54"/>
                <a:gd name="T10" fmla="*/ 1 w 66"/>
                <a:gd name="T11" fmla="*/ 0 h 54"/>
                <a:gd name="T12" fmla="*/ 2 w 66"/>
                <a:gd name="T13" fmla="*/ 1 h 54"/>
                <a:gd name="T14" fmla="*/ 2 w 66"/>
                <a:gd name="T15" fmla="*/ 1 h 54"/>
                <a:gd name="T16" fmla="*/ 1 w 66"/>
                <a:gd name="T17" fmla="*/ 1 h 54"/>
                <a:gd name="T18" fmla="*/ 2 w 66"/>
                <a:gd name="T19" fmla="*/ 1 h 54"/>
                <a:gd name="T20" fmla="*/ 1 w 66"/>
                <a:gd name="T21" fmla="*/ 1 h 54"/>
                <a:gd name="T22" fmla="*/ 1 w 66"/>
                <a:gd name="T23" fmla="*/ 1 h 54"/>
                <a:gd name="T24" fmla="*/ 1 w 66"/>
                <a:gd name="T25" fmla="*/ 1 h 54"/>
                <a:gd name="T26" fmla="*/ 1 w 66"/>
                <a:gd name="T27" fmla="*/ 1 h 5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6"/>
                <a:gd name="T43" fmla="*/ 0 h 54"/>
                <a:gd name="T44" fmla="*/ 66 w 66"/>
                <a:gd name="T45" fmla="*/ 54 h 5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6" h="54">
                  <a:moveTo>
                    <a:pt x="11" y="45"/>
                  </a:moveTo>
                  <a:lnTo>
                    <a:pt x="11" y="38"/>
                  </a:lnTo>
                  <a:lnTo>
                    <a:pt x="2" y="35"/>
                  </a:lnTo>
                  <a:lnTo>
                    <a:pt x="0" y="12"/>
                  </a:lnTo>
                  <a:lnTo>
                    <a:pt x="9" y="4"/>
                  </a:lnTo>
                  <a:lnTo>
                    <a:pt x="35" y="0"/>
                  </a:lnTo>
                  <a:lnTo>
                    <a:pt x="66" y="4"/>
                  </a:lnTo>
                  <a:lnTo>
                    <a:pt x="63" y="12"/>
                  </a:lnTo>
                  <a:lnTo>
                    <a:pt x="52" y="16"/>
                  </a:lnTo>
                  <a:lnTo>
                    <a:pt x="63" y="42"/>
                  </a:lnTo>
                  <a:lnTo>
                    <a:pt x="59" y="52"/>
                  </a:lnTo>
                  <a:lnTo>
                    <a:pt x="45" y="54"/>
                  </a:lnTo>
                  <a:lnTo>
                    <a:pt x="26" y="42"/>
                  </a:lnTo>
                  <a:lnTo>
                    <a:pt x="11" y="45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2" name="Freeform 80"/>
            <p:cNvSpPr>
              <a:spLocks/>
            </p:cNvSpPr>
            <p:nvPr/>
          </p:nvSpPr>
          <p:spPr bwMode="auto">
            <a:xfrm>
              <a:off x="4037" y="2858"/>
              <a:ext cx="28" cy="15"/>
            </a:xfrm>
            <a:custGeom>
              <a:avLst/>
              <a:gdLst>
                <a:gd name="T0" fmla="*/ 1 w 47"/>
                <a:gd name="T1" fmla="*/ 1 h 29"/>
                <a:gd name="T2" fmla="*/ 1 w 47"/>
                <a:gd name="T3" fmla="*/ 1 h 29"/>
                <a:gd name="T4" fmla="*/ 1 w 47"/>
                <a:gd name="T5" fmla="*/ 1 h 29"/>
                <a:gd name="T6" fmla="*/ 0 w 47"/>
                <a:gd name="T7" fmla="*/ 1 h 29"/>
                <a:gd name="T8" fmla="*/ 0 w 47"/>
                <a:gd name="T9" fmla="*/ 1 h 29"/>
                <a:gd name="T10" fmla="*/ 1 w 47"/>
                <a:gd name="T11" fmla="*/ 1 h 29"/>
                <a:gd name="T12" fmla="*/ 1 w 47"/>
                <a:gd name="T13" fmla="*/ 0 h 29"/>
                <a:gd name="T14" fmla="*/ 1 w 47"/>
                <a:gd name="T15" fmla="*/ 1 h 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7"/>
                <a:gd name="T25" fmla="*/ 0 h 29"/>
                <a:gd name="T26" fmla="*/ 47 w 47"/>
                <a:gd name="T27" fmla="*/ 29 h 2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7" h="29">
                  <a:moveTo>
                    <a:pt x="47" y="5"/>
                  </a:moveTo>
                  <a:lnTo>
                    <a:pt x="47" y="26"/>
                  </a:lnTo>
                  <a:lnTo>
                    <a:pt x="21" y="29"/>
                  </a:lnTo>
                  <a:lnTo>
                    <a:pt x="0" y="24"/>
                  </a:lnTo>
                  <a:lnTo>
                    <a:pt x="18" y="8"/>
                  </a:lnTo>
                  <a:lnTo>
                    <a:pt x="21" y="0"/>
                  </a:lnTo>
                  <a:lnTo>
                    <a:pt x="47" y="5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3" name="Freeform 81"/>
            <p:cNvSpPr>
              <a:spLocks/>
            </p:cNvSpPr>
            <p:nvPr/>
          </p:nvSpPr>
          <p:spPr bwMode="auto">
            <a:xfrm>
              <a:off x="4215" y="3000"/>
              <a:ext cx="59" cy="24"/>
            </a:xfrm>
            <a:custGeom>
              <a:avLst/>
              <a:gdLst>
                <a:gd name="T0" fmla="*/ 1 w 101"/>
                <a:gd name="T1" fmla="*/ 1 h 45"/>
                <a:gd name="T2" fmla="*/ 1 w 101"/>
                <a:gd name="T3" fmla="*/ 1 h 45"/>
                <a:gd name="T4" fmla="*/ 1 w 101"/>
                <a:gd name="T5" fmla="*/ 1 h 45"/>
                <a:gd name="T6" fmla="*/ 0 w 101"/>
                <a:gd name="T7" fmla="*/ 0 h 45"/>
                <a:gd name="T8" fmla="*/ 1 w 101"/>
                <a:gd name="T9" fmla="*/ 1 h 45"/>
                <a:gd name="T10" fmla="*/ 2 w 101"/>
                <a:gd name="T11" fmla="*/ 1 h 45"/>
                <a:gd name="T12" fmla="*/ 2 w 101"/>
                <a:gd name="T13" fmla="*/ 1 h 45"/>
                <a:gd name="T14" fmla="*/ 2 w 101"/>
                <a:gd name="T15" fmla="*/ 1 h 45"/>
                <a:gd name="T16" fmla="*/ 2 w 101"/>
                <a:gd name="T17" fmla="*/ 1 h 45"/>
                <a:gd name="T18" fmla="*/ 2 w 101"/>
                <a:gd name="T19" fmla="*/ 1 h 45"/>
                <a:gd name="T20" fmla="*/ 2 w 101"/>
                <a:gd name="T21" fmla="*/ 1 h 45"/>
                <a:gd name="T22" fmla="*/ 2 w 101"/>
                <a:gd name="T23" fmla="*/ 1 h 45"/>
                <a:gd name="T24" fmla="*/ 1 w 101"/>
                <a:gd name="T25" fmla="*/ 1 h 45"/>
                <a:gd name="T26" fmla="*/ 1 w 101"/>
                <a:gd name="T27" fmla="*/ 1 h 45"/>
                <a:gd name="T28" fmla="*/ 1 w 101"/>
                <a:gd name="T29" fmla="*/ 1 h 45"/>
                <a:gd name="T30" fmla="*/ 1 w 101"/>
                <a:gd name="T31" fmla="*/ 1 h 4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1"/>
                <a:gd name="T49" fmla="*/ 0 h 45"/>
                <a:gd name="T50" fmla="*/ 101 w 101"/>
                <a:gd name="T51" fmla="*/ 45 h 4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1" h="45">
                  <a:moveTo>
                    <a:pt x="28" y="40"/>
                  </a:moveTo>
                  <a:lnTo>
                    <a:pt x="30" y="33"/>
                  </a:lnTo>
                  <a:lnTo>
                    <a:pt x="23" y="19"/>
                  </a:lnTo>
                  <a:lnTo>
                    <a:pt x="0" y="0"/>
                  </a:lnTo>
                  <a:lnTo>
                    <a:pt x="47" y="5"/>
                  </a:lnTo>
                  <a:lnTo>
                    <a:pt x="63" y="17"/>
                  </a:lnTo>
                  <a:lnTo>
                    <a:pt x="82" y="14"/>
                  </a:lnTo>
                  <a:lnTo>
                    <a:pt x="99" y="31"/>
                  </a:lnTo>
                  <a:lnTo>
                    <a:pt x="96" y="36"/>
                  </a:lnTo>
                  <a:lnTo>
                    <a:pt x="101" y="45"/>
                  </a:lnTo>
                  <a:lnTo>
                    <a:pt x="82" y="40"/>
                  </a:lnTo>
                  <a:lnTo>
                    <a:pt x="78" y="40"/>
                  </a:lnTo>
                  <a:lnTo>
                    <a:pt x="54" y="45"/>
                  </a:lnTo>
                  <a:lnTo>
                    <a:pt x="54" y="43"/>
                  </a:lnTo>
                  <a:lnTo>
                    <a:pt x="28" y="4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4" name="Freeform 82"/>
            <p:cNvSpPr>
              <a:spLocks/>
            </p:cNvSpPr>
            <p:nvPr/>
          </p:nvSpPr>
          <p:spPr bwMode="auto">
            <a:xfrm>
              <a:off x="4098" y="2943"/>
              <a:ext cx="31" cy="34"/>
            </a:xfrm>
            <a:custGeom>
              <a:avLst/>
              <a:gdLst>
                <a:gd name="T0" fmla="*/ 0 w 52"/>
                <a:gd name="T1" fmla="*/ 1 h 64"/>
                <a:gd name="T2" fmla="*/ 1 w 52"/>
                <a:gd name="T3" fmla="*/ 1 h 64"/>
                <a:gd name="T4" fmla="*/ 1 w 52"/>
                <a:gd name="T5" fmla="*/ 1 h 64"/>
                <a:gd name="T6" fmla="*/ 1 w 52"/>
                <a:gd name="T7" fmla="*/ 1 h 64"/>
                <a:gd name="T8" fmla="*/ 1 w 52"/>
                <a:gd name="T9" fmla="*/ 1 h 64"/>
                <a:gd name="T10" fmla="*/ 1 w 52"/>
                <a:gd name="T11" fmla="*/ 1 h 64"/>
                <a:gd name="T12" fmla="*/ 1 w 52"/>
                <a:gd name="T13" fmla="*/ 1 h 64"/>
                <a:gd name="T14" fmla="*/ 1 w 52"/>
                <a:gd name="T15" fmla="*/ 1 h 64"/>
                <a:gd name="T16" fmla="*/ 1 w 52"/>
                <a:gd name="T17" fmla="*/ 1 h 64"/>
                <a:gd name="T18" fmla="*/ 1 w 52"/>
                <a:gd name="T19" fmla="*/ 0 h 64"/>
                <a:gd name="T20" fmla="*/ 0 w 52"/>
                <a:gd name="T21" fmla="*/ 1 h 6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64"/>
                <a:gd name="T35" fmla="*/ 52 w 52"/>
                <a:gd name="T36" fmla="*/ 64 h 6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64">
                  <a:moveTo>
                    <a:pt x="0" y="10"/>
                  </a:moveTo>
                  <a:lnTo>
                    <a:pt x="7" y="12"/>
                  </a:lnTo>
                  <a:lnTo>
                    <a:pt x="23" y="41"/>
                  </a:lnTo>
                  <a:lnTo>
                    <a:pt x="28" y="64"/>
                  </a:lnTo>
                  <a:lnTo>
                    <a:pt x="37" y="45"/>
                  </a:lnTo>
                  <a:lnTo>
                    <a:pt x="52" y="45"/>
                  </a:lnTo>
                  <a:lnTo>
                    <a:pt x="52" y="38"/>
                  </a:lnTo>
                  <a:lnTo>
                    <a:pt x="40" y="22"/>
                  </a:lnTo>
                  <a:lnTo>
                    <a:pt x="40" y="12"/>
                  </a:lnTo>
                  <a:lnTo>
                    <a:pt x="14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5" name="Freeform 83"/>
            <p:cNvSpPr>
              <a:spLocks/>
            </p:cNvSpPr>
            <p:nvPr/>
          </p:nvSpPr>
          <p:spPr bwMode="auto">
            <a:xfrm>
              <a:off x="4247" y="3021"/>
              <a:ext cx="29" cy="27"/>
            </a:xfrm>
            <a:custGeom>
              <a:avLst/>
              <a:gdLst>
                <a:gd name="T0" fmla="*/ 1 w 50"/>
                <a:gd name="T1" fmla="*/ 1 h 52"/>
                <a:gd name="T2" fmla="*/ 1 w 50"/>
                <a:gd name="T3" fmla="*/ 1 h 52"/>
                <a:gd name="T4" fmla="*/ 1 w 50"/>
                <a:gd name="T5" fmla="*/ 1 h 52"/>
                <a:gd name="T6" fmla="*/ 1 w 50"/>
                <a:gd name="T7" fmla="*/ 1 h 52"/>
                <a:gd name="T8" fmla="*/ 1 w 50"/>
                <a:gd name="T9" fmla="*/ 0 h 52"/>
                <a:gd name="T10" fmla="*/ 0 w 50"/>
                <a:gd name="T11" fmla="*/ 1 h 52"/>
                <a:gd name="T12" fmla="*/ 1 w 50"/>
                <a:gd name="T13" fmla="*/ 1 h 52"/>
                <a:gd name="T14" fmla="*/ 1 w 50"/>
                <a:gd name="T15" fmla="*/ 1 h 52"/>
                <a:gd name="T16" fmla="*/ 1 w 50"/>
                <a:gd name="T17" fmla="*/ 1 h 52"/>
                <a:gd name="T18" fmla="*/ 1 w 50"/>
                <a:gd name="T19" fmla="*/ 1 h 52"/>
                <a:gd name="T20" fmla="*/ 1 w 50"/>
                <a:gd name="T21" fmla="*/ 1 h 52"/>
                <a:gd name="T22" fmla="*/ 1 w 50"/>
                <a:gd name="T23" fmla="*/ 1 h 5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0"/>
                <a:gd name="T37" fmla="*/ 0 h 52"/>
                <a:gd name="T38" fmla="*/ 50 w 50"/>
                <a:gd name="T39" fmla="*/ 52 h 5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0" h="52">
                  <a:moveTo>
                    <a:pt x="50" y="52"/>
                  </a:moveTo>
                  <a:lnTo>
                    <a:pt x="47" y="36"/>
                  </a:lnTo>
                  <a:lnTo>
                    <a:pt x="35" y="29"/>
                  </a:lnTo>
                  <a:lnTo>
                    <a:pt x="38" y="24"/>
                  </a:lnTo>
                  <a:lnTo>
                    <a:pt x="24" y="0"/>
                  </a:lnTo>
                  <a:lnTo>
                    <a:pt x="0" y="5"/>
                  </a:lnTo>
                  <a:lnTo>
                    <a:pt x="9" y="26"/>
                  </a:lnTo>
                  <a:lnTo>
                    <a:pt x="19" y="33"/>
                  </a:lnTo>
                  <a:lnTo>
                    <a:pt x="35" y="38"/>
                  </a:lnTo>
                  <a:lnTo>
                    <a:pt x="42" y="52"/>
                  </a:lnTo>
                  <a:lnTo>
                    <a:pt x="50" y="5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6" name="Freeform 84"/>
            <p:cNvSpPr>
              <a:spLocks/>
            </p:cNvSpPr>
            <p:nvPr/>
          </p:nvSpPr>
          <p:spPr bwMode="auto">
            <a:xfrm>
              <a:off x="4258" y="3038"/>
              <a:ext cx="13" cy="10"/>
            </a:xfrm>
            <a:custGeom>
              <a:avLst/>
              <a:gdLst>
                <a:gd name="T0" fmla="*/ 1 w 23"/>
                <a:gd name="T1" fmla="*/ 1 h 19"/>
                <a:gd name="T2" fmla="*/ 1 w 23"/>
                <a:gd name="T3" fmla="*/ 1 h 19"/>
                <a:gd name="T4" fmla="*/ 0 w 23"/>
                <a:gd name="T5" fmla="*/ 0 h 19"/>
                <a:gd name="T6" fmla="*/ 0 w 23"/>
                <a:gd name="T7" fmla="*/ 0 h 19"/>
                <a:gd name="T8" fmla="*/ 1 w 23"/>
                <a:gd name="T9" fmla="*/ 1 h 19"/>
                <a:gd name="T10" fmla="*/ 1 w 23"/>
                <a:gd name="T11" fmla="*/ 1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3"/>
                <a:gd name="T19" fmla="*/ 0 h 19"/>
                <a:gd name="T20" fmla="*/ 23 w 23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3" h="19">
                  <a:moveTo>
                    <a:pt x="23" y="19"/>
                  </a:moveTo>
                  <a:lnTo>
                    <a:pt x="12" y="19"/>
                  </a:lnTo>
                  <a:lnTo>
                    <a:pt x="0" y="0"/>
                  </a:lnTo>
                  <a:lnTo>
                    <a:pt x="16" y="5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7" name="Freeform 85"/>
            <p:cNvSpPr>
              <a:spLocks/>
            </p:cNvSpPr>
            <p:nvPr/>
          </p:nvSpPr>
          <p:spPr bwMode="auto">
            <a:xfrm>
              <a:off x="4261" y="3016"/>
              <a:ext cx="47" cy="37"/>
            </a:xfrm>
            <a:custGeom>
              <a:avLst/>
              <a:gdLst>
                <a:gd name="T0" fmla="*/ 1 w 80"/>
                <a:gd name="T1" fmla="*/ 1 h 71"/>
                <a:gd name="T2" fmla="*/ 1 w 80"/>
                <a:gd name="T3" fmla="*/ 1 h 71"/>
                <a:gd name="T4" fmla="*/ 1 w 80"/>
                <a:gd name="T5" fmla="*/ 1 h 71"/>
                <a:gd name="T6" fmla="*/ 1 w 80"/>
                <a:gd name="T7" fmla="*/ 1 h 71"/>
                <a:gd name="T8" fmla="*/ 1 w 80"/>
                <a:gd name="T9" fmla="*/ 1 h 71"/>
                <a:gd name="T10" fmla="*/ 1 w 80"/>
                <a:gd name="T11" fmla="*/ 1 h 71"/>
                <a:gd name="T12" fmla="*/ 1 w 80"/>
                <a:gd name="T13" fmla="*/ 1 h 71"/>
                <a:gd name="T14" fmla="*/ 2 w 80"/>
                <a:gd name="T15" fmla="*/ 1 h 71"/>
                <a:gd name="T16" fmla="*/ 2 w 80"/>
                <a:gd name="T17" fmla="*/ 1 h 71"/>
                <a:gd name="T18" fmla="*/ 2 w 80"/>
                <a:gd name="T19" fmla="*/ 1 h 71"/>
                <a:gd name="T20" fmla="*/ 2 w 80"/>
                <a:gd name="T21" fmla="*/ 1 h 71"/>
                <a:gd name="T22" fmla="*/ 1 w 80"/>
                <a:gd name="T23" fmla="*/ 1 h 71"/>
                <a:gd name="T24" fmla="*/ 1 w 80"/>
                <a:gd name="T25" fmla="*/ 1 h 71"/>
                <a:gd name="T26" fmla="*/ 1 w 80"/>
                <a:gd name="T27" fmla="*/ 1 h 71"/>
                <a:gd name="T28" fmla="*/ 1 w 80"/>
                <a:gd name="T29" fmla="*/ 0 h 71"/>
                <a:gd name="T30" fmla="*/ 1 w 80"/>
                <a:gd name="T31" fmla="*/ 1 h 71"/>
                <a:gd name="T32" fmla="*/ 1 w 80"/>
                <a:gd name="T33" fmla="*/ 1 h 71"/>
                <a:gd name="T34" fmla="*/ 1 w 80"/>
                <a:gd name="T35" fmla="*/ 1 h 71"/>
                <a:gd name="T36" fmla="*/ 0 w 80"/>
                <a:gd name="T37" fmla="*/ 1 h 71"/>
                <a:gd name="T38" fmla="*/ 1 w 80"/>
                <a:gd name="T39" fmla="*/ 1 h 71"/>
                <a:gd name="T40" fmla="*/ 1 w 80"/>
                <a:gd name="T41" fmla="*/ 1 h 71"/>
                <a:gd name="T42" fmla="*/ 1 w 80"/>
                <a:gd name="T43" fmla="*/ 1 h 71"/>
                <a:gd name="T44" fmla="*/ 1 w 80"/>
                <a:gd name="T45" fmla="*/ 1 h 7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0"/>
                <a:gd name="T70" fmla="*/ 0 h 71"/>
                <a:gd name="T71" fmla="*/ 80 w 80"/>
                <a:gd name="T72" fmla="*/ 71 h 7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0" h="71">
                  <a:moveTo>
                    <a:pt x="26" y="61"/>
                  </a:moveTo>
                  <a:lnTo>
                    <a:pt x="44" y="47"/>
                  </a:lnTo>
                  <a:lnTo>
                    <a:pt x="49" y="49"/>
                  </a:lnTo>
                  <a:lnTo>
                    <a:pt x="47" y="61"/>
                  </a:lnTo>
                  <a:lnTo>
                    <a:pt x="59" y="68"/>
                  </a:lnTo>
                  <a:lnTo>
                    <a:pt x="59" y="71"/>
                  </a:lnTo>
                  <a:lnTo>
                    <a:pt x="56" y="57"/>
                  </a:lnTo>
                  <a:lnTo>
                    <a:pt x="63" y="57"/>
                  </a:lnTo>
                  <a:lnTo>
                    <a:pt x="66" y="42"/>
                  </a:lnTo>
                  <a:lnTo>
                    <a:pt x="80" y="33"/>
                  </a:lnTo>
                  <a:lnTo>
                    <a:pt x="63" y="23"/>
                  </a:lnTo>
                  <a:lnTo>
                    <a:pt x="52" y="5"/>
                  </a:lnTo>
                  <a:lnTo>
                    <a:pt x="42" y="14"/>
                  </a:lnTo>
                  <a:lnTo>
                    <a:pt x="35" y="12"/>
                  </a:lnTo>
                  <a:lnTo>
                    <a:pt x="21" y="0"/>
                  </a:lnTo>
                  <a:lnTo>
                    <a:pt x="18" y="5"/>
                  </a:lnTo>
                  <a:lnTo>
                    <a:pt x="23" y="14"/>
                  </a:lnTo>
                  <a:lnTo>
                    <a:pt x="4" y="9"/>
                  </a:lnTo>
                  <a:lnTo>
                    <a:pt x="0" y="9"/>
                  </a:lnTo>
                  <a:lnTo>
                    <a:pt x="14" y="33"/>
                  </a:lnTo>
                  <a:lnTo>
                    <a:pt x="11" y="38"/>
                  </a:lnTo>
                  <a:lnTo>
                    <a:pt x="23" y="45"/>
                  </a:lnTo>
                  <a:lnTo>
                    <a:pt x="26" y="61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8" name="Freeform 86"/>
            <p:cNvSpPr>
              <a:spLocks/>
            </p:cNvSpPr>
            <p:nvPr/>
          </p:nvSpPr>
          <p:spPr bwMode="auto">
            <a:xfrm>
              <a:off x="4327" y="3006"/>
              <a:ext cx="125" cy="76"/>
            </a:xfrm>
            <a:custGeom>
              <a:avLst/>
              <a:gdLst>
                <a:gd name="T0" fmla="*/ 5 w 212"/>
                <a:gd name="T1" fmla="*/ 1 h 146"/>
                <a:gd name="T2" fmla="*/ 5 w 212"/>
                <a:gd name="T3" fmla="*/ 1 h 146"/>
                <a:gd name="T4" fmla="*/ 5 w 212"/>
                <a:gd name="T5" fmla="*/ 1 h 146"/>
                <a:gd name="T6" fmla="*/ 5 w 212"/>
                <a:gd name="T7" fmla="*/ 1 h 146"/>
                <a:gd name="T8" fmla="*/ 5 w 212"/>
                <a:gd name="T9" fmla="*/ 2 h 146"/>
                <a:gd name="T10" fmla="*/ 4 w 212"/>
                <a:gd name="T11" fmla="*/ 2 h 146"/>
                <a:gd name="T12" fmla="*/ 4 w 212"/>
                <a:gd name="T13" fmla="*/ 2 h 146"/>
                <a:gd name="T14" fmla="*/ 4 w 212"/>
                <a:gd name="T15" fmla="*/ 2 h 146"/>
                <a:gd name="T16" fmla="*/ 4 w 212"/>
                <a:gd name="T17" fmla="*/ 2 h 146"/>
                <a:gd name="T18" fmla="*/ 3 w 212"/>
                <a:gd name="T19" fmla="*/ 2 h 146"/>
                <a:gd name="T20" fmla="*/ 2 w 212"/>
                <a:gd name="T21" fmla="*/ 1 h 146"/>
                <a:gd name="T22" fmla="*/ 1 w 212"/>
                <a:gd name="T23" fmla="*/ 1 h 146"/>
                <a:gd name="T24" fmla="*/ 1 w 212"/>
                <a:gd name="T25" fmla="*/ 1 h 146"/>
                <a:gd name="T26" fmla="*/ 1 w 212"/>
                <a:gd name="T27" fmla="*/ 1 h 146"/>
                <a:gd name="T28" fmla="*/ 1 w 212"/>
                <a:gd name="T29" fmla="*/ 1 h 146"/>
                <a:gd name="T30" fmla="*/ 1 w 212"/>
                <a:gd name="T31" fmla="*/ 1 h 146"/>
                <a:gd name="T32" fmla="*/ 1 w 212"/>
                <a:gd name="T33" fmla="*/ 1 h 146"/>
                <a:gd name="T34" fmla="*/ 1 w 212"/>
                <a:gd name="T35" fmla="*/ 1 h 146"/>
                <a:gd name="T36" fmla="*/ 1 w 212"/>
                <a:gd name="T37" fmla="*/ 1 h 146"/>
                <a:gd name="T38" fmla="*/ 1 w 212"/>
                <a:gd name="T39" fmla="*/ 1 h 146"/>
                <a:gd name="T40" fmla="*/ 1 w 212"/>
                <a:gd name="T41" fmla="*/ 1 h 146"/>
                <a:gd name="T42" fmla="*/ 1 w 212"/>
                <a:gd name="T43" fmla="*/ 1 h 146"/>
                <a:gd name="T44" fmla="*/ 1 w 212"/>
                <a:gd name="T45" fmla="*/ 1 h 146"/>
                <a:gd name="T46" fmla="*/ 1 w 212"/>
                <a:gd name="T47" fmla="*/ 1 h 146"/>
                <a:gd name="T48" fmla="*/ 1 w 212"/>
                <a:gd name="T49" fmla="*/ 1 h 146"/>
                <a:gd name="T50" fmla="*/ 0 w 212"/>
                <a:gd name="T51" fmla="*/ 1 h 146"/>
                <a:gd name="T52" fmla="*/ 1 w 212"/>
                <a:gd name="T53" fmla="*/ 1 h 146"/>
                <a:gd name="T54" fmla="*/ 1 w 212"/>
                <a:gd name="T55" fmla="*/ 1 h 146"/>
                <a:gd name="T56" fmla="*/ 1 w 212"/>
                <a:gd name="T57" fmla="*/ 1 h 146"/>
                <a:gd name="T58" fmla="*/ 2 w 212"/>
                <a:gd name="T59" fmla="*/ 1 h 146"/>
                <a:gd name="T60" fmla="*/ 2 w 212"/>
                <a:gd name="T61" fmla="*/ 1 h 146"/>
                <a:gd name="T62" fmla="*/ 2 w 212"/>
                <a:gd name="T63" fmla="*/ 1 h 146"/>
                <a:gd name="T64" fmla="*/ 2 w 212"/>
                <a:gd name="T65" fmla="*/ 1 h 146"/>
                <a:gd name="T66" fmla="*/ 2 w 212"/>
                <a:gd name="T67" fmla="*/ 1 h 146"/>
                <a:gd name="T68" fmla="*/ 2 w 212"/>
                <a:gd name="T69" fmla="*/ 0 h 146"/>
                <a:gd name="T70" fmla="*/ 3 w 212"/>
                <a:gd name="T71" fmla="*/ 1 h 146"/>
                <a:gd name="T72" fmla="*/ 3 w 212"/>
                <a:gd name="T73" fmla="*/ 1 h 146"/>
                <a:gd name="T74" fmla="*/ 4 w 212"/>
                <a:gd name="T75" fmla="*/ 1 h 146"/>
                <a:gd name="T76" fmla="*/ 4 w 212"/>
                <a:gd name="T77" fmla="*/ 1 h 146"/>
                <a:gd name="T78" fmla="*/ 5 w 212"/>
                <a:gd name="T79" fmla="*/ 1 h 146"/>
                <a:gd name="T80" fmla="*/ 5 w 212"/>
                <a:gd name="T81" fmla="*/ 1 h 146"/>
                <a:gd name="T82" fmla="*/ 5 w 212"/>
                <a:gd name="T83" fmla="*/ 1 h 14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12"/>
                <a:gd name="T127" fmla="*/ 0 h 146"/>
                <a:gd name="T128" fmla="*/ 212 w 212"/>
                <a:gd name="T129" fmla="*/ 146 h 14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12" h="146">
                  <a:moveTo>
                    <a:pt x="210" y="111"/>
                  </a:moveTo>
                  <a:lnTo>
                    <a:pt x="198" y="109"/>
                  </a:lnTo>
                  <a:lnTo>
                    <a:pt x="196" y="113"/>
                  </a:lnTo>
                  <a:lnTo>
                    <a:pt x="186" y="113"/>
                  </a:lnTo>
                  <a:lnTo>
                    <a:pt x="181" y="130"/>
                  </a:lnTo>
                  <a:lnTo>
                    <a:pt x="163" y="137"/>
                  </a:lnTo>
                  <a:lnTo>
                    <a:pt x="156" y="146"/>
                  </a:lnTo>
                  <a:lnTo>
                    <a:pt x="134" y="139"/>
                  </a:lnTo>
                  <a:lnTo>
                    <a:pt x="134" y="137"/>
                  </a:lnTo>
                  <a:lnTo>
                    <a:pt x="132" y="127"/>
                  </a:lnTo>
                  <a:lnTo>
                    <a:pt x="70" y="92"/>
                  </a:lnTo>
                  <a:lnTo>
                    <a:pt x="44" y="94"/>
                  </a:lnTo>
                  <a:lnTo>
                    <a:pt x="23" y="109"/>
                  </a:lnTo>
                  <a:lnTo>
                    <a:pt x="23" y="78"/>
                  </a:lnTo>
                  <a:lnTo>
                    <a:pt x="18" y="76"/>
                  </a:lnTo>
                  <a:lnTo>
                    <a:pt x="16" y="61"/>
                  </a:lnTo>
                  <a:lnTo>
                    <a:pt x="7" y="61"/>
                  </a:lnTo>
                  <a:lnTo>
                    <a:pt x="4" y="54"/>
                  </a:lnTo>
                  <a:lnTo>
                    <a:pt x="7" y="45"/>
                  </a:lnTo>
                  <a:lnTo>
                    <a:pt x="26" y="47"/>
                  </a:lnTo>
                  <a:lnTo>
                    <a:pt x="35" y="42"/>
                  </a:lnTo>
                  <a:lnTo>
                    <a:pt x="18" y="19"/>
                  </a:lnTo>
                  <a:lnTo>
                    <a:pt x="9" y="21"/>
                  </a:lnTo>
                  <a:lnTo>
                    <a:pt x="7" y="35"/>
                  </a:lnTo>
                  <a:lnTo>
                    <a:pt x="0" y="21"/>
                  </a:lnTo>
                  <a:lnTo>
                    <a:pt x="26" y="9"/>
                  </a:lnTo>
                  <a:lnTo>
                    <a:pt x="44" y="31"/>
                  </a:lnTo>
                  <a:lnTo>
                    <a:pt x="54" y="31"/>
                  </a:lnTo>
                  <a:lnTo>
                    <a:pt x="68" y="33"/>
                  </a:lnTo>
                  <a:lnTo>
                    <a:pt x="68" y="19"/>
                  </a:lnTo>
                  <a:lnTo>
                    <a:pt x="85" y="7"/>
                  </a:lnTo>
                  <a:lnTo>
                    <a:pt x="92" y="9"/>
                  </a:lnTo>
                  <a:lnTo>
                    <a:pt x="87" y="5"/>
                  </a:lnTo>
                  <a:lnTo>
                    <a:pt x="92" y="0"/>
                  </a:lnTo>
                  <a:lnTo>
                    <a:pt x="113" y="12"/>
                  </a:lnTo>
                  <a:lnTo>
                    <a:pt x="115" y="28"/>
                  </a:lnTo>
                  <a:lnTo>
                    <a:pt x="144" y="33"/>
                  </a:lnTo>
                  <a:lnTo>
                    <a:pt x="153" y="59"/>
                  </a:lnTo>
                  <a:lnTo>
                    <a:pt x="196" y="90"/>
                  </a:lnTo>
                  <a:lnTo>
                    <a:pt x="212" y="94"/>
                  </a:lnTo>
                  <a:lnTo>
                    <a:pt x="210" y="111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9" name="Freeform 87"/>
            <p:cNvSpPr>
              <a:spLocks/>
            </p:cNvSpPr>
            <p:nvPr/>
          </p:nvSpPr>
          <p:spPr bwMode="auto">
            <a:xfrm>
              <a:off x="4359" y="2977"/>
              <a:ext cx="151" cy="88"/>
            </a:xfrm>
            <a:custGeom>
              <a:avLst/>
              <a:gdLst>
                <a:gd name="T0" fmla="*/ 4 w 255"/>
                <a:gd name="T1" fmla="*/ 2 h 170"/>
                <a:gd name="T2" fmla="*/ 4 w 255"/>
                <a:gd name="T3" fmla="*/ 2 h 170"/>
                <a:gd name="T4" fmla="*/ 5 w 255"/>
                <a:gd name="T5" fmla="*/ 2 h 170"/>
                <a:gd name="T6" fmla="*/ 5 w 255"/>
                <a:gd name="T7" fmla="*/ 2 h 170"/>
                <a:gd name="T8" fmla="*/ 4 w 255"/>
                <a:gd name="T9" fmla="*/ 2 h 170"/>
                <a:gd name="T10" fmla="*/ 4 w 255"/>
                <a:gd name="T11" fmla="*/ 2 h 170"/>
                <a:gd name="T12" fmla="*/ 5 w 255"/>
                <a:gd name="T13" fmla="*/ 2 h 170"/>
                <a:gd name="T14" fmla="*/ 5 w 255"/>
                <a:gd name="T15" fmla="*/ 1 h 170"/>
                <a:gd name="T16" fmla="*/ 5 w 255"/>
                <a:gd name="T17" fmla="*/ 1 h 170"/>
                <a:gd name="T18" fmla="*/ 5 w 255"/>
                <a:gd name="T19" fmla="*/ 1 h 170"/>
                <a:gd name="T20" fmla="*/ 5 w 255"/>
                <a:gd name="T21" fmla="*/ 1 h 170"/>
                <a:gd name="T22" fmla="*/ 5 w 255"/>
                <a:gd name="T23" fmla="*/ 1 h 170"/>
                <a:gd name="T24" fmla="*/ 5 w 255"/>
                <a:gd name="T25" fmla="*/ 1 h 170"/>
                <a:gd name="T26" fmla="*/ 5 w 255"/>
                <a:gd name="T27" fmla="*/ 1 h 170"/>
                <a:gd name="T28" fmla="*/ 6 w 255"/>
                <a:gd name="T29" fmla="*/ 1 h 170"/>
                <a:gd name="T30" fmla="*/ 7 w 255"/>
                <a:gd name="T31" fmla="*/ 1 h 170"/>
                <a:gd name="T32" fmla="*/ 6 w 255"/>
                <a:gd name="T33" fmla="*/ 1 h 170"/>
                <a:gd name="T34" fmla="*/ 6 w 255"/>
                <a:gd name="T35" fmla="*/ 1 h 170"/>
                <a:gd name="T36" fmla="*/ 5 w 255"/>
                <a:gd name="T37" fmla="*/ 1 h 170"/>
                <a:gd name="T38" fmla="*/ 6 w 255"/>
                <a:gd name="T39" fmla="*/ 1 h 170"/>
                <a:gd name="T40" fmla="*/ 5 w 255"/>
                <a:gd name="T41" fmla="*/ 1 h 170"/>
                <a:gd name="T42" fmla="*/ 5 w 255"/>
                <a:gd name="T43" fmla="*/ 1 h 170"/>
                <a:gd name="T44" fmla="*/ 5 w 255"/>
                <a:gd name="T45" fmla="*/ 1 h 170"/>
                <a:gd name="T46" fmla="*/ 5 w 255"/>
                <a:gd name="T47" fmla="*/ 1 h 170"/>
                <a:gd name="T48" fmla="*/ 4 w 255"/>
                <a:gd name="T49" fmla="*/ 1 h 170"/>
                <a:gd name="T50" fmla="*/ 4 w 255"/>
                <a:gd name="T51" fmla="*/ 1 h 170"/>
                <a:gd name="T52" fmla="*/ 4 w 255"/>
                <a:gd name="T53" fmla="*/ 1 h 170"/>
                <a:gd name="T54" fmla="*/ 4 w 255"/>
                <a:gd name="T55" fmla="*/ 1 h 170"/>
                <a:gd name="T56" fmla="*/ 4 w 255"/>
                <a:gd name="T57" fmla="*/ 1 h 170"/>
                <a:gd name="T58" fmla="*/ 2 w 255"/>
                <a:gd name="T59" fmla="*/ 1 h 170"/>
                <a:gd name="T60" fmla="*/ 1 w 255"/>
                <a:gd name="T61" fmla="*/ 1 h 170"/>
                <a:gd name="T62" fmla="*/ 1 w 255"/>
                <a:gd name="T63" fmla="*/ 0 h 170"/>
                <a:gd name="T64" fmla="*/ 0 w 255"/>
                <a:gd name="T65" fmla="*/ 1 h 170"/>
                <a:gd name="T66" fmla="*/ 0 w 255"/>
                <a:gd name="T67" fmla="*/ 1 h 170"/>
                <a:gd name="T68" fmla="*/ 1 w 255"/>
                <a:gd name="T69" fmla="*/ 1 h 170"/>
                <a:gd name="T70" fmla="*/ 1 w 255"/>
                <a:gd name="T71" fmla="*/ 1 h 170"/>
                <a:gd name="T72" fmla="*/ 1 w 255"/>
                <a:gd name="T73" fmla="*/ 1 h 170"/>
                <a:gd name="T74" fmla="*/ 1 w 255"/>
                <a:gd name="T75" fmla="*/ 1 h 170"/>
                <a:gd name="T76" fmla="*/ 1 w 255"/>
                <a:gd name="T77" fmla="*/ 1 h 170"/>
                <a:gd name="T78" fmla="*/ 1 w 255"/>
                <a:gd name="T79" fmla="*/ 1 h 170"/>
                <a:gd name="T80" fmla="*/ 1 w 255"/>
                <a:gd name="T81" fmla="*/ 1 h 170"/>
                <a:gd name="T82" fmla="*/ 1 w 255"/>
                <a:gd name="T83" fmla="*/ 1 h 170"/>
                <a:gd name="T84" fmla="*/ 2 w 255"/>
                <a:gd name="T85" fmla="*/ 1 h 170"/>
                <a:gd name="T86" fmla="*/ 2 w 255"/>
                <a:gd name="T87" fmla="*/ 1 h 170"/>
                <a:gd name="T88" fmla="*/ 4 w 255"/>
                <a:gd name="T89" fmla="*/ 2 h 170"/>
                <a:gd name="T90" fmla="*/ 4 w 255"/>
                <a:gd name="T91" fmla="*/ 2 h 170"/>
                <a:gd name="T92" fmla="*/ 4 w 255"/>
                <a:gd name="T93" fmla="*/ 2 h 17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55"/>
                <a:gd name="T142" fmla="*/ 0 h 170"/>
                <a:gd name="T143" fmla="*/ 255 w 255"/>
                <a:gd name="T144" fmla="*/ 170 h 17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55" h="170">
                  <a:moveTo>
                    <a:pt x="156" y="168"/>
                  </a:moveTo>
                  <a:lnTo>
                    <a:pt x="172" y="170"/>
                  </a:lnTo>
                  <a:lnTo>
                    <a:pt x="184" y="149"/>
                  </a:lnTo>
                  <a:lnTo>
                    <a:pt x="179" y="133"/>
                  </a:lnTo>
                  <a:lnTo>
                    <a:pt x="170" y="125"/>
                  </a:lnTo>
                  <a:lnTo>
                    <a:pt x="172" y="121"/>
                  </a:lnTo>
                  <a:lnTo>
                    <a:pt x="187" y="121"/>
                  </a:lnTo>
                  <a:lnTo>
                    <a:pt x="198" y="109"/>
                  </a:lnTo>
                  <a:lnTo>
                    <a:pt x="198" y="99"/>
                  </a:lnTo>
                  <a:lnTo>
                    <a:pt x="215" y="92"/>
                  </a:lnTo>
                  <a:lnTo>
                    <a:pt x="220" y="99"/>
                  </a:lnTo>
                  <a:lnTo>
                    <a:pt x="215" y="102"/>
                  </a:lnTo>
                  <a:lnTo>
                    <a:pt x="217" y="109"/>
                  </a:lnTo>
                  <a:lnTo>
                    <a:pt x="222" y="109"/>
                  </a:lnTo>
                  <a:lnTo>
                    <a:pt x="236" y="109"/>
                  </a:lnTo>
                  <a:lnTo>
                    <a:pt x="255" y="97"/>
                  </a:lnTo>
                  <a:lnTo>
                    <a:pt x="234" y="83"/>
                  </a:lnTo>
                  <a:lnTo>
                    <a:pt x="229" y="90"/>
                  </a:lnTo>
                  <a:lnTo>
                    <a:pt x="213" y="83"/>
                  </a:lnTo>
                  <a:lnTo>
                    <a:pt x="227" y="71"/>
                  </a:lnTo>
                  <a:lnTo>
                    <a:pt x="222" y="66"/>
                  </a:lnTo>
                  <a:lnTo>
                    <a:pt x="217" y="71"/>
                  </a:lnTo>
                  <a:lnTo>
                    <a:pt x="189" y="92"/>
                  </a:lnTo>
                  <a:lnTo>
                    <a:pt x="177" y="88"/>
                  </a:lnTo>
                  <a:lnTo>
                    <a:pt x="163" y="90"/>
                  </a:lnTo>
                  <a:lnTo>
                    <a:pt x="161" y="76"/>
                  </a:lnTo>
                  <a:lnTo>
                    <a:pt x="151" y="76"/>
                  </a:lnTo>
                  <a:lnTo>
                    <a:pt x="151" y="55"/>
                  </a:lnTo>
                  <a:lnTo>
                    <a:pt x="135" y="38"/>
                  </a:lnTo>
                  <a:lnTo>
                    <a:pt x="90" y="43"/>
                  </a:lnTo>
                  <a:lnTo>
                    <a:pt x="61" y="14"/>
                  </a:lnTo>
                  <a:lnTo>
                    <a:pt x="38" y="0"/>
                  </a:lnTo>
                  <a:lnTo>
                    <a:pt x="0" y="12"/>
                  </a:lnTo>
                  <a:lnTo>
                    <a:pt x="0" y="88"/>
                  </a:lnTo>
                  <a:lnTo>
                    <a:pt x="14" y="90"/>
                  </a:lnTo>
                  <a:lnTo>
                    <a:pt x="14" y="76"/>
                  </a:lnTo>
                  <a:lnTo>
                    <a:pt x="31" y="64"/>
                  </a:lnTo>
                  <a:lnTo>
                    <a:pt x="38" y="66"/>
                  </a:lnTo>
                  <a:lnTo>
                    <a:pt x="33" y="62"/>
                  </a:lnTo>
                  <a:lnTo>
                    <a:pt x="38" y="57"/>
                  </a:lnTo>
                  <a:lnTo>
                    <a:pt x="59" y="69"/>
                  </a:lnTo>
                  <a:lnTo>
                    <a:pt x="61" y="85"/>
                  </a:lnTo>
                  <a:lnTo>
                    <a:pt x="90" y="90"/>
                  </a:lnTo>
                  <a:lnTo>
                    <a:pt x="99" y="116"/>
                  </a:lnTo>
                  <a:lnTo>
                    <a:pt x="142" y="147"/>
                  </a:lnTo>
                  <a:lnTo>
                    <a:pt x="158" y="151"/>
                  </a:lnTo>
                  <a:lnTo>
                    <a:pt x="156" y="168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60" name="Freeform 88"/>
            <p:cNvSpPr>
              <a:spLocks/>
            </p:cNvSpPr>
            <p:nvPr/>
          </p:nvSpPr>
          <p:spPr bwMode="auto">
            <a:xfrm>
              <a:off x="4459" y="3024"/>
              <a:ext cx="66" cy="46"/>
            </a:xfrm>
            <a:custGeom>
              <a:avLst/>
              <a:gdLst>
                <a:gd name="T0" fmla="*/ 2 w 111"/>
                <a:gd name="T1" fmla="*/ 1 h 88"/>
                <a:gd name="T2" fmla="*/ 2 w 111"/>
                <a:gd name="T3" fmla="*/ 1 h 88"/>
                <a:gd name="T4" fmla="*/ 2 w 111"/>
                <a:gd name="T5" fmla="*/ 1 h 88"/>
                <a:gd name="T6" fmla="*/ 3 w 111"/>
                <a:gd name="T7" fmla="*/ 1 h 88"/>
                <a:gd name="T8" fmla="*/ 3 w 111"/>
                <a:gd name="T9" fmla="*/ 1 h 88"/>
                <a:gd name="T10" fmla="*/ 3 w 111"/>
                <a:gd name="T11" fmla="*/ 1 h 88"/>
                <a:gd name="T12" fmla="*/ 2 w 111"/>
                <a:gd name="T13" fmla="*/ 1 h 88"/>
                <a:gd name="T14" fmla="*/ 2 w 111"/>
                <a:gd name="T15" fmla="*/ 1 h 88"/>
                <a:gd name="T16" fmla="*/ 1 w 111"/>
                <a:gd name="T17" fmla="*/ 1 h 88"/>
                <a:gd name="T18" fmla="*/ 1 w 111"/>
                <a:gd name="T19" fmla="*/ 1 h 88"/>
                <a:gd name="T20" fmla="*/ 1 w 111"/>
                <a:gd name="T21" fmla="*/ 1 h 88"/>
                <a:gd name="T22" fmla="*/ 1 w 111"/>
                <a:gd name="T23" fmla="*/ 1 h 88"/>
                <a:gd name="T24" fmla="*/ 1 w 111"/>
                <a:gd name="T25" fmla="*/ 1 h 88"/>
                <a:gd name="T26" fmla="*/ 1 w 111"/>
                <a:gd name="T27" fmla="*/ 1 h 88"/>
                <a:gd name="T28" fmla="*/ 1 w 111"/>
                <a:gd name="T29" fmla="*/ 1 h 88"/>
                <a:gd name="T30" fmla="*/ 1 w 111"/>
                <a:gd name="T31" fmla="*/ 1 h 88"/>
                <a:gd name="T32" fmla="*/ 1 w 111"/>
                <a:gd name="T33" fmla="*/ 1 h 88"/>
                <a:gd name="T34" fmla="*/ 0 w 111"/>
                <a:gd name="T35" fmla="*/ 1 h 88"/>
                <a:gd name="T36" fmla="*/ 1 w 111"/>
                <a:gd name="T37" fmla="*/ 1 h 88"/>
                <a:gd name="T38" fmla="*/ 1 w 111"/>
                <a:gd name="T39" fmla="*/ 1 h 88"/>
                <a:gd name="T40" fmla="*/ 1 w 111"/>
                <a:gd name="T41" fmla="*/ 1 h 88"/>
                <a:gd name="T42" fmla="*/ 1 w 111"/>
                <a:gd name="T43" fmla="*/ 1 h 88"/>
                <a:gd name="T44" fmla="*/ 1 w 111"/>
                <a:gd name="T45" fmla="*/ 0 h 88"/>
                <a:gd name="T46" fmla="*/ 1 w 111"/>
                <a:gd name="T47" fmla="*/ 1 h 88"/>
                <a:gd name="T48" fmla="*/ 1 w 111"/>
                <a:gd name="T49" fmla="*/ 1 h 88"/>
                <a:gd name="T50" fmla="*/ 1 w 111"/>
                <a:gd name="T51" fmla="*/ 1 h 88"/>
                <a:gd name="T52" fmla="*/ 1 w 111"/>
                <a:gd name="T53" fmla="*/ 1 h 88"/>
                <a:gd name="T54" fmla="*/ 1 w 111"/>
                <a:gd name="T55" fmla="*/ 1 h 88"/>
                <a:gd name="T56" fmla="*/ 1 w 111"/>
                <a:gd name="T57" fmla="*/ 1 h 88"/>
                <a:gd name="T58" fmla="*/ 1 w 111"/>
                <a:gd name="T59" fmla="*/ 1 h 88"/>
                <a:gd name="T60" fmla="*/ 1 w 111"/>
                <a:gd name="T61" fmla="*/ 1 h 88"/>
                <a:gd name="T62" fmla="*/ 2 w 111"/>
                <a:gd name="T63" fmla="*/ 1 h 88"/>
                <a:gd name="T64" fmla="*/ 2 w 111"/>
                <a:gd name="T65" fmla="*/ 1 h 8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1"/>
                <a:gd name="T100" fmla="*/ 0 h 88"/>
                <a:gd name="T101" fmla="*/ 111 w 111"/>
                <a:gd name="T102" fmla="*/ 88 h 8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1" h="88">
                  <a:moveTo>
                    <a:pt x="97" y="31"/>
                  </a:moveTo>
                  <a:lnTo>
                    <a:pt x="95" y="48"/>
                  </a:lnTo>
                  <a:lnTo>
                    <a:pt x="97" y="55"/>
                  </a:lnTo>
                  <a:lnTo>
                    <a:pt x="111" y="55"/>
                  </a:lnTo>
                  <a:lnTo>
                    <a:pt x="111" y="76"/>
                  </a:lnTo>
                  <a:lnTo>
                    <a:pt x="111" y="78"/>
                  </a:lnTo>
                  <a:lnTo>
                    <a:pt x="90" y="74"/>
                  </a:lnTo>
                  <a:lnTo>
                    <a:pt x="64" y="88"/>
                  </a:lnTo>
                  <a:lnTo>
                    <a:pt x="61" y="64"/>
                  </a:lnTo>
                  <a:lnTo>
                    <a:pt x="52" y="55"/>
                  </a:lnTo>
                  <a:lnTo>
                    <a:pt x="40" y="71"/>
                  </a:lnTo>
                  <a:lnTo>
                    <a:pt x="33" y="71"/>
                  </a:lnTo>
                  <a:lnTo>
                    <a:pt x="31" y="76"/>
                  </a:lnTo>
                  <a:lnTo>
                    <a:pt x="14" y="81"/>
                  </a:lnTo>
                  <a:lnTo>
                    <a:pt x="2" y="78"/>
                  </a:lnTo>
                  <a:lnTo>
                    <a:pt x="14" y="57"/>
                  </a:lnTo>
                  <a:lnTo>
                    <a:pt x="9" y="41"/>
                  </a:lnTo>
                  <a:lnTo>
                    <a:pt x="0" y="33"/>
                  </a:lnTo>
                  <a:lnTo>
                    <a:pt x="2" y="29"/>
                  </a:lnTo>
                  <a:lnTo>
                    <a:pt x="17" y="29"/>
                  </a:lnTo>
                  <a:lnTo>
                    <a:pt x="28" y="17"/>
                  </a:lnTo>
                  <a:lnTo>
                    <a:pt x="28" y="7"/>
                  </a:lnTo>
                  <a:lnTo>
                    <a:pt x="45" y="0"/>
                  </a:lnTo>
                  <a:lnTo>
                    <a:pt x="50" y="7"/>
                  </a:lnTo>
                  <a:lnTo>
                    <a:pt x="45" y="10"/>
                  </a:lnTo>
                  <a:lnTo>
                    <a:pt x="47" y="17"/>
                  </a:lnTo>
                  <a:lnTo>
                    <a:pt x="52" y="17"/>
                  </a:lnTo>
                  <a:lnTo>
                    <a:pt x="47" y="22"/>
                  </a:lnTo>
                  <a:lnTo>
                    <a:pt x="28" y="22"/>
                  </a:lnTo>
                  <a:lnTo>
                    <a:pt x="28" y="29"/>
                  </a:lnTo>
                  <a:lnTo>
                    <a:pt x="61" y="29"/>
                  </a:lnTo>
                  <a:lnTo>
                    <a:pt x="71" y="36"/>
                  </a:lnTo>
                  <a:lnTo>
                    <a:pt x="97" y="31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61" name="Freeform 89"/>
            <p:cNvSpPr>
              <a:spLocks/>
            </p:cNvSpPr>
            <p:nvPr/>
          </p:nvSpPr>
          <p:spPr bwMode="auto">
            <a:xfrm>
              <a:off x="4476" y="3003"/>
              <a:ext cx="98" cy="40"/>
            </a:xfrm>
            <a:custGeom>
              <a:avLst/>
              <a:gdLst>
                <a:gd name="T0" fmla="*/ 4 w 166"/>
                <a:gd name="T1" fmla="*/ 1 h 78"/>
                <a:gd name="T2" fmla="*/ 4 w 166"/>
                <a:gd name="T3" fmla="*/ 1 h 78"/>
                <a:gd name="T4" fmla="*/ 3 w 166"/>
                <a:gd name="T5" fmla="*/ 1 h 78"/>
                <a:gd name="T6" fmla="*/ 3 w 166"/>
                <a:gd name="T7" fmla="*/ 1 h 78"/>
                <a:gd name="T8" fmla="*/ 3 w 166"/>
                <a:gd name="T9" fmla="*/ 1 h 78"/>
                <a:gd name="T10" fmla="*/ 2 w 166"/>
                <a:gd name="T11" fmla="*/ 1 h 78"/>
                <a:gd name="T12" fmla="*/ 2 w 166"/>
                <a:gd name="T13" fmla="*/ 1 h 78"/>
                <a:gd name="T14" fmla="*/ 2 w 166"/>
                <a:gd name="T15" fmla="*/ 1 h 78"/>
                <a:gd name="T16" fmla="*/ 1 w 166"/>
                <a:gd name="T17" fmla="*/ 1 h 78"/>
                <a:gd name="T18" fmla="*/ 1 w 166"/>
                <a:gd name="T19" fmla="*/ 1 h 78"/>
                <a:gd name="T20" fmla="*/ 0 w 166"/>
                <a:gd name="T21" fmla="*/ 1 h 78"/>
                <a:gd name="T22" fmla="*/ 0 w 166"/>
                <a:gd name="T23" fmla="*/ 1 h 78"/>
                <a:gd name="T24" fmla="*/ 1 w 166"/>
                <a:gd name="T25" fmla="*/ 1 h 78"/>
                <a:gd name="T26" fmla="*/ 1 w 166"/>
                <a:gd name="T27" fmla="*/ 1 h 78"/>
                <a:gd name="T28" fmla="*/ 1 w 166"/>
                <a:gd name="T29" fmla="*/ 1 h 78"/>
                <a:gd name="T30" fmla="*/ 1 w 166"/>
                <a:gd name="T31" fmla="*/ 1 h 78"/>
                <a:gd name="T32" fmla="*/ 1 w 166"/>
                <a:gd name="T33" fmla="*/ 1 h 78"/>
                <a:gd name="T34" fmla="*/ 1 w 166"/>
                <a:gd name="T35" fmla="*/ 1 h 78"/>
                <a:gd name="T36" fmla="*/ 1 w 166"/>
                <a:gd name="T37" fmla="*/ 1 h 78"/>
                <a:gd name="T38" fmla="*/ 1 w 166"/>
                <a:gd name="T39" fmla="*/ 1 h 78"/>
                <a:gd name="T40" fmla="*/ 1 w 166"/>
                <a:gd name="T41" fmla="*/ 1 h 78"/>
                <a:gd name="T42" fmla="*/ 1 w 166"/>
                <a:gd name="T43" fmla="*/ 1 h 78"/>
                <a:gd name="T44" fmla="*/ 1 w 166"/>
                <a:gd name="T45" fmla="*/ 1 h 78"/>
                <a:gd name="T46" fmla="*/ 2 w 166"/>
                <a:gd name="T47" fmla="*/ 1 h 78"/>
                <a:gd name="T48" fmla="*/ 2 w 166"/>
                <a:gd name="T49" fmla="*/ 0 h 78"/>
                <a:gd name="T50" fmla="*/ 2 w 166"/>
                <a:gd name="T51" fmla="*/ 1 h 78"/>
                <a:gd name="T52" fmla="*/ 4 w 166"/>
                <a:gd name="T53" fmla="*/ 1 h 78"/>
                <a:gd name="T54" fmla="*/ 4 w 166"/>
                <a:gd name="T55" fmla="*/ 1 h 78"/>
                <a:gd name="T56" fmla="*/ 4 w 166"/>
                <a:gd name="T57" fmla="*/ 1 h 7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66"/>
                <a:gd name="T88" fmla="*/ 0 h 78"/>
                <a:gd name="T89" fmla="*/ 166 w 166"/>
                <a:gd name="T90" fmla="*/ 78 h 7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66" h="78">
                  <a:moveTo>
                    <a:pt x="166" y="16"/>
                  </a:moveTo>
                  <a:lnTo>
                    <a:pt x="159" y="31"/>
                  </a:lnTo>
                  <a:lnTo>
                    <a:pt x="130" y="47"/>
                  </a:lnTo>
                  <a:lnTo>
                    <a:pt x="114" y="49"/>
                  </a:lnTo>
                  <a:lnTo>
                    <a:pt x="109" y="59"/>
                  </a:lnTo>
                  <a:lnTo>
                    <a:pt x="83" y="59"/>
                  </a:lnTo>
                  <a:lnTo>
                    <a:pt x="71" y="68"/>
                  </a:lnTo>
                  <a:lnTo>
                    <a:pt x="69" y="73"/>
                  </a:lnTo>
                  <a:lnTo>
                    <a:pt x="43" y="78"/>
                  </a:lnTo>
                  <a:lnTo>
                    <a:pt x="33" y="71"/>
                  </a:lnTo>
                  <a:lnTo>
                    <a:pt x="0" y="71"/>
                  </a:lnTo>
                  <a:lnTo>
                    <a:pt x="0" y="64"/>
                  </a:lnTo>
                  <a:lnTo>
                    <a:pt x="19" y="64"/>
                  </a:lnTo>
                  <a:lnTo>
                    <a:pt x="24" y="59"/>
                  </a:lnTo>
                  <a:lnTo>
                    <a:pt x="38" y="59"/>
                  </a:lnTo>
                  <a:lnTo>
                    <a:pt x="57" y="47"/>
                  </a:lnTo>
                  <a:lnTo>
                    <a:pt x="36" y="33"/>
                  </a:lnTo>
                  <a:lnTo>
                    <a:pt x="31" y="40"/>
                  </a:lnTo>
                  <a:lnTo>
                    <a:pt x="15" y="33"/>
                  </a:lnTo>
                  <a:lnTo>
                    <a:pt x="29" y="21"/>
                  </a:lnTo>
                  <a:lnTo>
                    <a:pt x="24" y="16"/>
                  </a:lnTo>
                  <a:lnTo>
                    <a:pt x="26" y="9"/>
                  </a:lnTo>
                  <a:lnTo>
                    <a:pt x="59" y="14"/>
                  </a:lnTo>
                  <a:lnTo>
                    <a:pt x="62" y="5"/>
                  </a:lnTo>
                  <a:lnTo>
                    <a:pt x="71" y="0"/>
                  </a:lnTo>
                  <a:lnTo>
                    <a:pt x="90" y="5"/>
                  </a:lnTo>
                  <a:lnTo>
                    <a:pt x="147" y="9"/>
                  </a:lnTo>
                  <a:lnTo>
                    <a:pt x="163" y="19"/>
                  </a:lnTo>
                  <a:lnTo>
                    <a:pt x="166" y="16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62" name="Freeform 90"/>
            <p:cNvSpPr>
              <a:spLocks/>
            </p:cNvSpPr>
            <p:nvPr/>
          </p:nvSpPr>
          <p:spPr bwMode="auto">
            <a:xfrm>
              <a:off x="3962" y="2627"/>
              <a:ext cx="114" cy="231"/>
            </a:xfrm>
            <a:custGeom>
              <a:avLst/>
              <a:gdLst>
                <a:gd name="T0" fmla="*/ 0 w 192"/>
                <a:gd name="T1" fmla="*/ 4 h 444"/>
                <a:gd name="T2" fmla="*/ 1 w 192"/>
                <a:gd name="T3" fmla="*/ 4 h 444"/>
                <a:gd name="T4" fmla="*/ 1 w 192"/>
                <a:gd name="T5" fmla="*/ 3 h 444"/>
                <a:gd name="T6" fmla="*/ 1 w 192"/>
                <a:gd name="T7" fmla="*/ 3 h 444"/>
                <a:gd name="T8" fmla="*/ 1 w 192"/>
                <a:gd name="T9" fmla="*/ 3 h 444"/>
                <a:gd name="T10" fmla="*/ 1 w 192"/>
                <a:gd name="T11" fmla="*/ 3 h 444"/>
                <a:gd name="T12" fmla="*/ 1 w 192"/>
                <a:gd name="T13" fmla="*/ 3 h 444"/>
                <a:gd name="T14" fmla="*/ 1 w 192"/>
                <a:gd name="T15" fmla="*/ 2 h 444"/>
                <a:gd name="T16" fmla="*/ 1 w 192"/>
                <a:gd name="T17" fmla="*/ 2 h 444"/>
                <a:gd name="T18" fmla="*/ 1 w 192"/>
                <a:gd name="T19" fmla="*/ 2 h 444"/>
                <a:gd name="T20" fmla="*/ 1 w 192"/>
                <a:gd name="T21" fmla="*/ 2 h 444"/>
                <a:gd name="T22" fmla="*/ 1 w 192"/>
                <a:gd name="T23" fmla="*/ 2 h 444"/>
                <a:gd name="T24" fmla="*/ 1 w 192"/>
                <a:gd name="T25" fmla="*/ 1 h 444"/>
                <a:gd name="T26" fmla="*/ 1 w 192"/>
                <a:gd name="T27" fmla="*/ 1 h 444"/>
                <a:gd name="T28" fmla="*/ 2 w 192"/>
                <a:gd name="T29" fmla="*/ 1 h 444"/>
                <a:gd name="T30" fmla="*/ 2 w 192"/>
                <a:gd name="T31" fmla="*/ 1 h 444"/>
                <a:gd name="T32" fmla="*/ 2 w 192"/>
                <a:gd name="T33" fmla="*/ 1 h 444"/>
                <a:gd name="T34" fmla="*/ 2 w 192"/>
                <a:gd name="T35" fmla="*/ 1 h 444"/>
                <a:gd name="T36" fmla="*/ 2 w 192"/>
                <a:gd name="T37" fmla="*/ 1 h 444"/>
                <a:gd name="T38" fmla="*/ 2 w 192"/>
                <a:gd name="T39" fmla="*/ 1 h 444"/>
                <a:gd name="T40" fmla="*/ 3 w 192"/>
                <a:gd name="T41" fmla="*/ 1 h 444"/>
                <a:gd name="T42" fmla="*/ 3 w 192"/>
                <a:gd name="T43" fmla="*/ 1 h 444"/>
                <a:gd name="T44" fmla="*/ 4 w 192"/>
                <a:gd name="T45" fmla="*/ 1 h 444"/>
                <a:gd name="T46" fmla="*/ 4 w 192"/>
                <a:gd name="T47" fmla="*/ 0 h 444"/>
                <a:gd name="T48" fmla="*/ 4 w 192"/>
                <a:gd name="T49" fmla="*/ 0 h 444"/>
                <a:gd name="T50" fmla="*/ 5 w 192"/>
                <a:gd name="T51" fmla="*/ 1 h 444"/>
                <a:gd name="T52" fmla="*/ 5 w 192"/>
                <a:gd name="T53" fmla="*/ 2 h 444"/>
                <a:gd name="T54" fmla="*/ 5 w 192"/>
                <a:gd name="T55" fmla="*/ 2 h 444"/>
                <a:gd name="T56" fmla="*/ 4 w 192"/>
                <a:gd name="T57" fmla="*/ 2 h 444"/>
                <a:gd name="T58" fmla="*/ 4 w 192"/>
                <a:gd name="T59" fmla="*/ 2 h 444"/>
                <a:gd name="T60" fmla="*/ 4 w 192"/>
                <a:gd name="T61" fmla="*/ 2 h 444"/>
                <a:gd name="T62" fmla="*/ 4 w 192"/>
                <a:gd name="T63" fmla="*/ 2 h 444"/>
                <a:gd name="T64" fmla="*/ 4 w 192"/>
                <a:gd name="T65" fmla="*/ 2 h 444"/>
                <a:gd name="T66" fmla="*/ 4 w 192"/>
                <a:gd name="T67" fmla="*/ 2 h 444"/>
                <a:gd name="T68" fmla="*/ 3 w 192"/>
                <a:gd name="T69" fmla="*/ 2 h 444"/>
                <a:gd name="T70" fmla="*/ 2 w 192"/>
                <a:gd name="T71" fmla="*/ 3 h 444"/>
                <a:gd name="T72" fmla="*/ 2 w 192"/>
                <a:gd name="T73" fmla="*/ 3 h 444"/>
                <a:gd name="T74" fmla="*/ 3 w 192"/>
                <a:gd name="T75" fmla="*/ 3 h 444"/>
                <a:gd name="T76" fmla="*/ 2 w 192"/>
                <a:gd name="T77" fmla="*/ 3 h 444"/>
                <a:gd name="T78" fmla="*/ 3 w 192"/>
                <a:gd name="T79" fmla="*/ 4 h 444"/>
                <a:gd name="T80" fmla="*/ 2 w 192"/>
                <a:gd name="T81" fmla="*/ 4 h 444"/>
                <a:gd name="T82" fmla="*/ 2 w 192"/>
                <a:gd name="T83" fmla="*/ 4 h 444"/>
                <a:gd name="T84" fmla="*/ 1 w 192"/>
                <a:gd name="T85" fmla="*/ 4 h 444"/>
                <a:gd name="T86" fmla="*/ 1 w 192"/>
                <a:gd name="T87" fmla="*/ 5 h 444"/>
                <a:gd name="T88" fmla="*/ 1 w 192"/>
                <a:gd name="T89" fmla="*/ 5 h 444"/>
                <a:gd name="T90" fmla="*/ 1 w 192"/>
                <a:gd name="T91" fmla="*/ 5 h 444"/>
                <a:gd name="T92" fmla="*/ 1 w 192"/>
                <a:gd name="T93" fmla="*/ 4 h 444"/>
                <a:gd name="T94" fmla="*/ 1 w 192"/>
                <a:gd name="T95" fmla="*/ 4 h 444"/>
                <a:gd name="T96" fmla="*/ 1 w 192"/>
                <a:gd name="T97" fmla="*/ 4 h 444"/>
                <a:gd name="T98" fmla="*/ 0 w 192"/>
                <a:gd name="T99" fmla="*/ 4 h 444"/>
                <a:gd name="T100" fmla="*/ 0 w 192"/>
                <a:gd name="T101" fmla="*/ 4 h 44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92"/>
                <a:gd name="T154" fmla="*/ 0 h 444"/>
                <a:gd name="T155" fmla="*/ 192 w 192"/>
                <a:gd name="T156" fmla="*/ 444 h 44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92" h="444">
                  <a:moveTo>
                    <a:pt x="0" y="350"/>
                  </a:moveTo>
                  <a:lnTo>
                    <a:pt x="5" y="348"/>
                  </a:lnTo>
                  <a:lnTo>
                    <a:pt x="7" y="326"/>
                  </a:lnTo>
                  <a:lnTo>
                    <a:pt x="17" y="317"/>
                  </a:lnTo>
                  <a:lnTo>
                    <a:pt x="15" y="286"/>
                  </a:lnTo>
                  <a:lnTo>
                    <a:pt x="22" y="279"/>
                  </a:lnTo>
                  <a:lnTo>
                    <a:pt x="12" y="239"/>
                  </a:lnTo>
                  <a:lnTo>
                    <a:pt x="15" y="199"/>
                  </a:lnTo>
                  <a:lnTo>
                    <a:pt x="26" y="189"/>
                  </a:lnTo>
                  <a:lnTo>
                    <a:pt x="43" y="185"/>
                  </a:lnTo>
                  <a:lnTo>
                    <a:pt x="38" y="166"/>
                  </a:lnTo>
                  <a:lnTo>
                    <a:pt x="48" y="147"/>
                  </a:lnTo>
                  <a:lnTo>
                    <a:pt x="52" y="114"/>
                  </a:lnTo>
                  <a:lnTo>
                    <a:pt x="59" y="114"/>
                  </a:lnTo>
                  <a:lnTo>
                    <a:pt x="74" y="85"/>
                  </a:lnTo>
                  <a:lnTo>
                    <a:pt x="78" y="74"/>
                  </a:lnTo>
                  <a:lnTo>
                    <a:pt x="76" y="64"/>
                  </a:lnTo>
                  <a:lnTo>
                    <a:pt x="85" y="45"/>
                  </a:lnTo>
                  <a:lnTo>
                    <a:pt x="90" y="41"/>
                  </a:lnTo>
                  <a:lnTo>
                    <a:pt x="102" y="41"/>
                  </a:lnTo>
                  <a:lnTo>
                    <a:pt x="104" y="24"/>
                  </a:lnTo>
                  <a:lnTo>
                    <a:pt x="109" y="22"/>
                  </a:lnTo>
                  <a:lnTo>
                    <a:pt x="135" y="24"/>
                  </a:lnTo>
                  <a:lnTo>
                    <a:pt x="135" y="0"/>
                  </a:lnTo>
                  <a:lnTo>
                    <a:pt x="140" y="0"/>
                  </a:lnTo>
                  <a:lnTo>
                    <a:pt x="182" y="38"/>
                  </a:lnTo>
                  <a:lnTo>
                    <a:pt x="192" y="121"/>
                  </a:lnTo>
                  <a:lnTo>
                    <a:pt x="192" y="123"/>
                  </a:lnTo>
                  <a:lnTo>
                    <a:pt x="168" y="126"/>
                  </a:lnTo>
                  <a:lnTo>
                    <a:pt x="154" y="142"/>
                  </a:lnTo>
                  <a:lnTo>
                    <a:pt x="154" y="152"/>
                  </a:lnTo>
                  <a:lnTo>
                    <a:pt x="147" y="163"/>
                  </a:lnTo>
                  <a:lnTo>
                    <a:pt x="156" y="173"/>
                  </a:lnTo>
                  <a:lnTo>
                    <a:pt x="142" y="194"/>
                  </a:lnTo>
                  <a:lnTo>
                    <a:pt x="109" y="222"/>
                  </a:lnTo>
                  <a:lnTo>
                    <a:pt x="93" y="246"/>
                  </a:lnTo>
                  <a:lnTo>
                    <a:pt x="93" y="291"/>
                  </a:lnTo>
                  <a:lnTo>
                    <a:pt x="116" y="322"/>
                  </a:lnTo>
                  <a:lnTo>
                    <a:pt x="102" y="336"/>
                  </a:lnTo>
                  <a:lnTo>
                    <a:pt x="107" y="341"/>
                  </a:lnTo>
                  <a:lnTo>
                    <a:pt x="85" y="357"/>
                  </a:lnTo>
                  <a:lnTo>
                    <a:pt x="71" y="426"/>
                  </a:lnTo>
                  <a:lnTo>
                    <a:pt x="52" y="426"/>
                  </a:lnTo>
                  <a:lnTo>
                    <a:pt x="45" y="435"/>
                  </a:lnTo>
                  <a:lnTo>
                    <a:pt x="45" y="444"/>
                  </a:lnTo>
                  <a:lnTo>
                    <a:pt x="29" y="444"/>
                  </a:lnTo>
                  <a:lnTo>
                    <a:pt x="22" y="426"/>
                  </a:lnTo>
                  <a:lnTo>
                    <a:pt x="26" y="416"/>
                  </a:lnTo>
                  <a:lnTo>
                    <a:pt x="17" y="404"/>
                  </a:lnTo>
                  <a:lnTo>
                    <a:pt x="0" y="350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63" name="Freeform 91"/>
            <p:cNvSpPr>
              <a:spLocks/>
            </p:cNvSpPr>
            <p:nvPr/>
          </p:nvSpPr>
          <p:spPr bwMode="auto">
            <a:xfrm>
              <a:off x="3793" y="2861"/>
              <a:ext cx="21" cy="19"/>
            </a:xfrm>
            <a:custGeom>
              <a:avLst/>
              <a:gdLst>
                <a:gd name="T0" fmla="*/ 1 w 35"/>
                <a:gd name="T1" fmla="*/ 1 h 36"/>
                <a:gd name="T2" fmla="*/ 1 w 35"/>
                <a:gd name="T3" fmla="*/ 1 h 36"/>
                <a:gd name="T4" fmla="*/ 1 w 35"/>
                <a:gd name="T5" fmla="*/ 1 h 36"/>
                <a:gd name="T6" fmla="*/ 1 w 35"/>
                <a:gd name="T7" fmla="*/ 1 h 36"/>
                <a:gd name="T8" fmla="*/ 0 w 35"/>
                <a:gd name="T9" fmla="*/ 1 h 36"/>
                <a:gd name="T10" fmla="*/ 1 w 35"/>
                <a:gd name="T11" fmla="*/ 0 h 36"/>
                <a:gd name="T12" fmla="*/ 1 w 35"/>
                <a:gd name="T13" fmla="*/ 0 h 36"/>
                <a:gd name="T14" fmla="*/ 1 w 35"/>
                <a:gd name="T15" fmla="*/ 1 h 36"/>
                <a:gd name="T16" fmla="*/ 1 w 35"/>
                <a:gd name="T17" fmla="*/ 1 h 36"/>
                <a:gd name="T18" fmla="*/ 1 w 35"/>
                <a:gd name="T19" fmla="*/ 1 h 36"/>
                <a:gd name="T20" fmla="*/ 1 w 35"/>
                <a:gd name="T21" fmla="*/ 1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5"/>
                <a:gd name="T34" fmla="*/ 0 h 36"/>
                <a:gd name="T35" fmla="*/ 35 w 35"/>
                <a:gd name="T36" fmla="*/ 36 h 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5" h="36">
                  <a:moveTo>
                    <a:pt x="26" y="36"/>
                  </a:moveTo>
                  <a:lnTo>
                    <a:pt x="26" y="24"/>
                  </a:lnTo>
                  <a:lnTo>
                    <a:pt x="14" y="24"/>
                  </a:lnTo>
                  <a:lnTo>
                    <a:pt x="9" y="29"/>
                  </a:lnTo>
                  <a:lnTo>
                    <a:pt x="0" y="19"/>
                  </a:lnTo>
                  <a:lnTo>
                    <a:pt x="7" y="0"/>
                  </a:lnTo>
                  <a:lnTo>
                    <a:pt x="28" y="5"/>
                  </a:lnTo>
                  <a:lnTo>
                    <a:pt x="35" y="26"/>
                  </a:lnTo>
                  <a:lnTo>
                    <a:pt x="26" y="33"/>
                  </a:lnTo>
                  <a:lnTo>
                    <a:pt x="26" y="36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64" name="Freeform 92"/>
            <p:cNvSpPr>
              <a:spLocks/>
            </p:cNvSpPr>
            <p:nvPr/>
          </p:nvSpPr>
          <p:spPr bwMode="auto">
            <a:xfrm>
              <a:off x="3772" y="2861"/>
              <a:ext cx="39" cy="49"/>
            </a:xfrm>
            <a:custGeom>
              <a:avLst/>
              <a:gdLst>
                <a:gd name="T0" fmla="*/ 1 w 66"/>
                <a:gd name="T1" fmla="*/ 0 h 95"/>
                <a:gd name="T2" fmla="*/ 1 w 66"/>
                <a:gd name="T3" fmla="*/ 1 h 95"/>
                <a:gd name="T4" fmla="*/ 1 w 66"/>
                <a:gd name="T5" fmla="*/ 1 h 95"/>
                <a:gd name="T6" fmla="*/ 1 w 66"/>
                <a:gd name="T7" fmla="*/ 1 h 95"/>
                <a:gd name="T8" fmla="*/ 2 w 66"/>
                <a:gd name="T9" fmla="*/ 1 h 95"/>
                <a:gd name="T10" fmla="*/ 2 w 66"/>
                <a:gd name="T11" fmla="*/ 1 h 95"/>
                <a:gd name="T12" fmla="*/ 2 w 66"/>
                <a:gd name="T13" fmla="*/ 1 h 95"/>
                <a:gd name="T14" fmla="*/ 2 w 66"/>
                <a:gd name="T15" fmla="*/ 1 h 95"/>
                <a:gd name="T16" fmla="*/ 1 w 66"/>
                <a:gd name="T17" fmla="*/ 1 h 95"/>
                <a:gd name="T18" fmla="*/ 1 w 66"/>
                <a:gd name="T19" fmla="*/ 1 h 95"/>
                <a:gd name="T20" fmla="*/ 0 w 66"/>
                <a:gd name="T21" fmla="*/ 1 h 95"/>
                <a:gd name="T22" fmla="*/ 1 w 66"/>
                <a:gd name="T23" fmla="*/ 1 h 95"/>
                <a:gd name="T24" fmla="*/ 1 w 66"/>
                <a:gd name="T25" fmla="*/ 1 h 95"/>
                <a:gd name="T26" fmla="*/ 1 w 66"/>
                <a:gd name="T27" fmla="*/ 1 h 95"/>
                <a:gd name="T28" fmla="*/ 1 w 66"/>
                <a:gd name="T29" fmla="*/ 1 h 95"/>
                <a:gd name="T30" fmla="*/ 1 w 66"/>
                <a:gd name="T31" fmla="*/ 1 h 95"/>
                <a:gd name="T32" fmla="*/ 1 w 66"/>
                <a:gd name="T33" fmla="*/ 1 h 95"/>
                <a:gd name="T34" fmla="*/ 1 w 66"/>
                <a:gd name="T35" fmla="*/ 1 h 95"/>
                <a:gd name="T36" fmla="*/ 1 w 66"/>
                <a:gd name="T37" fmla="*/ 1 h 95"/>
                <a:gd name="T38" fmla="*/ 1 w 66"/>
                <a:gd name="T39" fmla="*/ 1 h 95"/>
                <a:gd name="T40" fmla="*/ 1 w 66"/>
                <a:gd name="T41" fmla="*/ 1 h 95"/>
                <a:gd name="T42" fmla="*/ 1 w 66"/>
                <a:gd name="T43" fmla="*/ 1 h 95"/>
                <a:gd name="T44" fmla="*/ 1 w 66"/>
                <a:gd name="T45" fmla="*/ 0 h 95"/>
                <a:gd name="T46" fmla="*/ 1 w 66"/>
                <a:gd name="T47" fmla="*/ 0 h 9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6"/>
                <a:gd name="T73" fmla="*/ 0 h 95"/>
                <a:gd name="T74" fmla="*/ 66 w 66"/>
                <a:gd name="T75" fmla="*/ 95 h 9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6" h="95">
                  <a:moveTo>
                    <a:pt x="43" y="0"/>
                  </a:moveTo>
                  <a:lnTo>
                    <a:pt x="36" y="19"/>
                  </a:lnTo>
                  <a:lnTo>
                    <a:pt x="45" y="29"/>
                  </a:lnTo>
                  <a:lnTo>
                    <a:pt x="50" y="24"/>
                  </a:lnTo>
                  <a:lnTo>
                    <a:pt x="62" y="24"/>
                  </a:lnTo>
                  <a:lnTo>
                    <a:pt x="62" y="36"/>
                  </a:lnTo>
                  <a:lnTo>
                    <a:pt x="62" y="33"/>
                  </a:lnTo>
                  <a:lnTo>
                    <a:pt x="66" y="57"/>
                  </a:lnTo>
                  <a:lnTo>
                    <a:pt x="59" y="78"/>
                  </a:lnTo>
                  <a:lnTo>
                    <a:pt x="12" y="95"/>
                  </a:lnTo>
                  <a:lnTo>
                    <a:pt x="0" y="78"/>
                  </a:lnTo>
                  <a:lnTo>
                    <a:pt x="10" y="78"/>
                  </a:lnTo>
                  <a:lnTo>
                    <a:pt x="21" y="52"/>
                  </a:lnTo>
                  <a:lnTo>
                    <a:pt x="14" y="52"/>
                  </a:lnTo>
                  <a:lnTo>
                    <a:pt x="7" y="45"/>
                  </a:lnTo>
                  <a:lnTo>
                    <a:pt x="14" y="38"/>
                  </a:lnTo>
                  <a:lnTo>
                    <a:pt x="7" y="33"/>
                  </a:lnTo>
                  <a:lnTo>
                    <a:pt x="10" y="26"/>
                  </a:lnTo>
                  <a:lnTo>
                    <a:pt x="28" y="26"/>
                  </a:lnTo>
                  <a:lnTo>
                    <a:pt x="33" y="19"/>
                  </a:lnTo>
                  <a:lnTo>
                    <a:pt x="26" y="14"/>
                  </a:lnTo>
                  <a:lnTo>
                    <a:pt x="31" y="5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65" name="Freeform 93"/>
            <p:cNvSpPr>
              <a:spLocks/>
            </p:cNvSpPr>
            <p:nvPr/>
          </p:nvSpPr>
          <p:spPr bwMode="auto">
            <a:xfrm>
              <a:off x="3936" y="2828"/>
              <a:ext cx="24" cy="38"/>
            </a:xfrm>
            <a:custGeom>
              <a:avLst/>
              <a:gdLst>
                <a:gd name="T0" fmla="*/ 1 w 40"/>
                <a:gd name="T1" fmla="*/ 1 h 74"/>
                <a:gd name="T2" fmla="*/ 1 w 40"/>
                <a:gd name="T3" fmla="*/ 1 h 74"/>
                <a:gd name="T4" fmla="*/ 1 w 40"/>
                <a:gd name="T5" fmla="*/ 1 h 74"/>
                <a:gd name="T6" fmla="*/ 1 w 40"/>
                <a:gd name="T7" fmla="*/ 1 h 74"/>
                <a:gd name="T8" fmla="*/ 1 w 40"/>
                <a:gd name="T9" fmla="*/ 1 h 74"/>
                <a:gd name="T10" fmla="*/ 1 w 40"/>
                <a:gd name="T11" fmla="*/ 1 h 74"/>
                <a:gd name="T12" fmla="*/ 1 w 40"/>
                <a:gd name="T13" fmla="*/ 1 h 74"/>
                <a:gd name="T14" fmla="*/ 1 w 40"/>
                <a:gd name="T15" fmla="*/ 0 h 74"/>
                <a:gd name="T16" fmla="*/ 1 w 40"/>
                <a:gd name="T17" fmla="*/ 1 h 74"/>
                <a:gd name="T18" fmla="*/ 0 w 40"/>
                <a:gd name="T19" fmla="*/ 1 h 74"/>
                <a:gd name="T20" fmla="*/ 0 w 40"/>
                <a:gd name="T21" fmla="*/ 1 h 74"/>
                <a:gd name="T22" fmla="*/ 1 w 40"/>
                <a:gd name="T23" fmla="*/ 1 h 74"/>
                <a:gd name="T24" fmla="*/ 1 w 40"/>
                <a:gd name="T25" fmla="*/ 1 h 74"/>
                <a:gd name="T26" fmla="*/ 1 w 40"/>
                <a:gd name="T27" fmla="*/ 1 h 7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0"/>
                <a:gd name="T43" fmla="*/ 0 h 74"/>
                <a:gd name="T44" fmla="*/ 40 w 40"/>
                <a:gd name="T45" fmla="*/ 74 h 7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0" h="74">
                  <a:moveTo>
                    <a:pt x="9" y="74"/>
                  </a:moveTo>
                  <a:lnTo>
                    <a:pt x="18" y="74"/>
                  </a:lnTo>
                  <a:lnTo>
                    <a:pt x="21" y="74"/>
                  </a:lnTo>
                  <a:lnTo>
                    <a:pt x="30" y="45"/>
                  </a:lnTo>
                  <a:lnTo>
                    <a:pt x="40" y="41"/>
                  </a:lnTo>
                  <a:lnTo>
                    <a:pt x="40" y="31"/>
                  </a:lnTo>
                  <a:lnTo>
                    <a:pt x="30" y="31"/>
                  </a:lnTo>
                  <a:lnTo>
                    <a:pt x="35" y="0"/>
                  </a:lnTo>
                  <a:lnTo>
                    <a:pt x="7" y="15"/>
                  </a:lnTo>
                  <a:lnTo>
                    <a:pt x="0" y="31"/>
                  </a:lnTo>
                  <a:lnTo>
                    <a:pt x="0" y="55"/>
                  </a:lnTo>
                  <a:lnTo>
                    <a:pt x="7" y="62"/>
                  </a:lnTo>
                  <a:lnTo>
                    <a:pt x="9" y="74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66" name="Freeform 94"/>
            <p:cNvSpPr>
              <a:spLocks/>
            </p:cNvSpPr>
            <p:nvPr/>
          </p:nvSpPr>
          <p:spPr bwMode="auto">
            <a:xfrm>
              <a:off x="3895" y="2886"/>
              <a:ext cx="31" cy="33"/>
            </a:xfrm>
            <a:custGeom>
              <a:avLst/>
              <a:gdLst>
                <a:gd name="T0" fmla="*/ 1 w 52"/>
                <a:gd name="T1" fmla="*/ 1 h 64"/>
                <a:gd name="T2" fmla="*/ 1 w 52"/>
                <a:gd name="T3" fmla="*/ 1 h 64"/>
                <a:gd name="T4" fmla="*/ 1 w 52"/>
                <a:gd name="T5" fmla="*/ 1 h 64"/>
                <a:gd name="T6" fmla="*/ 1 w 52"/>
                <a:gd name="T7" fmla="*/ 1 h 64"/>
                <a:gd name="T8" fmla="*/ 1 w 52"/>
                <a:gd name="T9" fmla="*/ 0 h 64"/>
                <a:gd name="T10" fmla="*/ 1 w 52"/>
                <a:gd name="T11" fmla="*/ 0 h 64"/>
                <a:gd name="T12" fmla="*/ 1 w 52"/>
                <a:gd name="T13" fmla="*/ 1 h 64"/>
                <a:gd name="T14" fmla="*/ 1 w 52"/>
                <a:gd name="T15" fmla="*/ 1 h 64"/>
                <a:gd name="T16" fmla="*/ 1 w 52"/>
                <a:gd name="T17" fmla="*/ 1 h 64"/>
                <a:gd name="T18" fmla="*/ 1 w 52"/>
                <a:gd name="T19" fmla="*/ 1 h 64"/>
                <a:gd name="T20" fmla="*/ 1 w 52"/>
                <a:gd name="T21" fmla="*/ 1 h 64"/>
                <a:gd name="T22" fmla="*/ 1 w 52"/>
                <a:gd name="T23" fmla="*/ 1 h 64"/>
                <a:gd name="T24" fmla="*/ 0 w 52"/>
                <a:gd name="T25" fmla="*/ 1 h 64"/>
                <a:gd name="T26" fmla="*/ 0 w 52"/>
                <a:gd name="T27" fmla="*/ 1 h 64"/>
                <a:gd name="T28" fmla="*/ 1 w 52"/>
                <a:gd name="T29" fmla="*/ 1 h 64"/>
                <a:gd name="T30" fmla="*/ 1 w 52"/>
                <a:gd name="T31" fmla="*/ 1 h 64"/>
                <a:gd name="T32" fmla="*/ 1 w 52"/>
                <a:gd name="T33" fmla="*/ 1 h 6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2"/>
                <a:gd name="T52" fmla="*/ 0 h 64"/>
                <a:gd name="T53" fmla="*/ 52 w 52"/>
                <a:gd name="T54" fmla="*/ 64 h 6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2" h="64">
                  <a:moveTo>
                    <a:pt x="35" y="64"/>
                  </a:moveTo>
                  <a:lnTo>
                    <a:pt x="35" y="38"/>
                  </a:lnTo>
                  <a:lnTo>
                    <a:pt x="50" y="26"/>
                  </a:lnTo>
                  <a:lnTo>
                    <a:pt x="47" y="22"/>
                  </a:lnTo>
                  <a:lnTo>
                    <a:pt x="52" y="0"/>
                  </a:lnTo>
                  <a:lnTo>
                    <a:pt x="28" y="5"/>
                  </a:lnTo>
                  <a:lnTo>
                    <a:pt x="35" y="22"/>
                  </a:lnTo>
                  <a:lnTo>
                    <a:pt x="28" y="29"/>
                  </a:lnTo>
                  <a:lnTo>
                    <a:pt x="24" y="24"/>
                  </a:lnTo>
                  <a:lnTo>
                    <a:pt x="24" y="12"/>
                  </a:lnTo>
                  <a:lnTo>
                    <a:pt x="17" y="15"/>
                  </a:lnTo>
                  <a:lnTo>
                    <a:pt x="0" y="50"/>
                  </a:lnTo>
                  <a:lnTo>
                    <a:pt x="24" y="50"/>
                  </a:lnTo>
                  <a:lnTo>
                    <a:pt x="35" y="64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67" name="Freeform 95"/>
            <p:cNvSpPr>
              <a:spLocks/>
            </p:cNvSpPr>
            <p:nvPr/>
          </p:nvSpPr>
          <p:spPr bwMode="auto">
            <a:xfrm>
              <a:off x="3888" y="2912"/>
              <a:ext cx="30" cy="20"/>
            </a:xfrm>
            <a:custGeom>
              <a:avLst/>
              <a:gdLst>
                <a:gd name="T0" fmla="*/ 1 w 50"/>
                <a:gd name="T1" fmla="*/ 1 h 40"/>
                <a:gd name="T2" fmla="*/ 1 w 50"/>
                <a:gd name="T3" fmla="*/ 1 h 40"/>
                <a:gd name="T4" fmla="*/ 1 w 50"/>
                <a:gd name="T5" fmla="*/ 1 h 40"/>
                <a:gd name="T6" fmla="*/ 1 w 50"/>
                <a:gd name="T7" fmla="*/ 1 h 40"/>
                <a:gd name="T8" fmla="*/ 1 w 50"/>
                <a:gd name="T9" fmla="*/ 1 h 40"/>
                <a:gd name="T10" fmla="*/ 0 w 50"/>
                <a:gd name="T11" fmla="*/ 1 h 40"/>
                <a:gd name="T12" fmla="*/ 0 w 50"/>
                <a:gd name="T13" fmla="*/ 1 h 40"/>
                <a:gd name="T14" fmla="*/ 0 w 50"/>
                <a:gd name="T15" fmla="*/ 1 h 40"/>
                <a:gd name="T16" fmla="*/ 1 w 50"/>
                <a:gd name="T17" fmla="*/ 0 h 40"/>
                <a:gd name="T18" fmla="*/ 1 w 50"/>
                <a:gd name="T19" fmla="*/ 0 h 40"/>
                <a:gd name="T20" fmla="*/ 1 w 50"/>
                <a:gd name="T21" fmla="*/ 0 h 40"/>
                <a:gd name="T22" fmla="*/ 1 w 50"/>
                <a:gd name="T23" fmla="*/ 0 h 40"/>
                <a:gd name="T24" fmla="*/ 1 w 50"/>
                <a:gd name="T25" fmla="*/ 1 h 40"/>
                <a:gd name="T26" fmla="*/ 1 w 50"/>
                <a:gd name="T27" fmla="*/ 1 h 40"/>
                <a:gd name="T28" fmla="*/ 1 w 50"/>
                <a:gd name="T29" fmla="*/ 1 h 40"/>
                <a:gd name="T30" fmla="*/ 1 w 50"/>
                <a:gd name="T31" fmla="*/ 1 h 40"/>
                <a:gd name="T32" fmla="*/ 1 w 50"/>
                <a:gd name="T33" fmla="*/ 1 h 4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0"/>
                <a:gd name="T52" fmla="*/ 0 h 40"/>
                <a:gd name="T53" fmla="*/ 50 w 50"/>
                <a:gd name="T54" fmla="*/ 40 h 4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0" h="40">
                  <a:moveTo>
                    <a:pt x="43" y="40"/>
                  </a:moveTo>
                  <a:lnTo>
                    <a:pt x="33" y="38"/>
                  </a:lnTo>
                  <a:lnTo>
                    <a:pt x="33" y="28"/>
                  </a:lnTo>
                  <a:lnTo>
                    <a:pt x="24" y="31"/>
                  </a:lnTo>
                  <a:lnTo>
                    <a:pt x="19" y="24"/>
                  </a:lnTo>
                  <a:lnTo>
                    <a:pt x="0" y="12"/>
                  </a:lnTo>
                  <a:lnTo>
                    <a:pt x="0" y="7"/>
                  </a:lnTo>
                  <a:lnTo>
                    <a:pt x="0" y="5"/>
                  </a:lnTo>
                  <a:lnTo>
                    <a:pt x="12" y="0"/>
                  </a:lnTo>
                  <a:lnTo>
                    <a:pt x="36" y="0"/>
                  </a:lnTo>
                  <a:lnTo>
                    <a:pt x="47" y="14"/>
                  </a:lnTo>
                  <a:lnTo>
                    <a:pt x="50" y="28"/>
                  </a:lnTo>
                  <a:lnTo>
                    <a:pt x="43" y="33"/>
                  </a:lnTo>
                  <a:lnTo>
                    <a:pt x="43" y="40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68" name="Freeform 96"/>
            <p:cNvSpPr>
              <a:spLocks/>
            </p:cNvSpPr>
            <p:nvPr/>
          </p:nvSpPr>
          <p:spPr bwMode="auto">
            <a:xfrm>
              <a:off x="3914" y="2926"/>
              <a:ext cx="5" cy="8"/>
            </a:xfrm>
            <a:custGeom>
              <a:avLst/>
              <a:gdLst>
                <a:gd name="T0" fmla="*/ 0 w 9"/>
                <a:gd name="T1" fmla="*/ 1 h 15"/>
                <a:gd name="T2" fmla="*/ 0 w 9"/>
                <a:gd name="T3" fmla="*/ 1 h 15"/>
                <a:gd name="T4" fmla="*/ 1 w 9"/>
                <a:gd name="T5" fmla="*/ 0 h 15"/>
                <a:gd name="T6" fmla="*/ 1 w 9"/>
                <a:gd name="T7" fmla="*/ 1 h 15"/>
                <a:gd name="T8" fmla="*/ 1 w 9"/>
                <a:gd name="T9" fmla="*/ 1 h 15"/>
                <a:gd name="T10" fmla="*/ 0 w 9"/>
                <a:gd name="T11" fmla="*/ 1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15"/>
                <a:gd name="T20" fmla="*/ 9 w 9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15">
                  <a:moveTo>
                    <a:pt x="0" y="12"/>
                  </a:moveTo>
                  <a:lnTo>
                    <a:pt x="0" y="5"/>
                  </a:lnTo>
                  <a:lnTo>
                    <a:pt x="7" y="0"/>
                  </a:lnTo>
                  <a:lnTo>
                    <a:pt x="9" y="15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69" name="Freeform 97"/>
            <p:cNvSpPr>
              <a:spLocks/>
            </p:cNvSpPr>
            <p:nvPr/>
          </p:nvSpPr>
          <p:spPr bwMode="auto">
            <a:xfrm>
              <a:off x="3989" y="2866"/>
              <a:ext cx="87" cy="72"/>
            </a:xfrm>
            <a:custGeom>
              <a:avLst/>
              <a:gdLst>
                <a:gd name="T0" fmla="*/ 3 w 147"/>
                <a:gd name="T1" fmla="*/ 2 h 139"/>
                <a:gd name="T2" fmla="*/ 4 w 147"/>
                <a:gd name="T3" fmla="*/ 1 h 139"/>
                <a:gd name="T4" fmla="*/ 4 w 147"/>
                <a:gd name="T5" fmla="*/ 1 h 139"/>
                <a:gd name="T6" fmla="*/ 4 w 147"/>
                <a:gd name="T7" fmla="*/ 1 h 139"/>
                <a:gd name="T8" fmla="*/ 4 w 147"/>
                <a:gd name="T9" fmla="*/ 1 h 139"/>
                <a:gd name="T10" fmla="*/ 4 w 147"/>
                <a:gd name="T11" fmla="*/ 1 h 139"/>
                <a:gd name="T12" fmla="*/ 3 w 147"/>
                <a:gd name="T13" fmla="*/ 1 h 139"/>
                <a:gd name="T14" fmla="*/ 2 w 147"/>
                <a:gd name="T15" fmla="*/ 1 h 139"/>
                <a:gd name="T16" fmla="*/ 2 w 147"/>
                <a:gd name="T17" fmla="*/ 1 h 139"/>
                <a:gd name="T18" fmla="*/ 2 w 147"/>
                <a:gd name="T19" fmla="*/ 1 h 139"/>
                <a:gd name="T20" fmla="*/ 2 w 147"/>
                <a:gd name="T21" fmla="*/ 1 h 139"/>
                <a:gd name="T22" fmla="*/ 2 w 147"/>
                <a:gd name="T23" fmla="*/ 1 h 139"/>
                <a:gd name="T24" fmla="*/ 2 w 147"/>
                <a:gd name="T25" fmla="*/ 0 h 139"/>
                <a:gd name="T26" fmla="*/ 0 w 147"/>
                <a:gd name="T27" fmla="*/ 1 h 139"/>
                <a:gd name="T28" fmla="*/ 0 w 147"/>
                <a:gd name="T29" fmla="*/ 1 h 139"/>
                <a:gd name="T30" fmla="*/ 1 w 147"/>
                <a:gd name="T31" fmla="*/ 1 h 139"/>
                <a:gd name="T32" fmla="*/ 1 w 147"/>
                <a:gd name="T33" fmla="*/ 1 h 139"/>
                <a:gd name="T34" fmla="*/ 1 w 147"/>
                <a:gd name="T35" fmla="*/ 1 h 139"/>
                <a:gd name="T36" fmla="*/ 1 w 147"/>
                <a:gd name="T37" fmla="*/ 1 h 139"/>
                <a:gd name="T38" fmla="*/ 1 w 147"/>
                <a:gd name="T39" fmla="*/ 1 h 139"/>
                <a:gd name="T40" fmla="*/ 1 w 147"/>
                <a:gd name="T41" fmla="*/ 1 h 139"/>
                <a:gd name="T42" fmla="*/ 2 w 147"/>
                <a:gd name="T43" fmla="*/ 2 h 139"/>
                <a:gd name="T44" fmla="*/ 2 w 147"/>
                <a:gd name="T45" fmla="*/ 2 h 139"/>
                <a:gd name="T46" fmla="*/ 2 w 147"/>
                <a:gd name="T47" fmla="*/ 2 h 139"/>
                <a:gd name="T48" fmla="*/ 3 w 147"/>
                <a:gd name="T49" fmla="*/ 2 h 139"/>
                <a:gd name="T50" fmla="*/ 3 w 147"/>
                <a:gd name="T51" fmla="*/ 2 h 13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47"/>
                <a:gd name="T79" fmla="*/ 0 h 139"/>
                <a:gd name="T80" fmla="*/ 147 w 147"/>
                <a:gd name="T81" fmla="*/ 139 h 13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47" h="139">
                  <a:moveTo>
                    <a:pt x="123" y="139"/>
                  </a:moveTo>
                  <a:lnTo>
                    <a:pt x="135" y="115"/>
                  </a:lnTo>
                  <a:lnTo>
                    <a:pt x="147" y="108"/>
                  </a:lnTo>
                  <a:lnTo>
                    <a:pt x="135" y="66"/>
                  </a:lnTo>
                  <a:lnTo>
                    <a:pt x="144" y="47"/>
                  </a:lnTo>
                  <a:lnTo>
                    <a:pt x="137" y="21"/>
                  </a:lnTo>
                  <a:lnTo>
                    <a:pt x="128" y="11"/>
                  </a:lnTo>
                  <a:lnTo>
                    <a:pt x="102" y="14"/>
                  </a:lnTo>
                  <a:lnTo>
                    <a:pt x="81" y="9"/>
                  </a:lnTo>
                  <a:lnTo>
                    <a:pt x="76" y="14"/>
                  </a:lnTo>
                  <a:lnTo>
                    <a:pt x="66" y="14"/>
                  </a:lnTo>
                  <a:lnTo>
                    <a:pt x="62" y="0"/>
                  </a:lnTo>
                  <a:lnTo>
                    <a:pt x="0" y="28"/>
                  </a:lnTo>
                  <a:lnTo>
                    <a:pt x="7" y="99"/>
                  </a:lnTo>
                  <a:lnTo>
                    <a:pt x="14" y="94"/>
                  </a:lnTo>
                  <a:lnTo>
                    <a:pt x="24" y="99"/>
                  </a:lnTo>
                  <a:lnTo>
                    <a:pt x="38" y="113"/>
                  </a:lnTo>
                  <a:lnTo>
                    <a:pt x="40" y="108"/>
                  </a:lnTo>
                  <a:lnTo>
                    <a:pt x="50" y="111"/>
                  </a:lnTo>
                  <a:lnTo>
                    <a:pt x="69" y="127"/>
                  </a:lnTo>
                  <a:lnTo>
                    <a:pt x="78" y="127"/>
                  </a:lnTo>
                  <a:lnTo>
                    <a:pt x="88" y="137"/>
                  </a:lnTo>
                  <a:lnTo>
                    <a:pt x="109" y="132"/>
                  </a:lnTo>
                  <a:lnTo>
                    <a:pt x="123" y="139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70" name="Freeform 98"/>
            <p:cNvSpPr>
              <a:spLocks/>
            </p:cNvSpPr>
            <p:nvPr/>
          </p:nvSpPr>
          <p:spPr bwMode="auto">
            <a:xfrm>
              <a:off x="3916" y="2866"/>
              <a:ext cx="77" cy="94"/>
            </a:xfrm>
            <a:custGeom>
              <a:avLst/>
              <a:gdLst>
                <a:gd name="T0" fmla="*/ 2 w 130"/>
                <a:gd name="T1" fmla="*/ 1 h 179"/>
                <a:gd name="T2" fmla="*/ 2 w 130"/>
                <a:gd name="T3" fmla="*/ 1 h 179"/>
                <a:gd name="T4" fmla="*/ 2 w 130"/>
                <a:gd name="T5" fmla="*/ 1 h 179"/>
                <a:gd name="T6" fmla="*/ 3 w 130"/>
                <a:gd name="T7" fmla="*/ 1 h 179"/>
                <a:gd name="T8" fmla="*/ 3 w 130"/>
                <a:gd name="T9" fmla="*/ 1 h 179"/>
                <a:gd name="T10" fmla="*/ 3 w 130"/>
                <a:gd name="T11" fmla="*/ 1 h 179"/>
                <a:gd name="T12" fmla="*/ 3 w 130"/>
                <a:gd name="T13" fmla="*/ 1 h 179"/>
                <a:gd name="T14" fmla="*/ 3 w 130"/>
                <a:gd name="T15" fmla="*/ 1 h 179"/>
                <a:gd name="T16" fmla="*/ 3 w 130"/>
                <a:gd name="T17" fmla="*/ 1 h 179"/>
                <a:gd name="T18" fmla="*/ 3 w 130"/>
                <a:gd name="T19" fmla="*/ 1 h 179"/>
                <a:gd name="T20" fmla="*/ 3 w 130"/>
                <a:gd name="T21" fmla="*/ 1 h 179"/>
                <a:gd name="T22" fmla="*/ 2 w 130"/>
                <a:gd name="T23" fmla="*/ 1 h 179"/>
                <a:gd name="T24" fmla="*/ 2 w 130"/>
                <a:gd name="T25" fmla="*/ 2 h 179"/>
                <a:gd name="T26" fmla="*/ 3 w 130"/>
                <a:gd name="T27" fmla="*/ 2 h 179"/>
                <a:gd name="T28" fmla="*/ 2 w 130"/>
                <a:gd name="T29" fmla="*/ 2 h 179"/>
                <a:gd name="T30" fmla="*/ 3 w 130"/>
                <a:gd name="T31" fmla="*/ 2 h 179"/>
                <a:gd name="T32" fmla="*/ 2 w 130"/>
                <a:gd name="T33" fmla="*/ 2 h 179"/>
                <a:gd name="T34" fmla="*/ 2 w 130"/>
                <a:gd name="T35" fmla="*/ 2 h 179"/>
                <a:gd name="T36" fmla="*/ 1 w 130"/>
                <a:gd name="T37" fmla="*/ 2 h 179"/>
                <a:gd name="T38" fmla="*/ 1 w 130"/>
                <a:gd name="T39" fmla="*/ 2 h 179"/>
                <a:gd name="T40" fmla="*/ 1 w 130"/>
                <a:gd name="T41" fmla="*/ 2 h 179"/>
                <a:gd name="T42" fmla="*/ 1 w 130"/>
                <a:gd name="T43" fmla="*/ 2 h 179"/>
                <a:gd name="T44" fmla="*/ 1 w 130"/>
                <a:gd name="T45" fmla="*/ 2 h 179"/>
                <a:gd name="T46" fmla="*/ 1 w 130"/>
                <a:gd name="T47" fmla="*/ 2 h 179"/>
                <a:gd name="T48" fmla="*/ 1 w 130"/>
                <a:gd name="T49" fmla="*/ 2 h 179"/>
                <a:gd name="T50" fmla="*/ 0 w 130"/>
                <a:gd name="T51" fmla="*/ 1 h 179"/>
                <a:gd name="T52" fmla="*/ 0 w 130"/>
                <a:gd name="T53" fmla="*/ 1 h 179"/>
                <a:gd name="T54" fmla="*/ 0 w 130"/>
                <a:gd name="T55" fmla="*/ 1 h 179"/>
                <a:gd name="T56" fmla="*/ 1 w 130"/>
                <a:gd name="T57" fmla="*/ 1 h 179"/>
                <a:gd name="T58" fmla="*/ 1 w 130"/>
                <a:gd name="T59" fmla="*/ 1 h 179"/>
                <a:gd name="T60" fmla="*/ 1 w 130"/>
                <a:gd name="T61" fmla="*/ 1 h 179"/>
                <a:gd name="T62" fmla="*/ 1 w 130"/>
                <a:gd name="T63" fmla="*/ 1 h 179"/>
                <a:gd name="T64" fmla="*/ 1 w 130"/>
                <a:gd name="T65" fmla="*/ 1 h 179"/>
                <a:gd name="T66" fmla="*/ 1 w 130"/>
                <a:gd name="T67" fmla="*/ 1 h 179"/>
                <a:gd name="T68" fmla="*/ 1 w 130"/>
                <a:gd name="T69" fmla="*/ 1 h 179"/>
                <a:gd name="T70" fmla="*/ 1 w 130"/>
                <a:gd name="T71" fmla="*/ 1 h 179"/>
                <a:gd name="T72" fmla="*/ 1 w 130"/>
                <a:gd name="T73" fmla="*/ 1 h 179"/>
                <a:gd name="T74" fmla="*/ 1 w 130"/>
                <a:gd name="T75" fmla="*/ 0 h 179"/>
                <a:gd name="T76" fmla="*/ 1 w 130"/>
                <a:gd name="T77" fmla="*/ 0 h 179"/>
                <a:gd name="T78" fmla="*/ 1 w 130"/>
                <a:gd name="T79" fmla="*/ 0 h 179"/>
                <a:gd name="T80" fmla="*/ 1 w 130"/>
                <a:gd name="T81" fmla="*/ 0 h 179"/>
                <a:gd name="T82" fmla="*/ 2 w 130"/>
                <a:gd name="T83" fmla="*/ 1 h 179"/>
                <a:gd name="T84" fmla="*/ 2 w 130"/>
                <a:gd name="T85" fmla="*/ 1 h 179"/>
                <a:gd name="T86" fmla="*/ 2 w 130"/>
                <a:gd name="T87" fmla="*/ 1 h 179"/>
                <a:gd name="T88" fmla="*/ 2 w 130"/>
                <a:gd name="T89" fmla="*/ 1 h 179"/>
                <a:gd name="T90" fmla="*/ 2 w 130"/>
                <a:gd name="T91" fmla="*/ 1 h 179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30"/>
                <a:gd name="T139" fmla="*/ 0 h 179"/>
                <a:gd name="T140" fmla="*/ 130 w 130"/>
                <a:gd name="T141" fmla="*/ 179 h 179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30" h="179">
                  <a:moveTo>
                    <a:pt x="74" y="23"/>
                  </a:moveTo>
                  <a:lnTo>
                    <a:pt x="74" y="23"/>
                  </a:lnTo>
                  <a:lnTo>
                    <a:pt x="81" y="23"/>
                  </a:lnTo>
                  <a:lnTo>
                    <a:pt x="111" y="4"/>
                  </a:lnTo>
                  <a:lnTo>
                    <a:pt x="116" y="14"/>
                  </a:lnTo>
                  <a:lnTo>
                    <a:pt x="109" y="19"/>
                  </a:lnTo>
                  <a:lnTo>
                    <a:pt x="123" y="28"/>
                  </a:lnTo>
                  <a:lnTo>
                    <a:pt x="130" y="99"/>
                  </a:lnTo>
                  <a:lnTo>
                    <a:pt x="126" y="92"/>
                  </a:lnTo>
                  <a:lnTo>
                    <a:pt x="109" y="104"/>
                  </a:lnTo>
                  <a:lnTo>
                    <a:pt x="90" y="111"/>
                  </a:lnTo>
                  <a:lnTo>
                    <a:pt x="100" y="130"/>
                  </a:lnTo>
                  <a:lnTo>
                    <a:pt x="119" y="146"/>
                  </a:lnTo>
                  <a:lnTo>
                    <a:pt x="102" y="160"/>
                  </a:lnTo>
                  <a:lnTo>
                    <a:pt x="104" y="170"/>
                  </a:lnTo>
                  <a:lnTo>
                    <a:pt x="69" y="174"/>
                  </a:lnTo>
                  <a:lnTo>
                    <a:pt x="64" y="179"/>
                  </a:lnTo>
                  <a:lnTo>
                    <a:pt x="52" y="174"/>
                  </a:lnTo>
                  <a:lnTo>
                    <a:pt x="24" y="172"/>
                  </a:lnTo>
                  <a:lnTo>
                    <a:pt x="31" y="146"/>
                  </a:lnTo>
                  <a:lnTo>
                    <a:pt x="5" y="130"/>
                  </a:lnTo>
                  <a:lnTo>
                    <a:pt x="3" y="115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5" y="63"/>
                  </a:lnTo>
                  <a:lnTo>
                    <a:pt x="12" y="59"/>
                  </a:lnTo>
                  <a:lnTo>
                    <a:pt x="17" y="37"/>
                  </a:lnTo>
                  <a:lnTo>
                    <a:pt x="22" y="30"/>
                  </a:lnTo>
                  <a:lnTo>
                    <a:pt x="38" y="35"/>
                  </a:lnTo>
                  <a:lnTo>
                    <a:pt x="45" y="19"/>
                  </a:lnTo>
                  <a:lnTo>
                    <a:pt x="41" y="14"/>
                  </a:lnTo>
                  <a:lnTo>
                    <a:pt x="45" y="9"/>
                  </a:lnTo>
                  <a:lnTo>
                    <a:pt x="43" y="0"/>
                  </a:lnTo>
                  <a:lnTo>
                    <a:pt x="52" y="0"/>
                  </a:lnTo>
                  <a:lnTo>
                    <a:pt x="55" y="0"/>
                  </a:lnTo>
                  <a:lnTo>
                    <a:pt x="62" y="2"/>
                  </a:lnTo>
                  <a:lnTo>
                    <a:pt x="62" y="9"/>
                  </a:lnTo>
                  <a:lnTo>
                    <a:pt x="76" y="16"/>
                  </a:lnTo>
                  <a:lnTo>
                    <a:pt x="71" y="23"/>
                  </a:lnTo>
                  <a:lnTo>
                    <a:pt x="74" y="23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71" name="Freeform 99"/>
            <p:cNvSpPr>
              <a:spLocks/>
            </p:cNvSpPr>
            <p:nvPr/>
          </p:nvSpPr>
          <p:spPr bwMode="auto">
            <a:xfrm>
              <a:off x="3969" y="2914"/>
              <a:ext cx="93" cy="41"/>
            </a:xfrm>
            <a:custGeom>
              <a:avLst/>
              <a:gdLst>
                <a:gd name="T0" fmla="*/ 4 w 156"/>
                <a:gd name="T1" fmla="*/ 1 h 78"/>
                <a:gd name="T2" fmla="*/ 4 w 156"/>
                <a:gd name="T3" fmla="*/ 1 h 78"/>
                <a:gd name="T4" fmla="*/ 3 w 156"/>
                <a:gd name="T5" fmla="*/ 1 h 78"/>
                <a:gd name="T6" fmla="*/ 3 w 156"/>
                <a:gd name="T7" fmla="*/ 1 h 78"/>
                <a:gd name="T8" fmla="*/ 3 w 156"/>
                <a:gd name="T9" fmla="*/ 1 h 78"/>
                <a:gd name="T10" fmla="*/ 2 w 156"/>
                <a:gd name="T11" fmla="*/ 1 h 78"/>
                <a:gd name="T12" fmla="*/ 2 w 156"/>
                <a:gd name="T13" fmla="*/ 1 h 78"/>
                <a:gd name="T14" fmla="*/ 2 w 156"/>
                <a:gd name="T15" fmla="*/ 1 h 78"/>
                <a:gd name="T16" fmla="*/ 1 w 156"/>
                <a:gd name="T17" fmla="*/ 1 h 78"/>
                <a:gd name="T18" fmla="*/ 1 w 156"/>
                <a:gd name="T19" fmla="*/ 1 h 78"/>
                <a:gd name="T20" fmla="*/ 1 w 156"/>
                <a:gd name="T21" fmla="*/ 1 h 78"/>
                <a:gd name="T22" fmla="*/ 1 w 156"/>
                <a:gd name="T23" fmla="*/ 0 h 78"/>
                <a:gd name="T24" fmla="*/ 1 w 156"/>
                <a:gd name="T25" fmla="*/ 1 h 78"/>
                <a:gd name="T26" fmla="*/ 0 w 156"/>
                <a:gd name="T27" fmla="*/ 1 h 78"/>
                <a:gd name="T28" fmla="*/ 1 w 156"/>
                <a:gd name="T29" fmla="*/ 1 h 78"/>
                <a:gd name="T30" fmla="*/ 1 w 156"/>
                <a:gd name="T31" fmla="*/ 1 h 78"/>
                <a:gd name="T32" fmla="*/ 1 w 156"/>
                <a:gd name="T33" fmla="*/ 1 h 78"/>
                <a:gd name="T34" fmla="*/ 1 w 156"/>
                <a:gd name="T35" fmla="*/ 1 h 78"/>
                <a:gd name="T36" fmla="*/ 2 w 156"/>
                <a:gd name="T37" fmla="*/ 1 h 78"/>
                <a:gd name="T38" fmla="*/ 2 w 156"/>
                <a:gd name="T39" fmla="*/ 1 h 78"/>
                <a:gd name="T40" fmla="*/ 2 w 156"/>
                <a:gd name="T41" fmla="*/ 1 h 78"/>
                <a:gd name="T42" fmla="*/ 4 w 156"/>
                <a:gd name="T43" fmla="*/ 1 h 78"/>
                <a:gd name="T44" fmla="*/ 4 w 156"/>
                <a:gd name="T45" fmla="*/ 1 h 78"/>
                <a:gd name="T46" fmla="*/ 4 w 156"/>
                <a:gd name="T47" fmla="*/ 1 h 7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56"/>
                <a:gd name="T73" fmla="*/ 0 h 78"/>
                <a:gd name="T74" fmla="*/ 156 w 156"/>
                <a:gd name="T75" fmla="*/ 78 h 7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56" h="78">
                  <a:moveTo>
                    <a:pt x="156" y="47"/>
                  </a:moveTo>
                  <a:lnTo>
                    <a:pt x="142" y="40"/>
                  </a:lnTo>
                  <a:lnTo>
                    <a:pt x="121" y="45"/>
                  </a:lnTo>
                  <a:lnTo>
                    <a:pt x="111" y="35"/>
                  </a:lnTo>
                  <a:lnTo>
                    <a:pt x="102" y="35"/>
                  </a:lnTo>
                  <a:lnTo>
                    <a:pt x="83" y="19"/>
                  </a:lnTo>
                  <a:lnTo>
                    <a:pt x="73" y="16"/>
                  </a:lnTo>
                  <a:lnTo>
                    <a:pt x="71" y="21"/>
                  </a:lnTo>
                  <a:lnTo>
                    <a:pt x="57" y="7"/>
                  </a:lnTo>
                  <a:lnTo>
                    <a:pt x="47" y="2"/>
                  </a:lnTo>
                  <a:lnTo>
                    <a:pt x="40" y="7"/>
                  </a:lnTo>
                  <a:lnTo>
                    <a:pt x="36" y="0"/>
                  </a:lnTo>
                  <a:lnTo>
                    <a:pt x="19" y="12"/>
                  </a:lnTo>
                  <a:lnTo>
                    <a:pt x="0" y="19"/>
                  </a:lnTo>
                  <a:lnTo>
                    <a:pt x="10" y="38"/>
                  </a:lnTo>
                  <a:lnTo>
                    <a:pt x="29" y="54"/>
                  </a:lnTo>
                  <a:lnTo>
                    <a:pt x="40" y="56"/>
                  </a:lnTo>
                  <a:lnTo>
                    <a:pt x="47" y="49"/>
                  </a:lnTo>
                  <a:lnTo>
                    <a:pt x="71" y="54"/>
                  </a:lnTo>
                  <a:lnTo>
                    <a:pt x="76" y="71"/>
                  </a:lnTo>
                  <a:lnTo>
                    <a:pt x="95" y="78"/>
                  </a:lnTo>
                  <a:lnTo>
                    <a:pt x="130" y="59"/>
                  </a:lnTo>
                  <a:lnTo>
                    <a:pt x="151" y="64"/>
                  </a:lnTo>
                  <a:lnTo>
                    <a:pt x="156" y="47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72" name="Freeform 100"/>
            <p:cNvSpPr>
              <a:spLocks/>
            </p:cNvSpPr>
            <p:nvPr/>
          </p:nvSpPr>
          <p:spPr bwMode="auto">
            <a:xfrm>
              <a:off x="3947" y="2940"/>
              <a:ext cx="67" cy="28"/>
            </a:xfrm>
            <a:custGeom>
              <a:avLst/>
              <a:gdLst>
                <a:gd name="T0" fmla="*/ 0 w 114"/>
                <a:gd name="T1" fmla="*/ 1 h 55"/>
                <a:gd name="T2" fmla="*/ 1 w 114"/>
                <a:gd name="T3" fmla="*/ 1 h 55"/>
                <a:gd name="T4" fmla="*/ 1 w 114"/>
                <a:gd name="T5" fmla="*/ 1 h 55"/>
                <a:gd name="T6" fmla="*/ 1 w 114"/>
                <a:gd name="T7" fmla="*/ 1 h 55"/>
                <a:gd name="T8" fmla="*/ 1 w 114"/>
                <a:gd name="T9" fmla="*/ 1 h 55"/>
                <a:gd name="T10" fmla="*/ 2 w 114"/>
                <a:gd name="T11" fmla="*/ 1 h 55"/>
                <a:gd name="T12" fmla="*/ 2 w 114"/>
                <a:gd name="T13" fmla="*/ 1 h 55"/>
                <a:gd name="T14" fmla="*/ 2 w 114"/>
                <a:gd name="T15" fmla="*/ 0 h 55"/>
                <a:gd name="T16" fmla="*/ 3 w 114"/>
                <a:gd name="T17" fmla="*/ 1 h 55"/>
                <a:gd name="T18" fmla="*/ 3 w 114"/>
                <a:gd name="T19" fmla="*/ 1 h 55"/>
                <a:gd name="T20" fmla="*/ 2 w 114"/>
                <a:gd name="T21" fmla="*/ 1 h 55"/>
                <a:gd name="T22" fmla="*/ 2 w 114"/>
                <a:gd name="T23" fmla="*/ 1 h 55"/>
                <a:gd name="T24" fmla="*/ 2 w 114"/>
                <a:gd name="T25" fmla="*/ 1 h 55"/>
                <a:gd name="T26" fmla="*/ 1 w 114"/>
                <a:gd name="T27" fmla="*/ 1 h 55"/>
                <a:gd name="T28" fmla="*/ 1 w 114"/>
                <a:gd name="T29" fmla="*/ 1 h 55"/>
                <a:gd name="T30" fmla="*/ 1 w 114"/>
                <a:gd name="T31" fmla="*/ 1 h 55"/>
                <a:gd name="T32" fmla="*/ 1 w 114"/>
                <a:gd name="T33" fmla="*/ 1 h 55"/>
                <a:gd name="T34" fmla="*/ 1 w 114"/>
                <a:gd name="T35" fmla="*/ 1 h 55"/>
                <a:gd name="T36" fmla="*/ 1 w 114"/>
                <a:gd name="T37" fmla="*/ 1 h 55"/>
                <a:gd name="T38" fmla="*/ 1 w 114"/>
                <a:gd name="T39" fmla="*/ 1 h 55"/>
                <a:gd name="T40" fmla="*/ 1 w 114"/>
                <a:gd name="T41" fmla="*/ 1 h 55"/>
                <a:gd name="T42" fmla="*/ 0 w 114"/>
                <a:gd name="T43" fmla="*/ 1 h 55"/>
                <a:gd name="T44" fmla="*/ 0 w 114"/>
                <a:gd name="T45" fmla="*/ 1 h 5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14"/>
                <a:gd name="T70" fmla="*/ 0 h 55"/>
                <a:gd name="T71" fmla="*/ 114 w 114"/>
                <a:gd name="T72" fmla="*/ 55 h 5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14" h="55">
                  <a:moveTo>
                    <a:pt x="0" y="33"/>
                  </a:moveTo>
                  <a:lnTo>
                    <a:pt x="12" y="38"/>
                  </a:lnTo>
                  <a:lnTo>
                    <a:pt x="17" y="33"/>
                  </a:lnTo>
                  <a:lnTo>
                    <a:pt x="52" y="29"/>
                  </a:lnTo>
                  <a:lnTo>
                    <a:pt x="50" y="19"/>
                  </a:lnTo>
                  <a:lnTo>
                    <a:pt x="67" y="5"/>
                  </a:lnTo>
                  <a:lnTo>
                    <a:pt x="78" y="7"/>
                  </a:lnTo>
                  <a:lnTo>
                    <a:pt x="85" y="0"/>
                  </a:lnTo>
                  <a:lnTo>
                    <a:pt x="109" y="5"/>
                  </a:lnTo>
                  <a:lnTo>
                    <a:pt x="114" y="22"/>
                  </a:lnTo>
                  <a:lnTo>
                    <a:pt x="100" y="48"/>
                  </a:lnTo>
                  <a:lnTo>
                    <a:pt x="64" y="55"/>
                  </a:lnTo>
                  <a:lnTo>
                    <a:pt x="43" y="48"/>
                  </a:lnTo>
                  <a:lnTo>
                    <a:pt x="41" y="43"/>
                  </a:lnTo>
                  <a:lnTo>
                    <a:pt x="15" y="48"/>
                  </a:lnTo>
                  <a:lnTo>
                    <a:pt x="5" y="45"/>
                  </a:lnTo>
                  <a:lnTo>
                    <a:pt x="10" y="43"/>
                  </a:lnTo>
                  <a:lnTo>
                    <a:pt x="10" y="41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12457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27432" tIns="27432" rIns="27432" bIns="27432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73" name="Freeform 101"/>
            <p:cNvSpPr>
              <a:spLocks/>
            </p:cNvSpPr>
            <p:nvPr/>
          </p:nvSpPr>
          <p:spPr bwMode="auto">
            <a:xfrm>
              <a:off x="3947" y="2957"/>
              <a:ext cx="6" cy="6"/>
            </a:xfrm>
            <a:custGeom>
              <a:avLst/>
              <a:gdLst>
                <a:gd name="T0" fmla="*/ 1 w 10"/>
                <a:gd name="T1" fmla="*/ 1 h 12"/>
                <a:gd name="T2" fmla="*/ 1 w 10"/>
                <a:gd name="T3" fmla="*/ 1 h 12"/>
                <a:gd name="T4" fmla="*/ 1 w 10"/>
                <a:gd name="T5" fmla="*/ 1 h 12"/>
                <a:gd name="T6" fmla="*/ 0 w 10"/>
                <a:gd name="T7" fmla="*/ 0 h 12"/>
                <a:gd name="T8" fmla="*/ 0 w 10"/>
                <a:gd name="T9" fmla="*/ 0 h 12"/>
                <a:gd name="T10" fmla="*/ 1 w 10"/>
                <a:gd name="T11" fmla="*/ 1 h 12"/>
                <a:gd name="T12" fmla="*/ 1 w 10"/>
                <a:gd name="T13" fmla="*/ 1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2"/>
                <a:gd name="T23" fmla="*/ 10 w 10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2">
                  <a:moveTo>
                    <a:pt x="5" y="12"/>
                  </a:moveTo>
                  <a:lnTo>
                    <a:pt x="10" y="10"/>
                  </a:lnTo>
                  <a:lnTo>
                    <a:pt x="10" y="8"/>
                  </a:lnTo>
                  <a:lnTo>
                    <a:pt x="0" y="0"/>
                  </a:lnTo>
                  <a:lnTo>
                    <a:pt x="5" y="1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74" name="Freeform 102"/>
            <p:cNvSpPr>
              <a:spLocks/>
            </p:cNvSpPr>
            <p:nvPr/>
          </p:nvSpPr>
          <p:spPr bwMode="auto">
            <a:xfrm>
              <a:off x="3916" y="2956"/>
              <a:ext cx="40" cy="20"/>
            </a:xfrm>
            <a:custGeom>
              <a:avLst/>
              <a:gdLst>
                <a:gd name="T0" fmla="*/ 1 w 67"/>
                <a:gd name="T1" fmla="*/ 1 h 38"/>
                <a:gd name="T2" fmla="*/ 1 w 67"/>
                <a:gd name="T3" fmla="*/ 1 h 38"/>
                <a:gd name="T4" fmla="*/ 1 w 67"/>
                <a:gd name="T5" fmla="*/ 1 h 38"/>
                <a:gd name="T6" fmla="*/ 1 w 67"/>
                <a:gd name="T7" fmla="*/ 1 h 38"/>
                <a:gd name="T8" fmla="*/ 2 w 67"/>
                <a:gd name="T9" fmla="*/ 1 h 38"/>
                <a:gd name="T10" fmla="*/ 2 w 67"/>
                <a:gd name="T11" fmla="*/ 1 h 38"/>
                <a:gd name="T12" fmla="*/ 1 w 67"/>
                <a:gd name="T13" fmla="*/ 1 h 38"/>
                <a:gd name="T14" fmla="*/ 1 w 67"/>
                <a:gd name="T15" fmla="*/ 1 h 38"/>
                <a:gd name="T16" fmla="*/ 1 w 67"/>
                <a:gd name="T17" fmla="*/ 0 h 38"/>
                <a:gd name="T18" fmla="*/ 1 w 67"/>
                <a:gd name="T19" fmla="*/ 1 h 38"/>
                <a:gd name="T20" fmla="*/ 0 w 67"/>
                <a:gd name="T21" fmla="*/ 1 h 38"/>
                <a:gd name="T22" fmla="*/ 1 w 67"/>
                <a:gd name="T23" fmla="*/ 1 h 38"/>
                <a:gd name="T24" fmla="*/ 1 w 67"/>
                <a:gd name="T25" fmla="*/ 1 h 38"/>
                <a:gd name="T26" fmla="*/ 1 w 67"/>
                <a:gd name="T27" fmla="*/ 1 h 38"/>
                <a:gd name="T28" fmla="*/ 1 w 67"/>
                <a:gd name="T29" fmla="*/ 1 h 3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7"/>
                <a:gd name="T46" fmla="*/ 0 h 38"/>
                <a:gd name="T47" fmla="*/ 67 w 67"/>
                <a:gd name="T48" fmla="*/ 38 h 3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7" h="38">
                  <a:moveTo>
                    <a:pt x="17" y="38"/>
                  </a:moveTo>
                  <a:lnTo>
                    <a:pt x="38" y="28"/>
                  </a:lnTo>
                  <a:lnTo>
                    <a:pt x="45" y="36"/>
                  </a:lnTo>
                  <a:lnTo>
                    <a:pt x="52" y="26"/>
                  </a:lnTo>
                  <a:lnTo>
                    <a:pt x="62" y="28"/>
                  </a:lnTo>
                  <a:lnTo>
                    <a:pt x="67" y="17"/>
                  </a:lnTo>
                  <a:lnTo>
                    <a:pt x="57" y="14"/>
                  </a:lnTo>
                  <a:lnTo>
                    <a:pt x="52" y="2"/>
                  </a:lnTo>
                  <a:lnTo>
                    <a:pt x="24" y="0"/>
                  </a:lnTo>
                  <a:lnTo>
                    <a:pt x="15" y="2"/>
                  </a:lnTo>
                  <a:lnTo>
                    <a:pt x="0" y="26"/>
                  </a:lnTo>
                  <a:lnTo>
                    <a:pt x="5" y="31"/>
                  </a:lnTo>
                  <a:lnTo>
                    <a:pt x="12" y="26"/>
                  </a:lnTo>
                  <a:lnTo>
                    <a:pt x="15" y="38"/>
                  </a:lnTo>
                  <a:lnTo>
                    <a:pt x="17" y="38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75" name="Freeform 103"/>
            <p:cNvSpPr>
              <a:spLocks/>
            </p:cNvSpPr>
            <p:nvPr/>
          </p:nvSpPr>
          <p:spPr bwMode="auto">
            <a:xfrm>
              <a:off x="3822" y="2914"/>
              <a:ext cx="112" cy="100"/>
            </a:xfrm>
            <a:custGeom>
              <a:avLst/>
              <a:gdLst>
                <a:gd name="T0" fmla="*/ 3 w 189"/>
                <a:gd name="T1" fmla="*/ 0 h 191"/>
                <a:gd name="T2" fmla="*/ 2 w 189"/>
                <a:gd name="T3" fmla="*/ 1 h 191"/>
                <a:gd name="T4" fmla="*/ 2 w 189"/>
                <a:gd name="T5" fmla="*/ 1 h 191"/>
                <a:gd name="T6" fmla="*/ 2 w 189"/>
                <a:gd name="T7" fmla="*/ 1 h 191"/>
                <a:gd name="T8" fmla="*/ 2 w 189"/>
                <a:gd name="T9" fmla="*/ 1 h 191"/>
                <a:gd name="T10" fmla="*/ 1 w 189"/>
                <a:gd name="T11" fmla="*/ 1 h 191"/>
                <a:gd name="T12" fmla="*/ 1 w 189"/>
                <a:gd name="T13" fmla="*/ 1 h 191"/>
                <a:gd name="T14" fmla="*/ 1 w 189"/>
                <a:gd name="T15" fmla="*/ 1 h 191"/>
                <a:gd name="T16" fmla="*/ 1 w 189"/>
                <a:gd name="T17" fmla="*/ 1 h 191"/>
                <a:gd name="T18" fmla="*/ 1 w 189"/>
                <a:gd name="T19" fmla="*/ 1 h 191"/>
                <a:gd name="T20" fmla="*/ 1 w 189"/>
                <a:gd name="T21" fmla="*/ 1 h 191"/>
                <a:gd name="T22" fmla="*/ 0 w 189"/>
                <a:gd name="T23" fmla="*/ 1 h 191"/>
                <a:gd name="T24" fmla="*/ 0 w 189"/>
                <a:gd name="T25" fmla="*/ 1 h 191"/>
                <a:gd name="T26" fmla="*/ 1 w 189"/>
                <a:gd name="T27" fmla="*/ 1 h 191"/>
                <a:gd name="T28" fmla="*/ 1 w 189"/>
                <a:gd name="T29" fmla="*/ 1 h 191"/>
                <a:gd name="T30" fmla="*/ 1 w 189"/>
                <a:gd name="T31" fmla="*/ 2 h 191"/>
                <a:gd name="T32" fmla="*/ 1 w 189"/>
                <a:gd name="T33" fmla="*/ 2 h 191"/>
                <a:gd name="T34" fmla="*/ 1 w 189"/>
                <a:gd name="T35" fmla="*/ 2 h 191"/>
                <a:gd name="T36" fmla="*/ 1 w 189"/>
                <a:gd name="T37" fmla="*/ 2 h 191"/>
                <a:gd name="T38" fmla="*/ 2 w 189"/>
                <a:gd name="T39" fmla="*/ 2 h 191"/>
                <a:gd name="T40" fmla="*/ 3 w 189"/>
                <a:gd name="T41" fmla="*/ 2 h 191"/>
                <a:gd name="T42" fmla="*/ 3 w 189"/>
                <a:gd name="T43" fmla="*/ 2 h 191"/>
                <a:gd name="T44" fmla="*/ 3 w 189"/>
                <a:gd name="T45" fmla="*/ 2 h 191"/>
                <a:gd name="T46" fmla="*/ 3 w 189"/>
                <a:gd name="T47" fmla="*/ 2 h 191"/>
                <a:gd name="T48" fmla="*/ 4 w 189"/>
                <a:gd name="T49" fmla="*/ 2 h 191"/>
                <a:gd name="T50" fmla="*/ 4 w 189"/>
                <a:gd name="T51" fmla="*/ 2 h 191"/>
                <a:gd name="T52" fmla="*/ 5 w 189"/>
                <a:gd name="T53" fmla="*/ 2 h 191"/>
                <a:gd name="T54" fmla="*/ 5 w 189"/>
                <a:gd name="T55" fmla="*/ 2 h 191"/>
                <a:gd name="T56" fmla="*/ 4 w 189"/>
                <a:gd name="T57" fmla="*/ 2 h 191"/>
                <a:gd name="T58" fmla="*/ 4 w 189"/>
                <a:gd name="T59" fmla="*/ 2 h 191"/>
                <a:gd name="T60" fmla="*/ 4 w 189"/>
                <a:gd name="T61" fmla="*/ 1 h 191"/>
                <a:gd name="T62" fmla="*/ 4 w 189"/>
                <a:gd name="T63" fmla="*/ 1 h 191"/>
                <a:gd name="T64" fmla="*/ 4 w 189"/>
                <a:gd name="T65" fmla="*/ 1 h 191"/>
                <a:gd name="T66" fmla="*/ 4 w 189"/>
                <a:gd name="T67" fmla="*/ 1 h 191"/>
                <a:gd name="T68" fmla="*/ 5 w 189"/>
                <a:gd name="T69" fmla="*/ 1 h 191"/>
                <a:gd name="T70" fmla="*/ 5 w 189"/>
                <a:gd name="T71" fmla="*/ 1 h 191"/>
                <a:gd name="T72" fmla="*/ 5 w 189"/>
                <a:gd name="T73" fmla="*/ 1 h 191"/>
                <a:gd name="T74" fmla="*/ 4 w 189"/>
                <a:gd name="T75" fmla="*/ 1 h 191"/>
                <a:gd name="T76" fmla="*/ 4 w 189"/>
                <a:gd name="T77" fmla="*/ 1 h 191"/>
                <a:gd name="T78" fmla="*/ 4 w 189"/>
                <a:gd name="T79" fmla="*/ 1 h 191"/>
                <a:gd name="T80" fmla="*/ 4 w 189"/>
                <a:gd name="T81" fmla="*/ 1 h 191"/>
                <a:gd name="T82" fmla="*/ 4 w 189"/>
                <a:gd name="T83" fmla="*/ 1 h 191"/>
                <a:gd name="T84" fmla="*/ 3 w 189"/>
                <a:gd name="T85" fmla="*/ 1 h 191"/>
                <a:gd name="T86" fmla="*/ 3 w 189"/>
                <a:gd name="T87" fmla="*/ 1 h 191"/>
                <a:gd name="T88" fmla="*/ 3 w 189"/>
                <a:gd name="T89" fmla="*/ 1 h 191"/>
                <a:gd name="T90" fmla="*/ 3 w 189"/>
                <a:gd name="T91" fmla="*/ 0 h 19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89"/>
                <a:gd name="T139" fmla="*/ 0 h 191"/>
                <a:gd name="T140" fmla="*/ 189 w 189"/>
                <a:gd name="T141" fmla="*/ 191 h 19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89" h="191">
                  <a:moveTo>
                    <a:pt x="111" y="0"/>
                  </a:moveTo>
                  <a:lnTo>
                    <a:pt x="97" y="7"/>
                  </a:lnTo>
                  <a:lnTo>
                    <a:pt x="92" y="26"/>
                  </a:lnTo>
                  <a:lnTo>
                    <a:pt x="73" y="35"/>
                  </a:lnTo>
                  <a:lnTo>
                    <a:pt x="69" y="45"/>
                  </a:lnTo>
                  <a:lnTo>
                    <a:pt x="54" y="45"/>
                  </a:lnTo>
                  <a:lnTo>
                    <a:pt x="50" y="35"/>
                  </a:lnTo>
                  <a:lnTo>
                    <a:pt x="40" y="35"/>
                  </a:lnTo>
                  <a:lnTo>
                    <a:pt x="50" y="59"/>
                  </a:lnTo>
                  <a:lnTo>
                    <a:pt x="31" y="61"/>
                  </a:lnTo>
                  <a:lnTo>
                    <a:pt x="26" y="54"/>
                  </a:lnTo>
                  <a:lnTo>
                    <a:pt x="0" y="61"/>
                  </a:lnTo>
                  <a:lnTo>
                    <a:pt x="0" y="73"/>
                  </a:lnTo>
                  <a:lnTo>
                    <a:pt x="33" y="82"/>
                  </a:lnTo>
                  <a:lnTo>
                    <a:pt x="52" y="111"/>
                  </a:lnTo>
                  <a:lnTo>
                    <a:pt x="54" y="120"/>
                  </a:lnTo>
                  <a:lnTo>
                    <a:pt x="50" y="165"/>
                  </a:lnTo>
                  <a:lnTo>
                    <a:pt x="43" y="167"/>
                  </a:lnTo>
                  <a:lnTo>
                    <a:pt x="64" y="182"/>
                  </a:lnTo>
                  <a:lnTo>
                    <a:pt x="116" y="191"/>
                  </a:lnTo>
                  <a:lnTo>
                    <a:pt x="116" y="177"/>
                  </a:lnTo>
                  <a:lnTo>
                    <a:pt x="130" y="167"/>
                  </a:lnTo>
                  <a:lnTo>
                    <a:pt x="156" y="177"/>
                  </a:lnTo>
                  <a:lnTo>
                    <a:pt x="166" y="177"/>
                  </a:lnTo>
                  <a:lnTo>
                    <a:pt x="182" y="160"/>
                  </a:lnTo>
                  <a:lnTo>
                    <a:pt x="170" y="139"/>
                  </a:lnTo>
                  <a:lnTo>
                    <a:pt x="173" y="118"/>
                  </a:lnTo>
                  <a:lnTo>
                    <a:pt x="170" y="106"/>
                  </a:lnTo>
                  <a:lnTo>
                    <a:pt x="163" y="111"/>
                  </a:lnTo>
                  <a:lnTo>
                    <a:pt x="158" y="106"/>
                  </a:lnTo>
                  <a:lnTo>
                    <a:pt x="173" y="82"/>
                  </a:lnTo>
                  <a:lnTo>
                    <a:pt x="182" y="80"/>
                  </a:lnTo>
                  <a:lnTo>
                    <a:pt x="189" y="54"/>
                  </a:lnTo>
                  <a:lnTo>
                    <a:pt x="163" y="38"/>
                  </a:lnTo>
                  <a:lnTo>
                    <a:pt x="154" y="35"/>
                  </a:lnTo>
                  <a:lnTo>
                    <a:pt x="144" y="33"/>
                  </a:lnTo>
                  <a:lnTo>
                    <a:pt x="144" y="23"/>
                  </a:lnTo>
                  <a:lnTo>
                    <a:pt x="135" y="26"/>
                  </a:lnTo>
                  <a:lnTo>
                    <a:pt x="130" y="19"/>
                  </a:lnTo>
                  <a:lnTo>
                    <a:pt x="111" y="7"/>
                  </a:lnTo>
                  <a:lnTo>
                    <a:pt x="111" y="2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76" name="Freeform 104"/>
            <p:cNvSpPr>
              <a:spLocks/>
            </p:cNvSpPr>
            <p:nvPr/>
          </p:nvSpPr>
          <p:spPr bwMode="auto">
            <a:xfrm>
              <a:off x="3783" y="2999"/>
              <a:ext cx="108" cy="77"/>
            </a:xfrm>
            <a:custGeom>
              <a:avLst/>
              <a:gdLst>
                <a:gd name="T0" fmla="*/ 1 w 182"/>
                <a:gd name="T1" fmla="*/ 1 h 149"/>
                <a:gd name="T2" fmla="*/ 1 w 182"/>
                <a:gd name="T3" fmla="*/ 1 h 149"/>
                <a:gd name="T4" fmla="*/ 1 w 182"/>
                <a:gd name="T5" fmla="*/ 1 h 149"/>
                <a:gd name="T6" fmla="*/ 1 w 182"/>
                <a:gd name="T7" fmla="*/ 1 h 149"/>
                <a:gd name="T8" fmla="*/ 1 w 182"/>
                <a:gd name="T9" fmla="*/ 1 h 149"/>
                <a:gd name="T10" fmla="*/ 1 w 182"/>
                <a:gd name="T11" fmla="*/ 1 h 149"/>
                <a:gd name="T12" fmla="*/ 1 w 182"/>
                <a:gd name="T13" fmla="*/ 1 h 149"/>
                <a:gd name="T14" fmla="*/ 1 w 182"/>
                <a:gd name="T15" fmla="*/ 2 h 149"/>
                <a:gd name="T16" fmla="*/ 1 w 182"/>
                <a:gd name="T17" fmla="*/ 2 h 149"/>
                <a:gd name="T18" fmla="*/ 1 w 182"/>
                <a:gd name="T19" fmla="*/ 2 h 149"/>
                <a:gd name="T20" fmla="*/ 2 w 182"/>
                <a:gd name="T21" fmla="*/ 2 h 149"/>
                <a:gd name="T22" fmla="*/ 3 w 182"/>
                <a:gd name="T23" fmla="*/ 2 h 149"/>
                <a:gd name="T24" fmla="*/ 4 w 182"/>
                <a:gd name="T25" fmla="*/ 1 h 149"/>
                <a:gd name="T26" fmla="*/ 3 w 182"/>
                <a:gd name="T27" fmla="*/ 1 h 149"/>
                <a:gd name="T28" fmla="*/ 4 w 182"/>
                <a:gd name="T29" fmla="*/ 1 h 149"/>
                <a:gd name="T30" fmla="*/ 5 w 182"/>
                <a:gd name="T31" fmla="*/ 1 h 149"/>
                <a:gd name="T32" fmla="*/ 5 w 182"/>
                <a:gd name="T33" fmla="*/ 1 h 149"/>
                <a:gd name="T34" fmla="*/ 5 w 182"/>
                <a:gd name="T35" fmla="*/ 1 h 149"/>
                <a:gd name="T36" fmla="*/ 3 w 182"/>
                <a:gd name="T37" fmla="*/ 1 h 149"/>
                <a:gd name="T38" fmla="*/ 3 w 182"/>
                <a:gd name="T39" fmla="*/ 1 h 149"/>
                <a:gd name="T40" fmla="*/ 3 w 182"/>
                <a:gd name="T41" fmla="*/ 1 h 149"/>
                <a:gd name="T42" fmla="*/ 3 w 182"/>
                <a:gd name="T43" fmla="*/ 1 h 149"/>
                <a:gd name="T44" fmla="*/ 2 w 182"/>
                <a:gd name="T45" fmla="*/ 1 h 149"/>
                <a:gd name="T46" fmla="*/ 2 w 182"/>
                <a:gd name="T47" fmla="*/ 1 h 149"/>
                <a:gd name="T48" fmla="*/ 1 w 182"/>
                <a:gd name="T49" fmla="*/ 0 h 149"/>
                <a:gd name="T50" fmla="*/ 1 w 182"/>
                <a:gd name="T51" fmla="*/ 1 h 149"/>
                <a:gd name="T52" fmla="*/ 1 w 182"/>
                <a:gd name="T53" fmla="*/ 1 h 149"/>
                <a:gd name="T54" fmla="*/ 0 w 182"/>
                <a:gd name="T55" fmla="*/ 1 h 149"/>
                <a:gd name="T56" fmla="*/ 1 w 182"/>
                <a:gd name="T57" fmla="*/ 1 h 149"/>
                <a:gd name="T58" fmla="*/ 1 w 182"/>
                <a:gd name="T59" fmla="*/ 1 h 14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82"/>
                <a:gd name="T91" fmla="*/ 0 h 149"/>
                <a:gd name="T92" fmla="*/ 182 w 182"/>
                <a:gd name="T93" fmla="*/ 149 h 14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82" h="149">
                  <a:moveTo>
                    <a:pt x="9" y="35"/>
                  </a:moveTo>
                  <a:lnTo>
                    <a:pt x="43" y="38"/>
                  </a:lnTo>
                  <a:lnTo>
                    <a:pt x="45" y="45"/>
                  </a:lnTo>
                  <a:lnTo>
                    <a:pt x="38" y="56"/>
                  </a:lnTo>
                  <a:lnTo>
                    <a:pt x="38" y="73"/>
                  </a:lnTo>
                  <a:lnTo>
                    <a:pt x="28" y="82"/>
                  </a:lnTo>
                  <a:lnTo>
                    <a:pt x="33" y="108"/>
                  </a:lnTo>
                  <a:lnTo>
                    <a:pt x="28" y="127"/>
                  </a:lnTo>
                  <a:lnTo>
                    <a:pt x="54" y="149"/>
                  </a:lnTo>
                  <a:lnTo>
                    <a:pt x="69" y="137"/>
                  </a:lnTo>
                  <a:lnTo>
                    <a:pt x="104" y="137"/>
                  </a:lnTo>
                  <a:lnTo>
                    <a:pt x="139" y="99"/>
                  </a:lnTo>
                  <a:lnTo>
                    <a:pt x="130" y="85"/>
                  </a:lnTo>
                  <a:lnTo>
                    <a:pt x="151" y="56"/>
                  </a:lnTo>
                  <a:lnTo>
                    <a:pt x="182" y="38"/>
                  </a:lnTo>
                  <a:lnTo>
                    <a:pt x="182" y="28"/>
                  </a:lnTo>
                  <a:lnTo>
                    <a:pt x="130" y="19"/>
                  </a:lnTo>
                  <a:lnTo>
                    <a:pt x="109" y="4"/>
                  </a:lnTo>
                  <a:lnTo>
                    <a:pt x="104" y="9"/>
                  </a:lnTo>
                  <a:lnTo>
                    <a:pt x="83" y="4"/>
                  </a:lnTo>
                  <a:lnTo>
                    <a:pt x="71" y="9"/>
                  </a:lnTo>
                  <a:lnTo>
                    <a:pt x="17" y="0"/>
                  </a:lnTo>
                  <a:lnTo>
                    <a:pt x="12" y="9"/>
                  </a:lnTo>
                  <a:lnTo>
                    <a:pt x="2" y="9"/>
                  </a:lnTo>
                  <a:lnTo>
                    <a:pt x="0" y="14"/>
                  </a:lnTo>
                  <a:lnTo>
                    <a:pt x="9" y="35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77" name="Freeform 105"/>
            <p:cNvSpPr>
              <a:spLocks/>
            </p:cNvSpPr>
            <p:nvPr/>
          </p:nvSpPr>
          <p:spPr bwMode="auto">
            <a:xfrm>
              <a:off x="3782" y="3017"/>
              <a:ext cx="28" cy="50"/>
            </a:xfrm>
            <a:custGeom>
              <a:avLst/>
              <a:gdLst>
                <a:gd name="T0" fmla="*/ 1 w 47"/>
                <a:gd name="T1" fmla="*/ 1 h 95"/>
                <a:gd name="T2" fmla="*/ 1 w 47"/>
                <a:gd name="T3" fmla="*/ 1 h 95"/>
                <a:gd name="T4" fmla="*/ 1 w 47"/>
                <a:gd name="T5" fmla="*/ 1 h 95"/>
                <a:gd name="T6" fmla="*/ 1 w 47"/>
                <a:gd name="T7" fmla="*/ 1 h 95"/>
                <a:gd name="T8" fmla="*/ 1 w 47"/>
                <a:gd name="T9" fmla="*/ 1 h 95"/>
                <a:gd name="T10" fmla="*/ 1 w 47"/>
                <a:gd name="T11" fmla="*/ 1 h 95"/>
                <a:gd name="T12" fmla="*/ 1 w 47"/>
                <a:gd name="T13" fmla="*/ 1 h 95"/>
                <a:gd name="T14" fmla="*/ 1 w 47"/>
                <a:gd name="T15" fmla="*/ 0 h 95"/>
                <a:gd name="T16" fmla="*/ 1 w 47"/>
                <a:gd name="T17" fmla="*/ 0 h 95"/>
                <a:gd name="T18" fmla="*/ 1 w 47"/>
                <a:gd name="T19" fmla="*/ 1 h 95"/>
                <a:gd name="T20" fmla="*/ 0 w 47"/>
                <a:gd name="T21" fmla="*/ 1 h 95"/>
                <a:gd name="T22" fmla="*/ 1 w 47"/>
                <a:gd name="T23" fmla="*/ 1 h 95"/>
                <a:gd name="T24" fmla="*/ 1 w 47"/>
                <a:gd name="T25" fmla="*/ 1 h 95"/>
                <a:gd name="T26" fmla="*/ 1 w 47"/>
                <a:gd name="T27" fmla="*/ 1 h 95"/>
                <a:gd name="T28" fmla="*/ 1 w 47"/>
                <a:gd name="T29" fmla="*/ 1 h 9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7"/>
                <a:gd name="T46" fmla="*/ 0 h 95"/>
                <a:gd name="T47" fmla="*/ 47 w 47"/>
                <a:gd name="T48" fmla="*/ 95 h 9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7" h="95">
                  <a:moveTo>
                    <a:pt x="30" y="92"/>
                  </a:moveTo>
                  <a:lnTo>
                    <a:pt x="35" y="73"/>
                  </a:lnTo>
                  <a:lnTo>
                    <a:pt x="30" y="47"/>
                  </a:lnTo>
                  <a:lnTo>
                    <a:pt x="40" y="38"/>
                  </a:lnTo>
                  <a:lnTo>
                    <a:pt x="40" y="21"/>
                  </a:lnTo>
                  <a:lnTo>
                    <a:pt x="47" y="10"/>
                  </a:lnTo>
                  <a:lnTo>
                    <a:pt x="45" y="3"/>
                  </a:lnTo>
                  <a:lnTo>
                    <a:pt x="11" y="0"/>
                  </a:lnTo>
                  <a:lnTo>
                    <a:pt x="9" y="17"/>
                  </a:lnTo>
                  <a:lnTo>
                    <a:pt x="0" y="62"/>
                  </a:lnTo>
                  <a:lnTo>
                    <a:pt x="9" y="69"/>
                  </a:lnTo>
                  <a:lnTo>
                    <a:pt x="4" y="95"/>
                  </a:lnTo>
                  <a:lnTo>
                    <a:pt x="30" y="92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78" name="Freeform 106"/>
            <p:cNvSpPr>
              <a:spLocks/>
            </p:cNvSpPr>
            <p:nvPr/>
          </p:nvSpPr>
          <p:spPr bwMode="auto">
            <a:xfrm>
              <a:off x="3923" y="2962"/>
              <a:ext cx="104" cy="96"/>
            </a:xfrm>
            <a:custGeom>
              <a:avLst/>
              <a:gdLst>
                <a:gd name="T0" fmla="*/ 1 w 175"/>
                <a:gd name="T1" fmla="*/ 1 h 184"/>
                <a:gd name="T2" fmla="*/ 1 w 175"/>
                <a:gd name="T3" fmla="*/ 1 h 184"/>
                <a:gd name="T4" fmla="*/ 1 w 175"/>
                <a:gd name="T5" fmla="*/ 1 h 184"/>
                <a:gd name="T6" fmla="*/ 2 w 175"/>
                <a:gd name="T7" fmla="*/ 1 h 184"/>
                <a:gd name="T8" fmla="*/ 2 w 175"/>
                <a:gd name="T9" fmla="*/ 1 h 184"/>
                <a:gd name="T10" fmla="*/ 2 w 175"/>
                <a:gd name="T11" fmla="*/ 2 h 184"/>
                <a:gd name="T12" fmla="*/ 2 w 175"/>
                <a:gd name="T13" fmla="*/ 2 h 184"/>
                <a:gd name="T14" fmla="*/ 3 w 175"/>
                <a:gd name="T15" fmla="*/ 2 h 184"/>
                <a:gd name="T16" fmla="*/ 4 w 175"/>
                <a:gd name="T17" fmla="*/ 2 h 184"/>
                <a:gd name="T18" fmla="*/ 4 w 175"/>
                <a:gd name="T19" fmla="*/ 2 h 184"/>
                <a:gd name="T20" fmla="*/ 4 w 175"/>
                <a:gd name="T21" fmla="*/ 2 h 184"/>
                <a:gd name="T22" fmla="*/ 4 w 175"/>
                <a:gd name="T23" fmla="*/ 2 h 184"/>
                <a:gd name="T24" fmla="*/ 4 w 175"/>
                <a:gd name="T25" fmla="*/ 2 h 184"/>
                <a:gd name="T26" fmla="*/ 4 w 175"/>
                <a:gd name="T27" fmla="*/ 2 h 184"/>
                <a:gd name="T28" fmla="*/ 4 w 175"/>
                <a:gd name="T29" fmla="*/ 2 h 184"/>
                <a:gd name="T30" fmla="*/ 4 w 175"/>
                <a:gd name="T31" fmla="*/ 2 h 184"/>
                <a:gd name="T32" fmla="*/ 4 w 175"/>
                <a:gd name="T33" fmla="*/ 2 h 184"/>
                <a:gd name="T34" fmla="*/ 4 w 175"/>
                <a:gd name="T35" fmla="*/ 2 h 184"/>
                <a:gd name="T36" fmla="*/ 5 w 175"/>
                <a:gd name="T37" fmla="*/ 2 h 184"/>
                <a:gd name="T38" fmla="*/ 4 w 175"/>
                <a:gd name="T39" fmla="*/ 2 h 184"/>
                <a:gd name="T40" fmla="*/ 4 w 175"/>
                <a:gd name="T41" fmla="*/ 1 h 184"/>
                <a:gd name="T42" fmla="*/ 4 w 175"/>
                <a:gd name="T43" fmla="*/ 1 h 184"/>
                <a:gd name="T44" fmla="*/ 3 w 175"/>
                <a:gd name="T45" fmla="*/ 1 h 184"/>
                <a:gd name="T46" fmla="*/ 2 w 175"/>
                <a:gd name="T47" fmla="*/ 1 h 184"/>
                <a:gd name="T48" fmla="*/ 2 w 175"/>
                <a:gd name="T49" fmla="*/ 1 h 184"/>
                <a:gd name="T50" fmla="*/ 2 w 175"/>
                <a:gd name="T51" fmla="*/ 1 h 184"/>
                <a:gd name="T52" fmla="*/ 2 w 175"/>
                <a:gd name="T53" fmla="*/ 1 h 184"/>
                <a:gd name="T54" fmla="*/ 2 w 175"/>
                <a:gd name="T55" fmla="*/ 1 h 184"/>
                <a:gd name="T56" fmla="*/ 3 w 175"/>
                <a:gd name="T57" fmla="*/ 1 h 184"/>
                <a:gd name="T58" fmla="*/ 2 w 175"/>
                <a:gd name="T59" fmla="*/ 1 h 184"/>
                <a:gd name="T60" fmla="*/ 3 w 175"/>
                <a:gd name="T61" fmla="*/ 1 h 184"/>
                <a:gd name="T62" fmla="*/ 2 w 175"/>
                <a:gd name="T63" fmla="*/ 1 h 184"/>
                <a:gd name="T64" fmla="*/ 2 w 175"/>
                <a:gd name="T65" fmla="*/ 0 h 184"/>
                <a:gd name="T66" fmla="*/ 1 w 175"/>
                <a:gd name="T67" fmla="*/ 1 h 184"/>
                <a:gd name="T68" fmla="*/ 1 w 175"/>
                <a:gd name="T69" fmla="*/ 1 h 184"/>
                <a:gd name="T70" fmla="*/ 1 w 175"/>
                <a:gd name="T71" fmla="*/ 1 h 184"/>
                <a:gd name="T72" fmla="*/ 1 w 175"/>
                <a:gd name="T73" fmla="*/ 1 h 184"/>
                <a:gd name="T74" fmla="*/ 1 w 175"/>
                <a:gd name="T75" fmla="*/ 1 h 184"/>
                <a:gd name="T76" fmla="*/ 1 w 175"/>
                <a:gd name="T77" fmla="*/ 1 h 184"/>
                <a:gd name="T78" fmla="*/ 1 w 175"/>
                <a:gd name="T79" fmla="*/ 1 h 184"/>
                <a:gd name="T80" fmla="*/ 1 w 175"/>
                <a:gd name="T81" fmla="*/ 1 h 184"/>
                <a:gd name="T82" fmla="*/ 0 w 175"/>
                <a:gd name="T83" fmla="*/ 1 h 184"/>
                <a:gd name="T84" fmla="*/ 1 w 175"/>
                <a:gd name="T85" fmla="*/ 1 h 184"/>
                <a:gd name="T86" fmla="*/ 1 w 175"/>
                <a:gd name="T87" fmla="*/ 1 h 18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75"/>
                <a:gd name="T133" fmla="*/ 0 h 184"/>
                <a:gd name="T134" fmla="*/ 175 w 175"/>
                <a:gd name="T135" fmla="*/ 184 h 18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75" h="184">
                  <a:moveTo>
                    <a:pt x="12" y="68"/>
                  </a:moveTo>
                  <a:lnTo>
                    <a:pt x="29" y="59"/>
                  </a:lnTo>
                  <a:lnTo>
                    <a:pt x="50" y="66"/>
                  </a:lnTo>
                  <a:lnTo>
                    <a:pt x="64" y="99"/>
                  </a:lnTo>
                  <a:lnTo>
                    <a:pt x="71" y="99"/>
                  </a:lnTo>
                  <a:lnTo>
                    <a:pt x="85" y="116"/>
                  </a:lnTo>
                  <a:lnTo>
                    <a:pt x="102" y="120"/>
                  </a:lnTo>
                  <a:lnTo>
                    <a:pt x="123" y="142"/>
                  </a:lnTo>
                  <a:lnTo>
                    <a:pt x="135" y="146"/>
                  </a:lnTo>
                  <a:lnTo>
                    <a:pt x="140" y="168"/>
                  </a:lnTo>
                  <a:lnTo>
                    <a:pt x="135" y="184"/>
                  </a:lnTo>
                  <a:lnTo>
                    <a:pt x="140" y="184"/>
                  </a:lnTo>
                  <a:lnTo>
                    <a:pt x="147" y="168"/>
                  </a:lnTo>
                  <a:lnTo>
                    <a:pt x="154" y="165"/>
                  </a:lnTo>
                  <a:lnTo>
                    <a:pt x="154" y="156"/>
                  </a:lnTo>
                  <a:lnTo>
                    <a:pt x="147" y="151"/>
                  </a:lnTo>
                  <a:lnTo>
                    <a:pt x="151" y="137"/>
                  </a:lnTo>
                  <a:lnTo>
                    <a:pt x="173" y="149"/>
                  </a:lnTo>
                  <a:lnTo>
                    <a:pt x="175" y="142"/>
                  </a:lnTo>
                  <a:lnTo>
                    <a:pt x="135" y="116"/>
                  </a:lnTo>
                  <a:lnTo>
                    <a:pt x="140" y="109"/>
                  </a:lnTo>
                  <a:lnTo>
                    <a:pt x="128" y="109"/>
                  </a:lnTo>
                  <a:lnTo>
                    <a:pt x="111" y="99"/>
                  </a:lnTo>
                  <a:lnTo>
                    <a:pt x="102" y="78"/>
                  </a:lnTo>
                  <a:lnTo>
                    <a:pt x="83" y="61"/>
                  </a:lnTo>
                  <a:lnTo>
                    <a:pt x="81" y="33"/>
                  </a:lnTo>
                  <a:lnTo>
                    <a:pt x="95" y="28"/>
                  </a:lnTo>
                  <a:lnTo>
                    <a:pt x="102" y="31"/>
                  </a:lnTo>
                  <a:lnTo>
                    <a:pt x="107" y="31"/>
                  </a:lnTo>
                  <a:lnTo>
                    <a:pt x="102" y="21"/>
                  </a:lnTo>
                  <a:lnTo>
                    <a:pt x="104" y="12"/>
                  </a:lnTo>
                  <a:lnTo>
                    <a:pt x="83" y="5"/>
                  </a:lnTo>
                  <a:lnTo>
                    <a:pt x="81" y="0"/>
                  </a:lnTo>
                  <a:lnTo>
                    <a:pt x="55" y="5"/>
                  </a:lnTo>
                  <a:lnTo>
                    <a:pt x="50" y="16"/>
                  </a:lnTo>
                  <a:lnTo>
                    <a:pt x="40" y="14"/>
                  </a:lnTo>
                  <a:lnTo>
                    <a:pt x="33" y="24"/>
                  </a:lnTo>
                  <a:lnTo>
                    <a:pt x="26" y="16"/>
                  </a:lnTo>
                  <a:lnTo>
                    <a:pt x="5" y="26"/>
                  </a:lnTo>
                  <a:lnTo>
                    <a:pt x="3" y="26"/>
                  </a:lnTo>
                  <a:lnTo>
                    <a:pt x="0" y="47"/>
                  </a:lnTo>
                  <a:lnTo>
                    <a:pt x="12" y="68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79" name="Freeform 107"/>
            <p:cNvSpPr>
              <a:spLocks/>
            </p:cNvSpPr>
            <p:nvPr/>
          </p:nvSpPr>
          <p:spPr bwMode="auto">
            <a:xfrm>
              <a:off x="4042" y="2948"/>
              <a:ext cx="84" cy="52"/>
            </a:xfrm>
            <a:custGeom>
              <a:avLst/>
              <a:gdLst>
                <a:gd name="T0" fmla="*/ 1 w 142"/>
                <a:gd name="T1" fmla="*/ 1 h 99"/>
                <a:gd name="T2" fmla="*/ 1 w 142"/>
                <a:gd name="T3" fmla="*/ 1 h 99"/>
                <a:gd name="T4" fmla="*/ 1 w 142"/>
                <a:gd name="T5" fmla="*/ 1 h 99"/>
                <a:gd name="T6" fmla="*/ 1 w 142"/>
                <a:gd name="T7" fmla="*/ 1 h 99"/>
                <a:gd name="T8" fmla="*/ 1 w 142"/>
                <a:gd name="T9" fmla="*/ 1 h 99"/>
                <a:gd name="T10" fmla="*/ 2 w 142"/>
                <a:gd name="T11" fmla="*/ 1 h 99"/>
                <a:gd name="T12" fmla="*/ 2 w 142"/>
                <a:gd name="T13" fmla="*/ 1 h 99"/>
                <a:gd name="T14" fmla="*/ 3 w 142"/>
                <a:gd name="T15" fmla="*/ 1 h 99"/>
                <a:gd name="T16" fmla="*/ 3 w 142"/>
                <a:gd name="T17" fmla="*/ 1 h 99"/>
                <a:gd name="T18" fmla="*/ 3 w 142"/>
                <a:gd name="T19" fmla="*/ 1 h 99"/>
                <a:gd name="T20" fmla="*/ 4 w 142"/>
                <a:gd name="T21" fmla="*/ 1 h 99"/>
                <a:gd name="T22" fmla="*/ 4 w 142"/>
                <a:gd name="T23" fmla="*/ 1 h 99"/>
                <a:gd name="T24" fmla="*/ 4 w 142"/>
                <a:gd name="T25" fmla="*/ 1 h 99"/>
                <a:gd name="T26" fmla="*/ 3 w 142"/>
                <a:gd name="T27" fmla="*/ 1 h 99"/>
                <a:gd name="T28" fmla="*/ 3 w 142"/>
                <a:gd name="T29" fmla="*/ 1 h 99"/>
                <a:gd name="T30" fmla="*/ 3 w 142"/>
                <a:gd name="T31" fmla="*/ 1 h 99"/>
                <a:gd name="T32" fmla="*/ 2 w 142"/>
                <a:gd name="T33" fmla="*/ 1 h 99"/>
                <a:gd name="T34" fmla="*/ 2 w 142"/>
                <a:gd name="T35" fmla="*/ 0 h 99"/>
                <a:gd name="T36" fmla="*/ 2 w 142"/>
                <a:gd name="T37" fmla="*/ 1 h 99"/>
                <a:gd name="T38" fmla="*/ 2 w 142"/>
                <a:gd name="T39" fmla="*/ 1 h 99"/>
                <a:gd name="T40" fmla="*/ 1 w 142"/>
                <a:gd name="T41" fmla="*/ 1 h 99"/>
                <a:gd name="T42" fmla="*/ 1 w 142"/>
                <a:gd name="T43" fmla="*/ 1 h 99"/>
                <a:gd name="T44" fmla="*/ 1 w 142"/>
                <a:gd name="T45" fmla="*/ 1 h 99"/>
                <a:gd name="T46" fmla="*/ 0 w 142"/>
                <a:gd name="T47" fmla="*/ 1 h 99"/>
                <a:gd name="T48" fmla="*/ 1 w 142"/>
                <a:gd name="T49" fmla="*/ 1 h 9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42"/>
                <a:gd name="T76" fmla="*/ 0 h 99"/>
                <a:gd name="T77" fmla="*/ 142 w 142"/>
                <a:gd name="T78" fmla="*/ 99 h 9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42" h="99">
                  <a:moveTo>
                    <a:pt x="19" y="73"/>
                  </a:moveTo>
                  <a:lnTo>
                    <a:pt x="33" y="78"/>
                  </a:lnTo>
                  <a:lnTo>
                    <a:pt x="38" y="87"/>
                  </a:lnTo>
                  <a:lnTo>
                    <a:pt x="40" y="92"/>
                  </a:lnTo>
                  <a:lnTo>
                    <a:pt x="57" y="97"/>
                  </a:lnTo>
                  <a:lnTo>
                    <a:pt x="78" y="99"/>
                  </a:lnTo>
                  <a:lnTo>
                    <a:pt x="102" y="87"/>
                  </a:lnTo>
                  <a:lnTo>
                    <a:pt x="128" y="97"/>
                  </a:lnTo>
                  <a:lnTo>
                    <a:pt x="128" y="85"/>
                  </a:lnTo>
                  <a:lnTo>
                    <a:pt x="139" y="73"/>
                  </a:lnTo>
                  <a:lnTo>
                    <a:pt x="142" y="64"/>
                  </a:lnTo>
                  <a:lnTo>
                    <a:pt x="123" y="64"/>
                  </a:lnTo>
                  <a:lnTo>
                    <a:pt x="123" y="54"/>
                  </a:lnTo>
                  <a:lnTo>
                    <a:pt x="118" y="31"/>
                  </a:lnTo>
                  <a:lnTo>
                    <a:pt x="102" y="2"/>
                  </a:lnTo>
                  <a:lnTo>
                    <a:pt x="95" y="0"/>
                  </a:lnTo>
                  <a:lnTo>
                    <a:pt x="71" y="9"/>
                  </a:lnTo>
                  <a:lnTo>
                    <a:pt x="66" y="5"/>
                  </a:lnTo>
                  <a:lnTo>
                    <a:pt x="38" y="7"/>
                  </a:lnTo>
                  <a:lnTo>
                    <a:pt x="28" y="12"/>
                  </a:lnTo>
                  <a:lnTo>
                    <a:pt x="14" y="42"/>
                  </a:lnTo>
                  <a:lnTo>
                    <a:pt x="0" y="47"/>
                  </a:lnTo>
                  <a:lnTo>
                    <a:pt x="19" y="73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0" name="Freeform 108"/>
            <p:cNvSpPr>
              <a:spLocks/>
            </p:cNvSpPr>
            <p:nvPr/>
          </p:nvSpPr>
          <p:spPr bwMode="auto">
            <a:xfrm>
              <a:off x="4093" y="3017"/>
              <a:ext cx="168" cy="61"/>
            </a:xfrm>
            <a:custGeom>
              <a:avLst/>
              <a:gdLst>
                <a:gd name="T0" fmla="*/ 7 w 284"/>
                <a:gd name="T1" fmla="*/ 1 h 116"/>
                <a:gd name="T2" fmla="*/ 6 w 284"/>
                <a:gd name="T3" fmla="*/ 1 h 116"/>
                <a:gd name="T4" fmla="*/ 5 w 284"/>
                <a:gd name="T5" fmla="*/ 1 h 116"/>
                <a:gd name="T6" fmla="*/ 4 w 284"/>
                <a:gd name="T7" fmla="*/ 0 h 116"/>
                <a:gd name="T8" fmla="*/ 2 w 284"/>
                <a:gd name="T9" fmla="*/ 1 h 116"/>
                <a:gd name="T10" fmla="*/ 1 w 284"/>
                <a:gd name="T11" fmla="*/ 1 h 116"/>
                <a:gd name="T12" fmla="*/ 1 w 284"/>
                <a:gd name="T13" fmla="*/ 1 h 116"/>
                <a:gd name="T14" fmla="*/ 1 w 284"/>
                <a:gd name="T15" fmla="*/ 1 h 116"/>
                <a:gd name="T16" fmla="*/ 1 w 284"/>
                <a:gd name="T17" fmla="*/ 1 h 116"/>
                <a:gd name="T18" fmla="*/ 0 w 284"/>
                <a:gd name="T19" fmla="*/ 1 h 116"/>
                <a:gd name="T20" fmla="*/ 1 w 284"/>
                <a:gd name="T21" fmla="*/ 1 h 116"/>
                <a:gd name="T22" fmla="*/ 1 w 284"/>
                <a:gd name="T23" fmla="*/ 1 h 116"/>
                <a:gd name="T24" fmla="*/ 1 w 284"/>
                <a:gd name="T25" fmla="*/ 1 h 116"/>
                <a:gd name="T26" fmla="*/ 1 w 284"/>
                <a:gd name="T27" fmla="*/ 1 h 116"/>
                <a:gd name="T28" fmla="*/ 1 w 284"/>
                <a:gd name="T29" fmla="*/ 1 h 116"/>
                <a:gd name="T30" fmla="*/ 1 w 284"/>
                <a:gd name="T31" fmla="*/ 1 h 116"/>
                <a:gd name="T32" fmla="*/ 1 w 284"/>
                <a:gd name="T33" fmla="*/ 1 h 116"/>
                <a:gd name="T34" fmla="*/ 1 w 284"/>
                <a:gd name="T35" fmla="*/ 1 h 116"/>
                <a:gd name="T36" fmla="*/ 1 w 284"/>
                <a:gd name="T37" fmla="*/ 1 h 116"/>
                <a:gd name="T38" fmla="*/ 1 w 284"/>
                <a:gd name="T39" fmla="*/ 1 h 116"/>
                <a:gd name="T40" fmla="*/ 1 w 284"/>
                <a:gd name="T41" fmla="*/ 1 h 116"/>
                <a:gd name="T42" fmla="*/ 2 w 284"/>
                <a:gd name="T43" fmla="*/ 1 h 116"/>
                <a:gd name="T44" fmla="*/ 2 w 284"/>
                <a:gd name="T45" fmla="*/ 2 h 116"/>
                <a:gd name="T46" fmla="*/ 3 w 284"/>
                <a:gd name="T47" fmla="*/ 1 h 116"/>
                <a:gd name="T48" fmla="*/ 4 w 284"/>
                <a:gd name="T49" fmla="*/ 1 h 116"/>
                <a:gd name="T50" fmla="*/ 4 w 284"/>
                <a:gd name="T51" fmla="*/ 2 h 116"/>
                <a:gd name="T52" fmla="*/ 4 w 284"/>
                <a:gd name="T53" fmla="*/ 1 h 116"/>
                <a:gd name="T54" fmla="*/ 5 w 284"/>
                <a:gd name="T55" fmla="*/ 1 h 116"/>
                <a:gd name="T56" fmla="*/ 7 w 284"/>
                <a:gd name="T57" fmla="*/ 1 h 116"/>
                <a:gd name="T58" fmla="*/ 7 w 284"/>
                <a:gd name="T59" fmla="*/ 1 h 116"/>
                <a:gd name="T60" fmla="*/ 7 w 284"/>
                <a:gd name="T61" fmla="*/ 1 h 116"/>
                <a:gd name="T62" fmla="*/ 7 w 284"/>
                <a:gd name="T63" fmla="*/ 1 h 11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84"/>
                <a:gd name="T97" fmla="*/ 0 h 116"/>
                <a:gd name="T98" fmla="*/ 284 w 284"/>
                <a:gd name="T99" fmla="*/ 116 h 11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84" h="116">
                  <a:moveTo>
                    <a:pt x="279" y="40"/>
                  </a:moveTo>
                  <a:lnTo>
                    <a:pt x="269" y="33"/>
                  </a:lnTo>
                  <a:lnTo>
                    <a:pt x="260" y="10"/>
                  </a:lnTo>
                  <a:lnTo>
                    <a:pt x="234" y="7"/>
                  </a:lnTo>
                  <a:lnTo>
                    <a:pt x="208" y="21"/>
                  </a:lnTo>
                  <a:lnTo>
                    <a:pt x="170" y="21"/>
                  </a:lnTo>
                  <a:lnTo>
                    <a:pt x="137" y="0"/>
                  </a:lnTo>
                  <a:lnTo>
                    <a:pt x="109" y="0"/>
                  </a:lnTo>
                  <a:lnTo>
                    <a:pt x="78" y="19"/>
                  </a:lnTo>
                  <a:lnTo>
                    <a:pt x="59" y="19"/>
                  </a:lnTo>
                  <a:lnTo>
                    <a:pt x="40" y="14"/>
                  </a:lnTo>
                  <a:lnTo>
                    <a:pt x="33" y="3"/>
                  </a:lnTo>
                  <a:lnTo>
                    <a:pt x="19" y="0"/>
                  </a:lnTo>
                  <a:lnTo>
                    <a:pt x="7" y="5"/>
                  </a:lnTo>
                  <a:lnTo>
                    <a:pt x="10" y="12"/>
                  </a:lnTo>
                  <a:lnTo>
                    <a:pt x="0" y="26"/>
                  </a:lnTo>
                  <a:lnTo>
                    <a:pt x="2" y="31"/>
                  </a:lnTo>
                  <a:lnTo>
                    <a:pt x="10" y="29"/>
                  </a:lnTo>
                  <a:lnTo>
                    <a:pt x="5" y="40"/>
                  </a:lnTo>
                  <a:lnTo>
                    <a:pt x="24" y="21"/>
                  </a:lnTo>
                  <a:lnTo>
                    <a:pt x="43" y="21"/>
                  </a:lnTo>
                  <a:lnTo>
                    <a:pt x="52" y="26"/>
                  </a:lnTo>
                  <a:lnTo>
                    <a:pt x="45" y="29"/>
                  </a:lnTo>
                  <a:lnTo>
                    <a:pt x="47" y="36"/>
                  </a:lnTo>
                  <a:lnTo>
                    <a:pt x="12" y="36"/>
                  </a:lnTo>
                  <a:lnTo>
                    <a:pt x="5" y="40"/>
                  </a:lnTo>
                  <a:lnTo>
                    <a:pt x="2" y="52"/>
                  </a:lnTo>
                  <a:lnTo>
                    <a:pt x="14" y="50"/>
                  </a:lnTo>
                  <a:lnTo>
                    <a:pt x="14" y="69"/>
                  </a:lnTo>
                  <a:lnTo>
                    <a:pt x="7" y="66"/>
                  </a:lnTo>
                  <a:lnTo>
                    <a:pt x="5" y="73"/>
                  </a:lnTo>
                  <a:lnTo>
                    <a:pt x="19" y="78"/>
                  </a:lnTo>
                  <a:lnTo>
                    <a:pt x="19" y="85"/>
                  </a:lnTo>
                  <a:lnTo>
                    <a:pt x="24" y="90"/>
                  </a:lnTo>
                  <a:lnTo>
                    <a:pt x="19" y="97"/>
                  </a:lnTo>
                  <a:lnTo>
                    <a:pt x="33" y="97"/>
                  </a:lnTo>
                  <a:lnTo>
                    <a:pt x="31" y="102"/>
                  </a:lnTo>
                  <a:lnTo>
                    <a:pt x="57" y="111"/>
                  </a:lnTo>
                  <a:lnTo>
                    <a:pt x="69" y="106"/>
                  </a:lnTo>
                  <a:lnTo>
                    <a:pt x="71" y="99"/>
                  </a:lnTo>
                  <a:lnTo>
                    <a:pt x="80" y="102"/>
                  </a:lnTo>
                  <a:lnTo>
                    <a:pt x="102" y="116"/>
                  </a:lnTo>
                  <a:lnTo>
                    <a:pt x="113" y="111"/>
                  </a:lnTo>
                  <a:lnTo>
                    <a:pt x="128" y="99"/>
                  </a:lnTo>
                  <a:lnTo>
                    <a:pt x="144" y="104"/>
                  </a:lnTo>
                  <a:lnTo>
                    <a:pt x="151" y="97"/>
                  </a:lnTo>
                  <a:lnTo>
                    <a:pt x="151" y="116"/>
                  </a:lnTo>
                  <a:lnTo>
                    <a:pt x="161" y="111"/>
                  </a:lnTo>
                  <a:lnTo>
                    <a:pt x="161" y="99"/>
                  </a:lnTo>
                  <a:lnTo>
                    <a:pt x="187" y="97"/>
                  </a:lnTo>
                  <a:lnTo>
                    <a:pt x="199" y="102"/>
                  </a:lnTo>
                  <a:lnTo>
                    <a:pt x="225" y="92"/>
                  </a:lnTo>
                  <a:lnTo>
                    <a:pt x="248" y="92"/>
                  </a:lnTo>
                  <a:lnTo>
                    <a:pt x="255" y="88"/>
                  </a:lnTo>
                  <a:lnTo>
                    <a:pt x="284" y="90"/>
                  </a:lnTo>
                  <a:lnTo>
                    <a:pt x="272" y="50"/>
                  </a:lnTo>
                  <a:lnTo>
                    <a:pt x="279" y="40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1" name="Freeform 109"/>
            <p:cNvSpPr>
              <a:spLocks/>
            </p:cNvSpPr>
            <p:nvPr/>
          </p:nvSpPr>
          <p:spPr bwMode="auto">
            <a:xfrm>
              <a:off x="4041" y="3020"/>
              <a:ext cx="57" cy="42"/>
            </a:xfrm>
            <a:custGeom>
              <a:avLst/>
              <a:gdLst>
                <a:gd name="T0" fmla="*/ 1 w 97"/>
                <a:gd name="T1" fmla="*/ 1 h 80"/>
                <a:gd name="T2" fmla="*/ 1 w 97"/>
                <a:gd name="T3" fmla="*/ 1 h 80"/>
                <a:gd name="T4" fmla="*/ 2 w 97"/>
                <a:gd name="T5" fmla="*/ 1 h 80"/>
                <a:gd name="T6" fmla="*/ 2 w 97"/>
                <a:gd name="T7" fmla="*/ 1 h 80"/>
                <a:gd name="T8" fmla="*/ 2 w 97"/>
                <a:gd name="T9" fmla="*/ 0 h 80"/>
                <a:gd name="T10" fmla="*/ 2 w 97"/>
                <a:gd name="T11" fmla="*/ 0 h 80"/>
                <a:gd name="T12" fmla="*/ 2 w 97"/>
                <a:gd name="T13" fmla="*/ 1 h 80"/>
                <a:gd name="T14" fmla="*/ 2 w 97"/>
                <a:gd name="T15" fmla="*/ 1 h 80"/>
                <a:gd name="T16" fmla="*/ 2 w 97"/>
                <a:gd name="T17" fmla="*/ 1 h 80"/>
                <a:gd name="T18" fmla="*/ 2 w 97"/>
                <a:gd name="T19" fmla="*/ 1 h 80"/>
                <a:gd name="T20" fmla="*/ 2 w 97"/>
                <a:gd name="T21" fmla="*/ 1 h 80"/>
                <a:gd name="T22" fmla="*/ 1 w 97"/>
                <a:gd name="T23" fmla="*/ 1 h 80"/>
                <a:gd name="T24" fmla="*/ 1 w 97"/>
                <a:gd name="T25" fmla="*/ 1 h 80"/>
                <a:gd name="T26" fmla="*/ 1 w 97"/>
                <a:gd name="T27" fmla="*/ 1 h 80"/>
                <a:gd name="T28" fmla="*/ 1 w 97"/>
                <a:gd name="T29" fmla="*/ 1 h 80"/>
                <a:gd name="T30" fmla="*/ 1 w 97"/>
                <a:gd name="T31" fmla="*/ 1 h 80"/>
                <a:gd name="T32" fmla="*/ 1 w 97"/>
                <a:gd name="T33" fmla="*/ 1 h 80"/>
                <a:gd name="T34" fmla="*/ 2 w 97"/>
                <a:gd name="T35" fmla="*/ 1 h 80"/>
                <a:gd name="T36" fmla="*/ 1 w 97"/>
                <a:gd name="T37" fmla="*/ 1 h 80"/>
                <a:gd name="T38" fmla="*/ 1 w 97"/>
                <a:gd name="T39" fmla="*/ 1 h 80"/>
                <a:gd name="T40" fmla="*/ 1 w 97"/>
                <a:gd name="T41" fmla="*/ 1 h 80"/>
                <a:gd name="T42" fmla="*/ 1 w 97"/>
                <a:gd name="T43" fmla="*/ 1 h 80"/>
                <a:gd name="T44" fmla="*/ 0 w 97"/>
                <a:gd name="T45" fmla="*/ 1 h 80"/>
                <a:gd name="T46" fmla="*/ 0 w 97"/>
                <a:gd name="T47" fmla="*/ 1 h 80"/>
                <a:gd name="T48" fmla="*/ 1 w 97"/>
                <a:gd name="T49" fmla="*/ 1 h 80"/>
                <a:gd name="T50" fmla="*/ 1 w 97"/>
                <a:gd name="T51" fmla="*/ 1 h 8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97"/>
                <a:gd name="T79" fmla="*/ 0 h 80"/>
                <a:gd name="T80" fmla="*/ 97 w 97"/>
                <a:gd name="T81" fmla="*/ 80 h 8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97" h="80">
                  <a:moveTo>
                    <a:pt x="16" y="16"/>
                  </a:moveTo>
                  <a:lnTo>
                    <a:pt x="42" y="7"/>
                  </a:lnTo>
                  <a:lnTo>
                    <a:pt x="66" y="2"/>
                  </a:lnTo>
                  <a:lnTo>
                    <a:pt x="82" y="9"/>
                  </a:lnTo>
                  <a:lnTo>
                    <a:pt x="94" y="0"/>
                  </a:lnTo>
                  <a:lnTo>
                    <a:pt x="97" y="7"/>
                  </a:lnTo>
                  <a:lnTo>
                    <a:pt x="87" y="21"/>
                  </a:lnTo>
                  <a:lnTo>
                    <a:pt x="85" y="19"/>
                  </a:lnTo>
                  <a:lnTo>
                    <a:pt x="63" y="16"/>
                  </a:lnTo>
                  <a:lnTo>
                    <a:pt x="52" y="21"/>
                  </a:lnTo>
                  <a:lnTo>
                    <a:pt x="52" y="31"/>
                  </a:lnTo>
                  <a:lnTo>
                    <a:pt x="45" y="31"/>
                  </a:lnTo>
                  <a:lnTo>
                    <a:pt x="37" y="24"/>
                  </a:lnTo>
                  <a:lnTo>
                    <a:pt x="35" y="35"/>
                  </a:lnTo>
                  <a:lnTo>
                    <a:pt x="49" y="54"/>
                  </a:lnTo>
                  <a:lnTo>
                    <a:pt x="68" y="73"/>
                  </a:lnTo>
                  <a:lnTo>
                    <a:pt x="59" y="68"/>
                  </a:lnTo>
                  <a:lnTo>
                    <a:pt x="59" y="80"/>
                  </a:lnTo>
                  <a:lnTo>
                    <a:pt x="37" y="66"/>
                  </a:lnTo>
                  <a:lnTo>
                    <a:pt x="16" y="66"/>
                  </a:lnTo>
                  <a:lnTo>
                    <a:pt x="0" y="40"/>
                  </a:lnTo>
                  <a:lnTo>
                    <a:pt x="14" y="24"/>
                  </a:lnTo>
                  <a:lnTo>
                    <a:pt x="16" y="16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2" name="Freeform 110"/>
            <p:cNvSpPr>
              <a:spLocks/>
            </p:cNvSpPr>
            <p:nvPr/>
          </p:nvSpPr>
          <p:spPr bwMode="auto">
            <a:xfrm>
              <a:off x="4177" y="3065"/>
              <a:ext cx="62" cy="47"/>
            </a:xfrm>
            <a:custGeom>
              <a:avLst/>
              <a:gdLst>
                <a:gd name="T0" fmla="*/ 0 w 106"/>
                <a:gd name="T1" fmla="*/ 1 h 90"/>
                <a:gd name="T2" fmla="*/ 1 w 106"/>
                <a:gd name="T3" fmla="*/ 1 h 90"/>
                <a:gd name="T4" fmla="*/ 1 w 106"/>
                <a:gd name="T5" fmla="*/ 1 h 90"/>
                <a:gd name="T6" fmla="*/ 1 w 106"/>
                <a:gd name="T7" fmla="*/ 1 h 90"/>
                <a:gd name="T8" fmla="*/ 1 w 106"/>
                <a:gd name="T9" fmla="*/ 1 h 90"/>
                <a:gd name="T10" fmla="*/ 1 w 106"/>
                <a:gd name="T11" fmla="*/ 1 h 90"/>
                <a:gd name="T12" fmla="*/ 1 w 106"/>
                <a:gd name="T13" fmla="*/ 1 h 90"/>
                <a:gd name="T14" fmla="*/ 1 w 106"/>
                <a:gd name="T15" fmla="*/ 1 h 90"/>
                <a:gd name="T16" fmla="*/ 1 w 106"/>
                <a:gd name="T17" fmla="*/ 1 h 90"/>
                <a:gd name="T18" fmla="*/ 1 w 106"/>
                <a:gd name="T19" fmla="*/ 1 h 90"/>
                <a:gd name="T20" fmla="*/ 1 w 106"/>
                <a:gd name="T21" fmla="*/ 1 h 90"/>
                <a:gd name="T22" fmla="*/ 2 w 106"/>
                <a:gd name="T23" fmla="*/ 0 h 90"/>
                <a:gd name="T24" fmla="*/ 2 w 106"/>
                <a:gd name="T25" fmla="*/ 0 h 90"/>
                <a:gd name="T26" fmla="*/ 2 w 106"/>
                <a:gd name="T27" fmla="*/ 0 h 90"/>
                <a:gd name="T28" fmla="*/ 2 w 106"/>
                <a:gd name="T29" fmla="*/ 1 h 90"/>
                <a:gd name="T30" fmla="*/ 2 w 106"/>
                <a:gd name="T31" fmla="*/ 1 h 90"/>
                <a:gd name="T32" fmla="*/ 1 w 106"/>
                <a:gd name="T33" fmla="*/ 1 h 90"/>
                <a:gd name="T34" fmla="*/ 1 w 106"/>
                <a:gd name="T35" fmla="*/ 1 h 90"/>
                <a:gd name="T36" fmla="*/ 1 w 106"/>
                <a:gd name="T37" fmla="*/ 1 h 90"/>
                <a:gd name="T38" fmla="*/ 0 w 106"/>
                <a:gd name="T39" fmla="*/ 1 h 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06"/>
                <a:gd name="T61" fmla="*/ 0 h 90"/>
                <a:gd name="T62" fmla="*/ 106 w 106"/>
                <a:gd name="T63" fmla="*/ 90 h 9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06" h="90">
                  <a:moveTo>
                    <a:pt x="0" y="83"/>
                  </a:moveTo>
                  <a:lnTo>
                    <a:pt x="2" y="74"/>
                  </a:lnTo>
                  <a:lnTo>
                    <a:pt x="19" y="55"/>
                  </a:lnTo>
                  <a:lnTo>
                    <a:pt x="9" y="45"/>
                  </a:lnTo>
                  <a:lnTo>
                    <a:pt x="9" y="24"/>
                  </a:lnTo>
                  <a:lnTo>
                    <a:pt x="19" y="19"/>
                  </a:lnTo>
                  <a:lnTo>
                    <a:pt x="19" y="7"/>
                  </a:lnTo>
                  <a:lnTo>
                    <a:pt x="45" y="5"/>
                  </a:lnTo>
                  <a:lnTo>
                    <a:pt x="57" y="10"/>
                  </a:lnTo>
                  <a:lnTo>
                    <a:pt x="83" y="0"/>
                  </a:lnTo>
                  <a:lnTo>
                    <a:pt x="106" y="0"/>
                  </a:lnTo>
                  <a:lnTo>
                    <a:pt x="90" y="14"/>
                  </a:lnTo>
                  <a:lnTo>
                    <a:pt x="85" y="50"/>
                  </a:lnTo>
                  <a:lnTo>
                    <a:pt x="49" y="71"/>
                  </a:lnTo>
                  <a:lnTo>
                    <a:pt x="47" y="71"/>
                  </a:lnTo>
                  <a:lnTo>
                    <a:pt x="14" y="90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3" name="Freeform 111"/>
            <p:cNvSpPr>
              <a:spLocks/>
            </p:cNvSpPr>
            <p:nvPr/>
          </p:nvSpPr>
          <p:spPr bwMode="auto">
            <a:xfrm>
              <a:off x="4171" y="3102"/>
              <a:ext cx="39" cy="37"/>
            </a:xfrm>
            <a:custGeom>
              <a:avLst/>
              <a:gdLst>
                <a:gd name="T0" fmla="*/ 2 w 67"/>
                <a:gd name="T1" fmla="*/ 1 h 71"/>
                <a:gd name="T2" fmla="*/ 1 w 67"/>
                <a:gd name="T3" fmla="*/ 0 h 71"/>
                <a:gd name="T4" fmla="*/ 1 w 67"/>
                <a:gd name="T5" fmla="*/ 0 h 71"/>
                <a:gd name="T6" fmla="*/ 1 w 67"/>
                <a:gd name="T7" fmla="*/ 1 h 71"/>
                <a:gd name="T8" fmla="*/ 1 w 67"/>
                <a:gd name="T9" fmla="*/ 1 h 71"/>
                <a:gd name="T10" fmla="*/ 1 w 67"/>
                <a:gd name="T11" fmla="*/ 1 h 71"/>
                <a:gd name="T12" fmla="*/ 1 w 67"/>
                <a:gd name="T13" fmla="*/ 1 h 71"/>
                <a:gd name="T14" fmla="*/ 0 w 67"/>
                <a:gd name="T15" fmla="*/ 1 h 71"/>
                <a:gd name="T16" fmla="*/ 0 w 67"/>
                <a:gd name="T17" fmla="*/ 1 h 71"/>
                <a:gd name="T18" fmla="*/ 1 w 67"/>
                <a:gd name="T19" fmla="*/ 1 h 71"/>
                <a:gd name="T20" fmla="*/ 1 w 67"/>
                <a:gd name="T21" fmla="*/ 1 h 71"/>
                <a:gd name="T22" fmla="*/ 1 w 67"/>
                <a:gd name="T23" fmla="*/ 1 h 71"/>
                <a:gd name="T24" fmla="*/ 1 w 67"/>
                <a:gd name="T25" fmla="*/ 1 h 71"/>
                <a:gd name="T26" fmla="*/ 1 w 67"/>
                <a:gd name="T27" fmla="*/ 1 h 71"/>
                <a:gd name="T28" fmla="*/ 2 w 67"/>
                <a:gd name="T29" fmla="*/ 1 h 7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7"/>
                <a:gd name="T46" fmla="*/ 0 h 71"/>
                <a:gd name="T47" fmla="*/ 67 w 67"/>
                <a:gd name="T48" fmla="*/ 71 h 7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7" h="71">
                  <a:moveTo>
                    <a:pt x="67" y="19"/>
                  </a:moveTo>
                  <a:lnTo>
                    <a:pt x="59" y="0"/>
                  </a:lnTo>
                  <a:lnTo>
                    <a:pt x="57" y="0"/>
                  </a:lnTo>
                  <a:lnTo>
                    <a:pt x="24" y="19"/>
                  </a:lnTo>
                  <a:lnTo>
                    <a:pt x="10" y="12"/>
                  </a:lnTo>
                  <a:lnTo>
                    <a:pt x="7" y="24"/>
                  </a:lnTo>
                  <a:lnTo>
                    <a:pt x="7" y="43"/>
                  </a:lnTo>
                  <a:lnTo>
                    <a:pt x="0" y="71"/>
                  </a:lnTo>
                  <a:lnTo>
                    <a:pt x="19" y="71"/>
                  </a:lnTo>
                  <a:lnTo>
                    <a:pt x="29" y="59"/>
                  </a:lnTo>
                  <a:lnTo>
                    <a:pt x="38" y="59"/>
                  </a:lnTo>
                  <a:lnTo>
                    <a:pt x="48" y="47"/>
                  </a:lnTo>
                  <a:lnTo>
                    <a:pt x="33" y="33"/>
                  </a:lnTo>
                  <a:lnTo>
                    <a:pt x="67" y="19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4" name="Freeform 112"/>
            <p:cNvSpPr>
              <a:spLocks/>
            </p:cNvSpPr>
            <p:nvPr/>
          </p:nvSpPr>
          <p:spPr bwMode="auto">
            <a:xfrm>
              <a:off x="4174" y="3089"/>
              <a:ext cx="14" cy="16"/>
            </a:xfrm>
            <a:custGeom>
              <a:avLst/>
              <a:gdLst>
                <a:gd name="T0" fmla="*/ 1 w 24"/>
                <a:gd name="T1" fmla="*/ 1 h 31"/>
                <a:gd name="T2" fmla="*/ 0 w 24"/>
                <a:gd name="T3" fmla="*/ 1 h 31"/>
                <a:gd name="T4" fmla="*/ 0 w 24"/>
                <a:gd name="T5" fmla="*/ 1 h 31"/>
                <a:gd name="T6" fmla="*/ 1 w 24"/>
                <a:gd name="T7" fmla="*/ 1 h 31"/>
                <a:gd name="T8" fmla="*/ 1 w 24"/>
                <a:gd name="T9" fmla="*/ 0 h 31"/>
                <a:gd name="T10" fmla="*/ 1 w 24"/>
                <a:gd name="T11" fmla="*/ 0 h 31"/>
                <a:gd name="T12" fmla="*/ 1 w 24"/>
                <a:gd name="T13" fmla="*/ 1 h 31"/>
                <a:gd name="T14" fmla="*/ 1 w 24"/>
                <a:gd name="T15" fmla="*/ 1 h 3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31"/>
                <a:gd name="T26" fmla="*/ 24 w 24"/>
                <a:gd name="T27" fmla="*/ 31 h 3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31">
                  <a:moveTo>
                    <a:pt x="7" y="29"/>
                  </a:moveTo>
                  <a:lnTo>
                    <a:pt x="0" y="31"/>
                  </a:lnTo>
                  <a:lnTo>
                    <a:pt x="12" y="5"/>
                  </a:lnTo>
                  <a:lnTo>
                    <a:pt x="14" y="0"/>
                  </a:lnTo>
                  <a:lnTo>
                    <a:pt x="24" y="10"/>
                  </a:lnTo>
                  <a:lnTo>
                    <a:pt x="7" y="29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5" name="Freeform 113"/>
            <p:cNvSpPr>
              <a:spLocks/>
            </p:cNvSpPr>
            <p:nvPr/>
          </p:nvSpPr>
          <p:spPr bwMode="auto">
            <a:xfrm>
              <a:off x="4164" y="3104"/>
              <a:ext cx="14" cy="35"/>
            </a:xfrm>
            <a:custGeom>
              <a:avLst/>
              <a:gdLst>
                <a:gd name="T0" fmla="*/ 1 w 23"/>
                <a:gd name="T1" fmla="*/ 1 h 68"/>
                <a:gd name="T2" fmla="*/ 1 w 23"/>
                <a:gd name="T3" fmla="*/ 1 h 68"/>
                <a:gd name="T4" fmla="*/ 1 w 23"/>
                <a:gd name="T5" fmla="*/ 1 h 68"/>
                <a:gd name="T6" fmla="*/ 1 w 23"/>
                <a:gd name="T7" fmla="*/ 1 h 68"/>
                <a:gd name="T8" fmla="*/ 1 w 23"/>
                <a:gd name="T9" fmla="*/ 1 h 68"/>
                <a:gd name="T10" fmla="*/ 1 w 23"/>
                <a:gd name="T11" fmla="*/ 1 h 68"/>
                <a:gd name="T12" fmla="*/ 0 w 23"/>
                <a:gd name="T13" fmla="*/ 1 h 68"/>
                <a:gd name="T14" fmla="*/ 1 w 23"/>
                <a:gd name="T15" fmla="*/ 1 h 68"/>
                <a:gd name="T16" fmla="*/ 1 w 23"/>
                <a:gd name="T17" fmla="*/ 1 h 68"/>
                <a:gd name="T18" fmla="*/ 1 w 23"/>
                <a:gd name="T19" fmla="*/ 1 h 68"/>
                <a:gd name="T20" fmla="*/ 1 w 23"/>
                <a:gd name="T21" fmla="*/ 0 h 68"/>
                <a:gd name="T22" fmla="*/ 1 w 23"/>
                <a:gd name="T23" fmla="*/ 1 h 6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3"/>
                <a:gd name="T37" fmla="*/ 0 h 68"/>
                <a:gd name="T38" fmla="*/ 23 w 23"/>
                <a:gd name="T39" fmla="*/ 68 h 6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3" h="68">
                  <a:moveTo>
                    <a:pt x="21" y="9"/>
                  </a:moveTo>
                  <a:lnTo>
                    <a:pt x="18" y="21"/>
                  </a:lnTo>
                  <a:lnTo>
                    <a:pt x="18" y="40"/>
                  </a:lnTo>
                  <a:lnTo>
                    <a:pt x="11" y="68"/>
                  </a:lnTo>
                  <a:lnTo>
                    <a:pt x="2" y="35"/>
                  </a:lnTo>
                  <a:lnTo>
                    <a:pt x="0" y="35"/>
                  </a:lnTo>
                  <a:lnTo>
                    <a:pt x="9" y="21"/>
                  </a:lnTo>
                  <a:lnTo>
                    <a:pt x="16" y="2"/>
                  </a:lnTo>
                  <a:lnTo>
                    <a:pt x="23" y="0"/>
                  </a:lnTo>
                  <a:lnTo>
                    <a:pt x="21" y="9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6" name="Freeform 114"/>
            <p:cNvSpPr>
              <a:spLocks/>
            </p:cNvSpPr>
            <p:nvPr/>
          </p:nvSpPr>
          <p:spPr bwMode="auto">
            <a:xfrm>
              <a:off x="4206" y="3063"/>
              <a:ext cx="88" cy="77"/>
            </a:xfrm>
            <a:custGeom>
              <a:avLst/>
              <a:gdLst>
                <a:gd name="T0" fmla="*/ 2 w 149"/>
                <a:gd name="T1" fmla="*/ 1 h 148"/>
                <a:gd name="T2" fmla="*/ 2 w 149"/>
                <a:gd name="T3" fmla="*/ 1 h 148"/>
                <a:gd name="T4" fmla="*/ 3 w 149"/>
                <a:gd name="T5" fmla="*/ 1 h 148"/>
                <a:gd name="T6" fmla="*/ 3 w 149"/>
                <a:gd name="T7" fmla="*/ 1 h 148"/>
                <a:gd name="T8" fmla="*/ 2 w 149"/>
                <a:gd name="T9" fmla="*/ 1 h 148"/>
                <a:gd name="T10" fmla="*/ 3 w 149"/>
                <a:gd name="T11" fmla="*/ 1 h 148"/>
                <a:gd name="T12" fmla="*/ 3 w 149"/>
                <a:gd name="T13" fmla="*/ 1 h 148"/>
                <a:gd name="T14" fmla="*/ 4 w 149"/>
                <a:gd name="T15" fmla="*/ 1 h 148"/>
                <a:gd name="T16" fmla="*/ 4 w 149"/>
                <a:gd name="T17" fmla="*/ 2 h 148"/>
                <a:gd name="T18" fmla="*/ 4 w 149"/>
                <a:gd name="T19" fmla="*/ 2 h 148"/>
                <a:gd name="T20" fmla="*/ 4 w 149"/>
                <a:gd name="T21" fmla="*/ 2 h 148"/>
                <a:gd name="T22" fmla="*/ 4 w 149"/>
                <a:gd name="T23" fmla="*/ 2 h 148"/>
                <a:gd name="T24" fmla="*/ 3 w 149"/>
                <a:gd name="T25" fmla="*/ 2 h 148"/>
                <a:gd name="T26" fmla="*/ 3 w 149"/>
                <a:gd name="T27" fmla="*/ 2 h 148"/>
                <a:gd name="T28" fmla="*/ 3 w 149"/>
                <a:gd name="T29" fmla="*/ 2 h 148"/>
                <a:gd name="T30" fmla="*/ 2 w 149"/>
                <a:gd name="T31" fmla="*/ 2 h 148"/>
                <a:gd name="T32" fmla="*/ 2 w 149"/>
                <a:gd name="T33" fmla="*/ 2 h 148"/>
                <a:gd name="T34" fmla="*/ 2 w 149"/>
                <a:gd name="T35" fmla="*/ 2 h 148"/>
                <a:gd name="T36" fmla="*/ 2 w 149"/>
                <a:gd name="T37" fmla="*/ 2 h 148"/>
                <a:gd name="T38" fmla="*/ 2 w 149"/>
                <a:gd name="T39" fmla="*/ 2 h 148"/>
                <a:gd name="T40" fmla="*/ 1 w 149"/>
                <a:gd name="T41" fmla="*/ 1 h 148"/>
                <a:gd name="T42" fmla="*/ 1 w 149"/>
                <a:gd name="T43" fmla="*/ 1 h 148"/>
                <a:gd name="T44" fmla="*/ 1 w 149"/>
                <a:gd name="T45" fmla="*/ 1 h 148"/>
                <a:gd name="T46" fmla="*/ 0 w 149"/>
                <a:gd name="T47" fmla="*/ 1 h 148"/>
                <a:gd name="T48" fmla="*/ 0 w 149"/>
                <a:gd name="T49" fmla="*/ 1 h 148"/>
                <a:gd name="T50" fmla="*/ 1 w 149"/>
                <a:gd name="T51" fmla="*/ 1 h 148"/>
                <a:gd name="T52" fmla="*/ 1 w 149"/>
                <a:gd name="T53" fmla="*/ 1 h 148"/>
                <a:gd name="T54" fmla="*/ 1 w 149"/>
                <a:gd name="T55" fmla="*/ 1 h 148"/>
                <a:gd name="T56" fmla="*/ 2 w 149"/>
                <a:gd name="T57" fmla="*/ 0 h 148"/>
                <a:gd name="T58" fmla="*/ 2 w 149"/>
                <a:gd name="T59" fmla="*/ 1 h 14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49"/>
                <a:gd name="T91" fmla="*/ 0 h 148"/>
                <a:gd name="T92" fmla="*/ 149 w 149"/>
                <a:gd name="T93" fmla="*/ 148 h 14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49" h="148">
                  <a:moveTo>
                    <a:pt x="93" y="2"/>
                  </a:moveTo>
                  <a:lnTo>
                    <a:pt x="100" y="26"/>
                  </a:lnTo>
                  <a:lnTo>
                    <a:pt x="109" y="28"/>
                  </a:lnTo>
                  <a:lnTo>
                    <a:pt x="111" y="40"/>
                  </a:lnTo>
                  <a:lnTo>
                    <a:pt x="100" y="63"/>
                  </a:lnTo>
                  <a:lnTo>
                    <a:pt x="109" y="80"/>
                  </a:lnTo>
                  <a:lnTo>
                    <a:pt x="128" y="92"/>
                  </a:lnTo>
                  <a:lnTo>
                    <a:pt x="133" y="115"/>
                  </a:lnTo>
                  <a:lnTo>
                    <a:pt x="147" y="132"/>
                  </a:lnTo>
                  <a:lnTo>
                    <a:pt x="149" y="132"/>
                  </a:lnTo>
                  <a:lnTo>
                    <a:pt x="147" y="137"/>
                  </a:lnTo>
                  <a:lnTo>
                    <a:pt x="130" y="134"/>
                  </a:lnTo>
                  <a:lnTo>
                    <a:pt x="116" y="148"/>
                  </a:lnTo>
                  <a:lnTo>
                    <a:pt x="102" y="141"/>
                  </a:lnTo>
                  <a:lnTo>
                    <a:pt x="90" y="146"/>
                  </a:lnTo>
                  <a:lnTo>
                    <a:pt x="74" y="137"/>
                  </a:lnTo>
                  <a:lnTo>
                    <a:pt x="71" y="127"/>
                  </a:lnTo>
                  <a:lnTo>
                    <a:pt x="62" y="120"/>
                  </a:lnTo>
                  <a:lnTo>
                    <a:pt x="29" y="101"/>
                  </a:lnTo>
                  <a:lnTo>
                    <a:pt x="8" y="94"/>
                  </a:lnTo>
                  <a:lnTo>
                    <a:pt x="0" y="75"/>
                  </a:lnTo>
                  <a:lnTo>
                    <a:pt x="36" y="54"/>
                  </a:lnTo>
                  <a:lnTo>
                    <a:pt x="41" y="18"/>
                  </a:lnTo>
                  <a:lnTo>
                    <a:pt x="57" y="4"/>
                  </a:lnTo>
                  <a:lnTo>
                    <a:pt x="64" y="0"/>
                  </a:lnTo>
                  <a:lnTo>
                    <a:pt x="93" y="2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7" name="Freeform 115"/>
            <p:cNvSpPr>
              <a:spLocks/>
            </p:cNvSpPr>
            <p:nvPr/>
          </p:nvSpPr>
          <p:spPr bwMode="auto">
            <a:xfrm>
              <a:off x="4259" y="3137"/>
              <a:ext cx="17" cy="6"/>
            </a:xfrm>
            <a:custGeom>
              <a:avLst/>
              <a:gdLst>
                <a:gd name="T0" fmla="*/ 0 w 29"/>
                <a:gd name="T1" fmla="*/ 1 h 12"/>
                <a:gd name="T2" fmla="*/ 1 w 29"/>
                <a:gd name="T3" fmla="*/ 0 h 12"/>
                <a:gd name="T4" fmla="*/ 1 w 29"/>
                <a:gd name="T5" fmla="*/ 1 h 12"/>
                <a:gd name="T6" fmla="*/ 1 w 29"/>
                <a:gd name="T7" fmla="*/ 1 h 12"/>
                <a:gd name="T8" fmla="*/ 1 w 29"/>
                <a:gd name="T9" fmla="*/ 1 h 12"/>
                <a:gd name="T10" fmla="*/ 0 w 29"/>
                <a:gd name="T11" fmla="*/ 1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"/>
                <a:gd name="T19" fmla="*/ 0 h 12"/>
                <a:gd name="T20" fmla="*/ 29 w 29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" h="12">
                  <a:moveTo>
                    <a:pt x="0" y="5"/>
                  </a:moveTo>
                  <a:lnTo>
                    <a:pt x="12" y="0"/>
                  </a:lnTo>
                  <a:lnTo>
                    <a:pt x="26" y="7"/>
                  </a:lnTo>
                  <a:lnTo>
                    <a:pt x="29" y="7"/>
                  </a:lnTo>
                  <a:lnTo>
                    <a:pt x="12" y="12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8" name="Freeform 116"/>
            <p:cNvSpPr>
              <a:spLocks/>
            </p:cNvSpPr>
            <p:nvPr/>
          </p:nvSpPr>
          <p:spPr bwMode="auto">
            <a:xfrm>
              <a:off x="4274" y="3133"/>
              <a:ext cx="19" cy="13"/>
            </a:xfrm>
            <a:custGeom>
              <a:avLst/>
              <a:gdLst>
                <a:gd name="T0" fmla="*/ 0 w 31"/>
                <a:gd name="T1" fmla="*/ 1 h 24"/>
                <a:gd name="T2" fmla="*/ 1 w 31"/>
                <a:gd name="T3" fmla="*/ 0 h 24"/>
                <a:gd name="T4" fmla="*/ 1 w 31"/>
                <a:gd name="T5" fmla="*/ 1 h 24"/>
                <a:gd name="T6" fmla="*/ 1 w 31"/>
                <a:gd name="T7" fmla="*/ 1 h 24"/>
                <a:gd name="T8" fmla="*/ 1 w 31"/>
                <a:gd name="T9" fmla="*/ 1 h 24"/>
                <a:gd name="T10" fmla="*/ 1 w 31"/>
                <a:gd name="T11" fmla="*/ 1 h 24"/>
                <a:gd name="T12" fmla="*/ 1 w 31"/>
                <a:gd name="T13" fmla="*/ 1 h 24"/>
                <a:gd name="T14" fmla="*/ 1 w 31"/>
                <a:gd name="T15" fmla="*/ 1 h 24"/>
                <a:gd name="T16" fmla="*/ 0 w 31"/>
                <a:gd name="T17" fmla="*/ 1 h 24"/>
                <a:gd name="T18" fmla="*/ 0 w 31"/>
                <a:gd name="T19" fmla="*/ 1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1"/>
                <a:gd name="T31" fmla="*/ 0 h 24"/>
                <a:gd name="T32" fmla="*/ 31 w 31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1" h="24">
                  <a:moveTo>
                    <a:pt x="0" y="14"/>
                  </a:moveTo>
                  <a:lnTo>
                    <a:pt x="14" y="0"/>
                  </a:lnTo>
                  <a:lnTo>
                    <a:pt x="31" y="3"/>
                  </a:lnTo>
                  <a:lnTo>
                    <a:pt x="29" y="7"/>
                  </a:lnTo>
                  <a:lnTo>
                    <a:pt x="19" y="10"/>
                  </a:lnTo>
                  <a:lnTo>
                    <a:pt x="29" y="2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9" name="Freeform 117"/>
            <p:cNvSpPr>
              <a:spLocks/>
            </p:cNvSpPr>
            <p:nvPr/>
          </p:nvSpPr>
          <p:spPr bwMode="auto">
            <a:xfrm>
              <a:off x="4170" y="3112"/>
              <a:ext cx="194" cy="154"/>
            </a:xfrm>
            <a:custGeom>
              <a:avLst/>
              <a:gdLst>
                <a:gd name="T0" fmla="*/ 1191 w 139"/>
                <a:gd name="T1" fmla="*/ 450 h 125"/>
                <a:gd name="T2" fmla="*/ 1235 w 139"/>
                <a:gd name="T3" fmla="*/ 430 h 125"/>
                <a:gd name="T4" fmla="*/ 1285 w 139"/>
                <a:gd name="T5" fmla="*/ 405 h 125"/>
                <a:gd name="T6" fmla="*/ 1352 w 139"/>
                <a:gd name="T7" fmla="*/ 377 h 125"/>
                <a:gd name="T8" fmla="*/ 1422 w 139"/>
                <a:gd name="T9" fmla="*/ 349 h 125"/>
                <a:gd name="T10" fmla="*/ 1436 w 139"/>
                <a:gd name="T11" fmla="*/ 329 h 125"/>
                <a:gd name="T12" fmla="*/ 1436 w 139"/>
                <a:gd name="T13" fmla="*/ 314 h 125"/>
                <a:gd name="T14" fmla="*/ 1417 w 139"/>
                <a:gd name="T15" fmla="*/ 292 h 125"/>
                <a:gd name="T16" fmla="*/ 1389 w 139"/>
                <a:gd name="T17" fmla="*/ 281 h 125"/>
                <a:gd name="T18" fmla="*/ 1362 w 139"/>
                <a:gd name="T19" fmla="*/ 267 h 125"/>
                <a:gd name="T20" fmla="*/ 1326 w 139"/>
                <a:gd name="T21" fmla="*/ 267 h 125"/>
                <a:gd name="T22" fmla="*/ 1276 w 139"/>
                <a:gd name="T23" fmla="*/ 276 h 125"/>
                <a:gd name="T24" fmla="*/ 1230 w 139"/>
                <a:gd name="T25" fmla="*/ 283 h 125"/>
                <a:gd name="T26" fmla="*/ 1191 w 139"/>
                <a:gd name="T27" fmla="*/ 292 h 125"/>
                <a:gd name="T28" fmla="*/ 1122 w 139"/>
                <a:gd name="T29" fmla="*/ 292 h 125"/>
                <a:gd name="T30" fmla="*/ 1072 w 139"/>
                <a:gd name="T31" fmla="*/ 283 h 125"/>
                <a:gd name="T32" fmla="*/ 1044 w 139"/>
                <a:gd name="T33" fmla="*/ 276 h 125"/>
                <a:gd name="T34" fmla="*/ 1065 w 139"/>
                <a:gd name="T35" fmla="*/ 257 h 125"/>
                <a:gd name="T36" fmla="*/ 1084 w 139"/>
                <a:gd name="T37" fmla="*/ 244 h 125"/>
                <a:gd name="T38" fmla="*/ 1084 w 139"/>
                <a:gd name="T39" fmla="*/ 244 h 125"/>
                <a:gd name="T40" fmla="*/ 1044 w 139"/>
                <a:gd name="T41" fmla="*/ 221 h 125"/>
                <a:gd name="T42" fmla="*/ 1044 w 139"/>
                <a:gd name="T43" fmla="*/ 221 h 125"/>
                <a:gd name="T44" fmla="*/ 1015 w 139"/>
                <a:gd name="T45" fmla="*/ 170 h 125"/>
                <a:gd name="T46" fmla="*/ 895 w 139"/>
                <a:gd name="T47" fmla="*/ 118 h 125"/>
                <a:gd name="T48" fmla="*/ 895 w 139"/>
                <a:gd name="T49" fmla="*/ 118 h 125"/>
                <a:gd name="T50" fmla="*/ 777 w 139"/>
                <a:gd name="T51" fmla="*/ 97 h 125"/>
                <a:gd name="T52" fmla="*/ 784 w 139"/>
                <a:gd name="T53" fmla="*/ 97 h 125"/>
                <a:gd name="T54" fmla="*/ 709 w 139"/>
                <a:gd name="T55" fmla="*/ 107 h 125"/>
                <a:gd name="T56" fmla="*/ 655 w 139"/>
                <a:gd name="T57" fmla="*/ 96 h 125"/>
                <a:gd name="T58" fmla="*/ 592 w 139"/>
                <a:gd name="T59" fmla="*/ 78 h 125"/>
                <a:gd name="T60" fmla="*/ 576 w 139"/>
                <a:gd name="T61" fmla="*/ 59 h 125"/>
                <a:gd name="T62" fmla="*/ 537 w 139"/>
                <a:gd name="T63" fmla="*/ 48 h 125"/>
                <a:gd name="T64" fmla="*/ 392 w 139"/>
                <a:gd name="T65" fmla="*/ 14 h 125"/>
                <a:gd name="T66" fmla="*/ 296 w 139"/>
                <a:gd name="T67" fmla="*/ 0 h 125"/>
                <a:gd name="T68" fmla="*/ 296 w 139"/>
                <a:gd name="T69" fmla="*/ 0 h 125"/>
                <a:gd name="T70" fmla="*/ 152 w 139"/>
                <a:gd name="T71" fmla="*/ 26 h 125"/>
                <a:gd name="T72" fmla="*/ 212 w 139"/>
                <a:gd name="T73" fmla="*/ 51 h 125"/>
                <a:gd name="T74" fmla="*/ 173 w 139"/>
                <a:gd name="T75" fmla="*/ 73 h 125"/>
                <a:gd name="T76" fmla="*/ 133 w 139"/>
                <a:gd name="T77" fmla="*/ 73 h 125"/>
                <a:gd name="T78" fmla="*/ 95 w 139"/>
                <a:gd name="T79" fmla="*/ 96 h 125"/>
                <a:gd name="T80" fmla="*/ 1 w 139"/>
                <a:gd name="T81" fmla="*/ 96 h 125"/>
                <a:gd name="T82" fmla="*/ 1 w 139"/>
                <a:gd name="T83" fmla="*/ 96 h 125"/>
                <a:gd name="T84" fmla="*/ 0 w 139"/>
                <a:gd name="T85" fmla="*/ 132 h 125"/>
                <a:gd name="T86" fmla="*/ 29 w 139"/>
                <a:gd name="T87" fmla="*/ 132 h 125"/>
                <a:gd name="T88" fmla="*/ 186 w 139"/>
                <a:gd name="T89" fmla="*/ 241 h 125"/>
                <a:gd name="T90" fmla="*/ 241 w 139"/>
                <a:gd name="T91" fmla="*/ 257 h 125"/>
                <a:gd name="T92" fmla="*/ 286 w 139"/>
                <a:gd name="T93" fmla="*/ 292 h 125"/>
                <a:gd name="T94" fmla="*/ 296 w 139"/>
                <a:gd name="T95" fmla="*/ 346 h 125"/>
                <a:gd name="T96" fmla="*/ 399 w 139"/>
                <a:gd name="T97" fmla="*/ 378 h 125"/>
                <a:gd name="T98" fmla="*/ 507 w 139"/>
                <a:gd name="T99" fmla="*/ 457 h 125"/>
                <a:gd name="T100" fmla="*/ 523 w 139"/>
                <a:gd name="T101" fmla="*/ 477 h 125"/>
                <a:gd name="T102" fmla="*/ 523 w 139"/>
                <a:gd name="T103" fmla="*/ 477 h 125"/>
                <a:gd name="T104" fmla="*/ 592 w 139"/>
                <a:gd name="T105" fmla="*/ 451 h 125"/>
                <a:gd name="T106" fmla="*/ 709 w 139"/>
                <a:gd name="T107" fmla="*/ 515 h 125"/>
                <a:gd name="T108" fmla="*/ 730 w 139"/>
                <a:gd name="T109" fmla="*/ 538 h 125"/>
                <a:gd name="T110" fmla="*/ 740 w 139"/>
                <a:gd name="T111" fmla="*/ 538 h 125"/>
                <a:gd name="T112" fmla="*/ 1019 w 139"/>
                <a:gd name="T113" fmla="*/ 464 h 125"/>
                <a:gd name="T114" fmla="*/ 1191 w 139"/>
                <a:gd name="T115" fmla="*/ 450 h 12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9"/>
                <a:gd name="T175" fmla="*/ 0 h 125"/>
                <a:gd name="T176" fmla="*/ 139 w 139"/>
                <a:gd name="T177" fmla="*/ 125 h 12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9" h="125">
                  <a:moveTo>
                    <a:pt x="115" y="104"/>
                  </a:moveTo>
                  <a:cubicBezTo>
                    <a:pt x="120" y="100"/>
                    <a:pt x="120" y="100"/>
                    <a:pt x="120" y="100"/>
                  </a:cubicBezTo>
                  <a:cubicBezTo>
                    <a:pt x="125" y="94"/>
                    <a:pt x="125" y="94"/>
                    <a:pt x="125" y="94"/>
                  </a:cubicBezTo>
                  <a:cubicBezTo>
                    <a:pt x="125" y="94"/>
                    <a:pt x="131" y="87"/>
                    <a:pt x="131" y="87"/>
                  </a:cubicBezTo>
                  <a:cubicBezTo>
                    <a:pt x="131" y="86"/>
                    <a:pt x="137" y="82"/>
                    <a:pt x="138" y="81"/>
                  </a:cubicBezTo>
                  <a:cubicBezTo>
                    <a:pt x="138" y="80"/>
                    <a:pt x="139" y="76"/>
                    <a:pt x="139" y="76"/>
                  </a:cubicBezTo>
                  <a:cubicBezTo>
                    <a:pt x="139" y="72"/>
                    <a:pt x="139" y="72"/>
                    <a:pt x="139" y="72"/>
                  </a:cubicBezTo>
                  <a:cubicBezTo>
                    <a:pt x="139" y="72"/>
                    <a:pt x="137" y="69"/>
                    <a:pt x="137" y="68"/>
                  </a:cubicBezTo>
                  <a:cubicBezTo>
                    <a:pt x="136" y="67"/>
                    <a:pt x="135" y="65"/>
                    <a:pt x="135" y="65"/>
                  </a:cubicBezTo>
                  <a:cubicBezTo>
                    <a:pt x="132" y="62"/>
                    <a:pt x="132" y="62"/>
                    <a:pt x="132" y="62"/>
                  </a:cubicBezTo>
                  <a:cubicBezTo>
                    <a:pt x="131" y="63"/>
                    <a:pt x="129" y="62"/>
                    <a:pt x="129" y="62"/>
                  </a:cubicBezTo>
                  <a:cubicBezTo>
                    <a:pt x="124" y="64"/>
                    <a:pt x="124" y="64"/>
                    <a:pt x="124" y="64"/>
                  </a:cubicBezTo>
                  <a:cubicBezTo>
                    <a:pt x="124" y="64"/>
                    <a:pt x="120" y="66"/>
                    <a:pt x="119" y="66"/>
                  </a:cubicBezTo>
                  <a:cubicBezTo>
                    <a:pt x="119" y="66"/>
                    <a:pt x="116" y="68"/>
                    <a:pt x="115" y="68"/>
                  </a:cubicBezTo>
                  <a:cubicBezTo>
                    <a:pt x="115" y="68"/>
                    <a:pt x="110" y="68"/>
                    <a:pt x="109" y="68"/>
                  </a:cubicBezTo>
                  <a:cubicBezTo>
                    <a:pt x="109" y="68"/>
                    <a:pt x="104" y="67"/>
                    <a:pt x="104" y="66"/>
                  </a:cubicBezTo>
                  <a:cubicBezTo>
                    <a:pt x="104" y="66"/>
                    <a:pt x="101" y="64"/>
                    <a:pt x="101" y="64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5" y="57"/>
                    <a:pt x="105" y="57"/>
                    <a:pt x="105" y="57"/>
                  </a:cubicBezTo>
                  <a:cubicBezTo>
                    <a:pt x="105" y="57"/>
                    <a:pt x="105" y="57"/>
                    <a:pt x="105" y="57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87" y="27"/>
                    <a:pt x="87" y="27"/>
                    <a:pt x="87" y="27"/>
                  </a:cubicBezTo>
                  <a:cubicBezTo>
                    <a:pt x="87" y="27"/>
                    <a:pt x="87" y="27"/>
                    <a:pt x="87" y="27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1" y="110"/>
                    <a:pt x="51" y="110"/>
                    <a:pt x="51" y="110"/>
                  </a:cubicBezTo>
                  <a:cubicBezTo>
                    <a:pt x="51" y="110"/>
                    <a:pt x="51" y="110"/>
                    <a:pt x="51" y="110"/>
                  </a:cubicBezTo>
                  <a:cubicBezTo>
                    <a:pt x="57" y="105"/>
                    <a:pt x="57" y="105"/>
                    <a:pt x="57" y="105"/>
                  </a:cubicBezTo>
                  <a:cubicBezTo>
                    <a:pt x="69" y="119"/>
                    <a:pt x="69" y="119"/>
                    <a:pt x="69" y="119"/>
                  </a:cubicBezTo>
                  <a:cubicBezTo>
                    <a:pt x="71" y="125"/>
                    <a:pt x="71" y="125"/>
                    <a:pt x="71" y="125"/>
                  </a:cubicBezTo>
                  <a:cubicBezTo>
                    <a:pt x="72" y="125"/>
                    <a:pt x="72" y="125"/>
                    <a:pt x="72" y="125"/>
                  </a:cubicBezTo>
                  <a:cubicBezTo>
                    <a:pt x="99" y="107"/>
                    <a:pt x="99" y="107"/>
                    <a:pt x="99" y="107"/>
                  </a:cubicBezTo>
                  <a:cubicBezTo>
                    <a:pt x="115" y="104"/>
                    <a:pt x="115" y="104"/>
                    <a:pt x="115" y="104"/>
                  </a:cubicBez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0" name="Freeform 118"/>
            <p:cNvSpPr>
              <a:spLocks/>
            </p:cNvSpPr>
            <p:nvPr/>
          </p:nvSpPr>
          <p:spPr bwMode="auto">
            <a:xfrm>
              <a:off x="4311" y="3167"/>
              <a:ext cx="8" cy="15"/>
            </a:xfrm>
            <a:custGeom>
              <a:avLst/>
              <a:gdLst>
                <a:gd name="T0" fmla="*/ 1 w 14"/>
                <a:gd name="T1" fmla="*/ 1 h 29"/>
                <a:gd name="T2" fmla="*/ 0 w 14"/>
                <a:gd name="T3" fmla="*/ 1 h 29"/>
                <a:gd name="T4" fmla="*/ 0 w 14"/>
                <a:gd name="T5" fmla="*/ 1 h 29"/>
                <a:gd name="T6" fmla="*/ 1 w 14"/>
                <a:gd name="T7" fmla="*/ 0 h 29"/>
                <a:gd name="T8" fmla="*/ 1 w 14"/>
                <a:gd name="T9" fmla="*/ 1 h 29"/>
                <a:gd name="T10" fmla="*/ 1 w 14"/>
                <a:gd name="T11" fmla="*/ 1 h 29"/>
                <a:gd name="T12" fmla="*/ 1 w 14"/>
                <a:gd name="T13" fmla="*/ 1 h 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29"/>
                <a:gd name="T23" fmla="*/ 14 w 14"/>
                <a:gd name="T24" fmla="*/ 29 h 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29">
                  <a:moveTo>
                    <a:pt x="9" y="29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14" y="5"/>
                  </a:lnTo>
                  <a:lnTo>
                    <a:pt x="9" y="29"/>
                  </a:lnTo>
                  <a:close/>
                </a:path>
              </a:pathLst>
            </a:custGeom>
            <a:solidFill>
              <a:srgbClr val="12457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27432" tIns="27432" rIns="27432" bIns="27432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1" name="Freeform 119"/>
            <p:cNvSpPr>
              <a:spLocks/>
            </p:cNvSpPr>
            <p:nvPr/>
          </p:nvSpPr>
          <p:spPr bwMode="auto">
            <a:xfrm>
              <a:off x="4311" y="3169"/>
              <a:ext cx="52" cy="27"/>
            </a:xfrm>
            <a:custGeom>
              <a:avLst/>
              <a:gdLst>
                <a:gd name="T0" fmla="*/ 337 w 37"/>
                <a:gd name="T1" fmla="*/ 71 h 22"/>
                <a:gd name="T2" fmla="*/ 403 w 37"/>
                <a:gd name="T3" fmla="*/ 33 h 22"/>
                <a:gd name="T4" fmla="*/ 403 w 37"/>
                <a:gd name="T5" fmla="*/ 33 h 22"/>
                <a:gd name="T6" fmla="*/ 403 w 37"/>
                <a:gd name="T7" fmla="*/ 21 h 22"/>
                <a:gd name="T8" fmla="*/ 403 w 37"/>
                <a:gd name="T9" fmla="*/ 21 h 22"/>
                <a:gd name="T10" fmla="*/ 367 w 37"/>
                <a:gd name="T11" fmla="*/ 0 h 22"/>
                <a:gd name="T12" fmla="*/ 367 w 37"/>
                <a:gd name="T13" fmla="*/ 0 h 22"/>
                <a:gd name="T14" fmla="*/ 247 w 37"/>
                <a:gd name="T15" fmla="*/ 50 h 22"/>
                <a:gd name="T16" fmla="*/ 132 w 37"/>
                <a:gd name="T17" fmla="*/ 59 h 22"/>
                <a:gd name="T18" fmla="*/ 42 w 37"/>
                <a:gd name="T19" fmla="*/ 48 h 22"/>
                <a:gd name="T20" fmla="*/ 42 w 37"/>
                <a:gd name="T21" fmla="*/ 48 h 22"/>
                <a:gd name="T22" fmla="*/ 21 w 37"/>
                <a:gd name="T23" fmla="*/ 59 h 22"/>
                <a:gd name="T24" fmla="*/ 0 w 37"/>
                <a:gd name="T25" fmla="*/ 75 h 22"/>
                <a:gd name="T26" fmla="*/ 30 w 37"/>
                <a:gd name="T27" fmla="*/ 87 h 22"/>
                <a:gd name="T28" fmla="*/ 83 w 37"/>
                <a:gd name="T29" fmla="*/ 92 h 22"/>
                <a:gd name="T30" fmla="*/ 152 w 37"/>
                <a:gd name="T31" fmla="*/ 92 h 22"/>
                <a:gd name="T32" fmla="*/ 191 w 37"/>
                <a:gd name="T33" fmla="*/ 87 h 22"/>
                <a:gd name="T34" fmla="*/ 247 w 37"/>
                <a:gd name="T35" fmla="*/ 75 h 22"/>
                <a:gd name="T36" fmla="*/ 301 w 37"/>
                <a:gd name="T37" fmla="*/ 71 h 22"/>
                <a:gd name="T38" fmla="*/ 337 w 37"/>
                <a:gd name="T39" fmla="*/ 71 h 2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7"/>
                <a:gd name="T61" fmla="*/ 0 h 22"/>
                <a:gd name="T62" fmla="*/ 37 w 37"/>
                <a:gd name="T63" fmla="*/ 22 h 2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7" h="22">
                  <a:moveTo>
                    <a:pt x="31" y="16"/>
                  </a:move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3" y="20"/>
                    <a:pt x="3" y="20"/>
                  </a:cubicBezTo>
                  <a:cubicBezTo>
                    <a:pt x="3" y="21"/>
                    <a:pt x="8" y="22"/>
                    <a:pt x="8" y="22"/>
                  </a:cubicBezTo>
                  <a:cubicBezTo>
                    <a:pt x="9" y="22"/>
                    <a:pt x="14" y="22"/>
                    <a:pt x="14" y="22"/>
                  </a:cubicBezTo>
                  <a:cubicBezTo>
                    <a:pt x="15" y="22"/>
                    <a:pt x="18" y="20"/>
                    <a:pt x="18" y="20"/>
                  </a:cubicBezTo>
                  <a:cubicBezTo>
                    <a:pt x="19" y="20"/>
                    <a:pt x="23" y="18"/>
                    <a:pt x="23" y="18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30" y="17"/>
                    <a:pt x="31" y="16"/>
                  </a:cubicBez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2" name="Freeform 120"/>
            <p:cNvSpPr>
              <a:spLocks/>
            </p:cNvSpPr>
            <p:nvPr/>
          </p:nvSpPr>
          <p:spPr bwMode="auto">
            <a:xfrm>
              <a:off x="4359" y="3166"/>
              <a:ext cx="4" cy="9"/>
            </a:xfrm>
            <a:custGeom>
              <a:avLst/>
              <a:gdLst>
                <a:gd name="T0" fmla="*/ 1 w 7"/>
                <a:gd name="T1" fmla="*/ 1 h 17"/>
                <a:gd name="T2" fmla="*/ 0 w 7"/>
                <a:gd name="T3" fmla="*/ 1 h 17"/>
                <a:gd name="T4" fmla="*/ 0 w 7"/>
                <a:gd name="T5" fmla="*/ 1 h 17"/>
                <a:gd name="T6" fmla="*/ 1 w 7"/>
                <a:gd name="T7" fmla="*/ 0 h 17"/>
                <a:gd name="T8" fmla="*/ 1 w 7"/>
                <a:gd name="T9" fmla="*/ 0 h 17"/>
                <a:gd name="T10" fmla="*/ 1 w 7"/>
                <a:gd name="T11" fmla="*/ 1 h 17"/>
                <a:gd name="T12" fmla="*/ 1 w 7"/>
                <a:gd name="T13" fmla="*/ 1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17"/>
                <a:gd name="T23" fmla="*/ 7 w 7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17">
                  <a:moveTo>
                    <a:pt x="7" y="17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7" y="0"/>
                  </a:lnTo>
                  <a:lnTo>
                    <a:pt x="7" y="17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3" name="Freeform 121"/>
            <p:cNvSpPr>
              <a:spLocks/>
            </p:cNvSpPr>
            <p:nvPr/>
          </p:nvSpPr>
          <p:spPr bwMode="auto">
            <a:xfrm>
              <a:off x="4331" y="3179"/>
              <a:ext cx="61" cy="66"/>
            </a:xfrm>
            <a:custGeom>
              <a:avLst/>
              <a:gdLst>
                <a:gd name="T0" fmla="*/ 1 w 44"/>
                <a:gd name="T1" fmla="*/ 221 h 54"/>
                <a:gd name="T2" fmla="*/ 130 w 44"/>
                <a:gd name="T3" fmla="*/ 213 h 54"/>
                <a:gd name="T4" fmla="*/ 159 w 44"/>
                <a:gd name="T5" fmla="*/ 197 h 54"/>
                <a:gd name="T6" fmla="*/ 220 w 44"/>
                <a:gd name="T7" fmla="*/ 183 h 54"/>
                <a:gd name="T8" fmla="*/ 262 w 44"/>
                <a:gd name="T9" fmla="*/ 163 h 54"/>
                <a:gd name="T10" fmla="*/ 315 w 44"/>
                <a:gd name="T11" fmla="*/ 150 h 54"/>
                <a:gd name="T12" fmla="*/ 315 w 44"/>
                <a:gd name="T13" fmla="*/ 132 h 54"/>
                <a:gd name="T14" fmla="*/ 406 w 44"/>
                <a:gd name="T15" fmla="*/ 89 h 54"/>
                <a:gd name="T16" fmla="*/ 437 w 44"/>
                <a:gd name="T17" fmla="*/ 65 h 54"/>
                <a:gd name="T18" fmla="*/ 373 w 44"/>
                <a:gd name="T19" fmla="*/ 33 h 54"/>
                <a:gd name="T20" fmla="*/ 277 w 44"/>
                <a:gd name="T21" fmla="*/ 20 h 54"/>
                <a:gd name="T22" fmla="*/ 227 w 44"/>
                <a:gd name="T23" fmla="*/ 0 h 54"/>
                <a:gd name="T24" fmla="*/ 227 w 44"/>
                <a:gd name="T25" fmla="*/ 0 h 54"/>
                <a:gd name="T26" fmla="*/ 171 w 44"/>
                <a:gd name="T27" fmla="*/ 33 h 54"/>
                <a:gd name="T28" fmla="*/ 171 w 44"/>
                <a:gd name="T29" fmla="*/ 33 h 54"/>
                <a:gd name="T30" fmla="*/ 200 w 44"/>
                <a:gd name="T31" fmla="*/ 43 h 54"/>
                <a:gd name="T32" fmla="*/ 220 w 44"/>
                <a:gd name="T33" fmla="*/ 59 h 54"/>
                <a:gd name="T34" fmla="*/ 237 w 44"/>
                <a:gd name="T35" fmla="*/ 73 h 54"/>
                <a:gd name="T36" fmla="*/ 237 w 44"/>
                <a:gd name="T37" fmla="*/ 89 h 54"/>
                <a:gd name="T38" fmla="*/ 227 w 44"/>
                <a:gd name="T39" fmla="*/ 109 h 54"/>
                <a:gd name="T40" fmla="*/ 159 w 44"/>
                <a:gd name="T41" fmla="*/ 133 h 54"/>
                <a:gd name="T42" fmla="*/ 96 w 44"/>
                <a:gd name="T43" fmla="*/ 163 h 54"/>
                <a:gd name="T44" fmla="*/ 50 w 44"/>
                <a:gd name="T45" fmla="*/ 183 h 54"/>
                <a:gd name="T46" fmla="*/ 0 w 44"/>
                <a:gd name="T47" fmla="*/ 204 h 54"/>
                <a:gd name="T48" fmla="*/ 0 w 44"/>
                <a:gd name="T49" fmla="*/ 204 h 54"/>
                <a:gd name="T50" fmla="*/ 1 w 44"/>
                <a:gd name="T51" fmla="*/ 221 h 5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4"/>
                <a:gd name="T79" fmla="*/ 0 h 54"/>
                <a:gd name="T80" fmla="*/ 44 w 44"/>
                <a:gd name="T81" fmla="*/ 54 h 5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4" h="54">
                  <a:moveTo>
                    <a:pt x="1" y="54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22" y="46"/>
                    <a:pt x="22" y="46"/>
                    <a:pt x="22" y="46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1" y="13"/>
                    <a:pt x="22" y="14"/>
                  </a:cubicBezTo>
                  <a:cubicBezTo>
                    <a:pt x="22" y="15"/>
                    <a:pt x="24" y="18"/>
                    <a:pt x="24" y="18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3" y="26"/>
                    <a:pt x="23" y="27"/>
                  </a:cubicBezTo>
                  <a:cubicBezTo>
                    <a:pt x="22" y="28"/>
                    <a:pt x="16" y="32"/>
                    <a:pt x="16" y="33"/>
                  </a:cubicBezTo>
                  <a:cubicBezTo>
                    <a:pt x="16" y="33"/>
                    <a:pt x="10" y="40"/>
                    <a:pt x="10" y="40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" y="54"/>
                    <a:pt x="1" y="54"/>
                    <a:pt x="1" y="54"/>
                  </a:cubicBez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4" name="Freeform 122"/>
            <p:cNvSpPr>
              <a:spLocks/>
            </p:cNvSpPr>
            <p:nvPr/>
          </p:nvSpPr>
          <p:spPr bwMode="auto">
            <a:xfrm>
              <a:off x="4241" y="3240"/>
              <a:ext cx="91" cy="35"/>
            </a:xfrm>
            <a:custGeom>
              <a:avLst/>
              <a:gdLst>
                <a:gd name="T0" fmla="*/ 0 w 154"/>
                <a:gd name="T1" fmla="*/ 1 h 68"/>
                <a:gd name="T2" fmla="*/ 1 w 154"/>
                <a:gd name="T3" fmla="*/ 1 h 68"/>
                <a:gd name="T4" fmla="*/ 1 w 154"/>
                <a:gd name="T5" fmla="*/ 1 h 68"/>
                <a:gd name="T6" fmla="*/ 1 w 154"/>
                <a:gd name="T7" fmla="*/ 1 h 68"/>
                <a:gd name="T8" fmla="*/ 1 w 154"/>
                <a:gd name="T9" fmla="*/ 1 h 68"/>
                <a:gd name="T10" fmla="*/ 3 w 154"/>
                <a:gd name="T11" fmla="*/ 1 h 68"/>
                <a:gd name="T12" fmla="*/ 4 w 154"/>
                <a:gd name="T13" fmla="*/ 0 h 68"/>
                <a:gd name="T14" fmla="*/ 4 w 154"/>
                <a:gd name="T15" fmla="*/ 1 h 68"/>
                <a:gd name="T16" fmla="*/ 4 w 154"/>
                <a:gd name="T17" fmla="*/ 1 h 68"/>
                <a:gd name="T18" fmla="*/ 4 w 154"/>
                <a:gd name="T19" fmla="*/ 1 h 68"/>
                <a:gd name="T20" fmla="*/ 4 w 154"/>
                <a:gd name="T21" fmla="*/ 1 h 68"/>
                <a:gd name="T22" fmla="*/ 2 w 154"/>
                <a:gd name="T23" fmla="*/ 1 h 68"/>
                <a:gd name="T24" fmla="*/ 2 w 154"/>
                <a:gd name="T25" fmla="*/ 1 h 68"/>
                <a:gd name="T26" fmla="*/ 1 w 154"/>
                <a:gd name="T27" fmla="*/ 1 h 68"/>
                <a:gd name="T28" fmla="*/ 1 w 154"/>
                <a:gd name="T29" fmla="*/ 1 h 68"/>
                <a:gd name="T30" fmla="*/ 1 w 154"/>
                <a:gd name="T31" fmla="*/ 1 h 68"/>
                <a:gd name="T32" fmla="*/ 0 w 154"/>
                <a:gd name="T33" fmla="*/ 1 h 68"/>
                <a:gd name="T34" fmla="*/ 0 w 154"/>
                <a:gd name="T35" fmla="*/ 1 h 6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54"/>
                <a:gd name="T55" fmla="*/ 0 h 68"/>
                <a:gd name="T56" fmla="*/ 154 w 154"/>
                <a:gd name="T57" fmla="*/ 68 h 6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54" h="68">
                  <a:moveTo>
                    <a:pt x="0" y="14"/>
                  </a:moveTo>
                  <a:lnTo>
                    <a:pt x="15" y="2"/>
                  </a:lnTo>
                  <a:lnTo>
                    <a:pt x="43" y="35"/>
                  </a:lnTo>
                  <a:lnTo>
                    <a:pt x="48" y="49"/>
                  </a:lnTo>
                  <a:lnTo>
                    <a:pt x="50" y="49"/>
                  </a:lnTo>
                  <a:lnTo>
                    <a:pt x="114" y="7"/>
                  </a:lnTo>
                  <a:lnTo>
                    <a:pt x="152" y="0"/>
                  </a:lnTo>
                  <a:lnTo>
                    <a:pt x="154" y="9"/>
                  </a:lnTo>
                  <a:lnTo>
                    <a:pt x="147" y="16"/>
                  </a:lnTo>
                  <a:lnTo>
                    <a:pt x="142" y="26"/>
                  </a:lnTo>
                  <a:lnTo>
                    <a:pt x="104" y="37"/>
                  </a:lnTo>
                  <a:lnTo>
                    <a:pt x="67" y="61"/>
                  </a:lnTo>
                  <a:lnTo>
                    <a:pt x="45" y="61"/>
                  </a:lnTo>
                  <a:lnTo>
                    <a:pt x="34" y="68"/>
                  </a:lnTo>
                  <a:lnTo>
                    <a:pt x="12" y="68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5" name="Freeform 123"/>
            <p:cNvSpPr>
              <a:spLocks/>
            </p:cNvSpPr>
            <p:nvPr/>
          </p:nvSpPr>
          <p:spPr bwMode="auto">
            <a:xfrm>
              <a:off x="4254" y="3038"/>
              <a:ext cx="169" cy="135"/>
            </a:xfrm>
            <a:custGeom>
              <a:avLst/>
              <a:gdLst>
                <a:gd name="T0" fmla="*/ 6 w 286"/>
                <a:gd name="T1" fmla="*/ 3 h 260"/>
                <a:gd name="T2" fmla="*/ 5 w 286"/>
                <a:gd name="T3" fmla="*/ 3 h 260"/>
                <a:gd name="T4" fmla="*/ 5 w 286"/>
                <a:gd name="T5" fmla="*/ 3 h 260"/>
                <a:gd name="T6" fmla="*/ 4 w 286"/>
                <a:gd name="T7" fmla="*/ 3 h 260"/>
                <a:gd name="T8" fmla="*/ 4 w 286"/>
                <a:gd name="T9" fmla="*/ 3 h 260"/>
                <a:gd name="T10" fmla="*/ 3 w 286"/>
                <a:gd name="T11" fmla="*/ 2 h 260"/>
                <a:gd name="T12" fmla="*/ 2 w 286"/>
                <a:gd name="T13" fmla="*/ 2 h 260"/>
                <a:gd name="T14" fmla="*/ 2 w 286"/>
                <a:gd name="T15" fmla="*/ 2 h 260"/>
                <a:gd name="T16" fmla="*/ 2 w 286"/>
                <a:gd name="T17" fmla="*/ 2 h 260"/>
                <a:gd name="T18" fmla="*/ 2 w 286"/>
                <a:gd name="T19" fmla="*/ 2 h 260"/>
                <a:gd name="T20" fmla="*/ 1 w 286"/>
                <a:gd name="T21" fmla="*/ 2 h 260"/>
                <a:gd name="T22" fmla="*/ 1 w 286"/>
                <a:gd name="T23" fmla="*/ 2 h 260"/>
                <a:gd name="T24" fmla="*/ 1 w 286"/>
                <a:gd name="T25" fmla="*/ 2 h 260"/>
                <a:gd name="T26" fmla="*/ 1 w 286"/>
                <a:gd name="T27" fmla="*/ 1 h 260"/>
                <a:gd name="T28" fmla="*/ 1 w 286"/>
                <a:gd name="T29" fmla="*/ 1 h 260"/>
                <a:gd name="T30" fmla="*/ 1 w 286"/>
                <a:gd name="T31" fmla="*/ 1 h 260"/>
                <a:gd name="T32" fmla="*/ 1 w 286"/>
                <a:gd name="T33" fmla="*/ 1 h 260"/>
                <a:gd name="T34" fmla="*/ 1 w 286"/>
                <a:gd name="T35" fmla="*/ 1 h 260"/>
                <a:gd name="T36" fmla="*/ 0 w 286"/>
                <a:gd name="T37" fmla="*/ 1 h 260"/>
                <a:gd name="T38" fmla="*/ 1 w 286"/>
                <a:gd name="T39" fmla="*/ 0 h 260"/>
                <a:gd name="T40" fmla="*/ 1 w 286"/>
                <a:gd name="T41" fmla="*/ 0 h 260"/>
                <a:gd name="T42" fmla="*/ 1 w 286"/>
                <a:gd name="T43" fmla="*/ 1 h 260"/>
                <a:gd name="T44" fmla="*/ 1 w 286"/>
                <a:gd name="T45" fmla="*/ 1 h 260"/>
                <a:gd name="T46" fmla="*/ 1 w 286"/>
                <a:gd name="T47" fmla="*/ 1 h 260"/>
                <a:gd name="T48" fmla="*/ 1 w 286"/>
                <a:gd name="T49" fmla="*/ 1 h 260"/>
                <a:gd name="T50" fmla="*/ 1 w 286"/>
                <a:gd name="T51" fmla="*/ 1 h 260"/>
                <a:gd name="T52" fmla="*/ 1 w 286"/>
                <a:gd name="T53" fmla="*/ 1 h 260"/>
                <a:gd name="T54" fmla="*/ 2 w 286"/>
                <a:gd name="T55" fmla="*/ 1 h 260"/>
                <a:gd name="T56" fmla="*/ 2 w 286"/>
                <a:gd name="T57" fmla="*/ 1 h 260"/>
                <a:gd name="T58" fmla="*/ 2 w 286"/>
                <a:gd name="T59" fmla="*/ 1 h 260"/>
                <a:gd name="T60" fmla="*/ 3 w 286"/>
                <a:gd name="T61" fmla="*/ 1 h 260"/>
                <a:gd name="T62" fmla="*/ 4 w 286"/>
                <a:gd name="T63" fmla="*/ 1 h 260"/>
                <a:gd name="T64" fmla="*/ 4 w 286"/>
                <a:gd name="T65" fmla="*/ 1 h 260"/>
                <a:gd name="T66" fmla="*/ 4 w 286"/>
                <a:gd name="T67" fmla="*/ 1 h 260"/>
                <a:gd name="T68" fmla="*/ 4 w 286"/>
                <a:gd name="T69" fmla="*/ 1 h 260"/>
                <a:gd name="T70" fmla="*/ 5 w 286"/>
                <a:gd name="T71" fmla="*/ 1 h 260"/>
                <a:gd name="T72" fmla="*/ 6 w 286"/>
                <a:gd name="T73" fmla="*/ 1 h 260"/>
                <a:gd name="T74" fmla="*/ 6 w 286"/>
                <a:gd name="T75" fmla="*/ 1 h 260"/>
                <a:gd name="T76" fmla="*/ 6 w 286"/>
                <a:gd name="T77" fmla="*/ 1 h 260"/>
                <a:gd name="T78" fmla="*/ 6 w 286"/>
                <a:gd name="T79" fmla="*/ 1 h 260"/>
                <a:gd name="T80" fmla="*/ 6 w 286"/>
                <a:gd name="T81" fmla="*/ 1 h 260"/>
                <a:gd name="T82" fmla="*/ 6 w 286"/>
                <a:gd name="T83" fmla="*/ 1 h 260"/>
                <a:gd name="T84" fmla="*/ 6 w 286"/>
                <a:gd name="T85" fmla="*/ 2 h 260"/>
                <a:gd name="T86" fmla="*/ 6 w 286"/>
                <a:gd name="T87" fmla="*/ 2 h 260"/>
                <a:gd name="T88" fmla="*/ 6 w 286"/>
                <a:gd name="T89" fmla="*/ 2 h 260"/>
                <a:gd name="T90" fmla="*/ 6 w 286"/>
                <a:gd name="T91" fmla="*/ 2 h 260"/>
                <a:gd name="T92" fmla="*/ 6 w 286"/>
                <a:gd name="T93" fmla="*/ 2 h 260"/>
                <a:gd name="T94" fmla="*/ 7 w 286"/>
                <a:gd name="T95" fmla="*/ 2 h 260"/>
                <a:gd name="T96" fmla="*/ 7 w 286"/>
                <a:gd name="T97" fmla="*/ 3 h 260"/>
                <a:gd name="T98" fmla="*/ 6 w 286"/>
                <a:gd name="T99" fmla="*/ 3 h 260"/>
                <a:gd name="T100" fmla="*/ 6 w 286"/>
                <a:gd name="T101" fmla="*/ 3 h 260"/>
                <a:gd name="T102" fmla="*/ 6 w 286"/>
                <a:gd name="T103" fmla="*/ 3 h 26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86"/>
                <a:gd name="T157" fmla="*/ 0 h 260"/>
                <a:gd name="T158" fmla="*/ 286 w 286"/>
                <a:gd name="T159" fmla="*/ 260 h 26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86" h="260">
                  <a:moveTo>
                    <a:pt x="262" y="260"/>
                  </a:moveTo>
                  <a:lnTo>
                    <a:pt x="196" y="253"/>
                  </a:lnTo>
                  <a:lnTo>
                    <a:pt x="189" y="232"/>
                  </a:lnTo>
                  <a:lnTo>
                    <a:pt x="158" y="241"/>
                  </a:lnTo>
                  <a:lnTo>
                    <a:pt x="144" y="239"/>
                  </a:lnTo>
                  <a:lnTo>
                    <a:pt x="111" y="218"/>
                  </a:lnTo>
                  <a:lnTo>
                    <a:pt x="92" y="185"/>
                  </a:lnTo>
                  <a:lnTo>
                    <a:pt x="71" y="173"/>
                  </a:lnTo>
                  <a:lnTo>
                    <a:pt x="68" y="180"/>
                  </a:lnTo>
                  <a:lnTo>
                    <a:pt x="66" y="180"/>
                  </a:lnTo>
                  <a:lnTo>
                    <a:pt x="52" y="163"/>
                  </a:lnTo>
                  <a:lnTo>
                    <a:pt x="47" y="140"/>
                  </a:lnTo>
                  <a:lnTo>
                    <a:pt x="28" y="128"/>
                  </a:lnTo>
                  <a:lnTo>
                    <a:pt x="19" y="111"/>
                  </a:lnTo>
                  <a:lnTo>
                    <a:pt x="30" y="88"/>
                  </a:lnTo>
                  <a:lnTo>
                    <a:pt x="28" y="76"/>
                  </a:lnTo>
                  <a:lnTo>
                    <a:pt x="19" y="74"/>
                  </a:lnTo>
                  <a:lnTo>
                    <a:pt x="12" y="50"/>
                  </a:lnTo>
                  <a:lnTo>
                    <a:pt x="0" y="10"/>
                  </a:lnTo>
                  <a:lnTo>
                    <a:pt x="7" y="0"/>
                  </a:lnTo>
                  <a:lnTo>
                    <a:pt x="19" y="19"/>
                  </a:lnTo>
                  <a:lnTo>
                    <a:pt x="30" y="19"/>
                  </a:lnTo>
                  <a:lnTo>
                    <a:pt x="38" y="19"/>
                  </a:lnTo>
                  <a:lnTo>
                    <a:pt x="56" y="5"/>
                  </a:lnTo>
                  <a:lnTo>
                    <a:pt x="61" y="7"/>
                  </a:lnTo>
                  <a:lnTo>
                    <a:pt x="59" y="19"/>
                  </a:lnTo>
                  <a:lnTo>
                    <a:pt x="71" y="26"/>
                  </a:lnTo>
                  <a:lnTo>
                    <a:pt x="71" y="29"/>
                  </a:lnTo>
                  <a:lnTo>
                    <a:pt x="73" y="45"/>
                  </a:lnTo>
                  <a:lnTo>
                    <a:pt x="111" y="64"/>
                  </a:lnTo>
                  <a:lnTo>
                    <a:pt x="146" y="59"/>
                  </a:lnTo>
                  <a:lnTo>
                    <a:pt x="146" y="48"/>
                  </a:lnTo>
                  <a:lnTo>
                    <a:pt x="167" y="33"/>
                  </a:lnTo>
                  <a:lnTo>
                    <a:pt x="193" y="31"/>
                  </a:lnTo>
                  <a:lnTo>
                    <a:pt x="255" y="66"/>
                  </a:lnTo>
                  <a:lnTo>
                    <a:pt x="257" y="76"/>
                  </a:lnTo>
                  <a:lnTo>
                    <a:pt x="257" y="78"/>
                  </a:lnTo>
                  <a:lnTo>
                    <a:pt x="253" y="95"/>
                  </a:lnTo>
                  <a:lnTo>
                    <a:pt x="243" y="111"/>
                  </a:lnTo>
                  <a:lnTo>
                    <a:pt x="248" y="151"/>
                  </a:lnTo>
                  <a:lnTo>
                    <a:pt x="260" y="156"/>
                  </a:lnTo>
                  <a:lnTo>
                    <a:pt x="262" y="166"/>
                  </a:lnTo>
                  <a:lnTo>
                    <a:pt x="250" y="185"/>
                  </a:lnTo>
                  <a:lnTo>
                    <a:pt x="264" y="206"/>
                  </a:lnTo>
                  <a:lnTo>
                    <a:pt x="276" y="211"/>
                  </a:lnTo>
                  <a:lnTo>
                    <a:pt x="286" y="229"/>
                  </a:lnTo>
                  <a:lnTo>
                    <a:pt x="264" y="246"/>
                  </a:lnTo>
                  <a:lnTo>
                    <a:pt x="262" y="26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6" name="Freeform 124"/>
            <p:cNvSpPr>
              <a:spLocks/>
            </p:cNvSpPr>
            <p:nvPr/>
          </p:nvSpPr>
          <p:spPr bwMode="auto">
            <a:xfrm>
              <a:off x="4398" y="3053"/>
              <a:ext cx="127" cy="85"/>
            </a:xfrm>
            <a:custGeom>
              <a:avLst/>
              <a:gdLst>
                <a:gd name="T0" fmla="*/ 5 w 215"/>
                <a:gd name="T1" fmla="*/ 1 h 163"/>
                <a:gd name="T2" fmla="*/ 5 w 215"/>
                <a:gd name="T3" fmla="*/ 1 h 163"/>
                <a:gd name="T4" fmla="*/ 5 w 215"/>
                <a:gd name="T5" fmla="*/ 1 h 163"/>
                <a:gd name="T6" fmla="*/ 4 w 215"/>
                <a:gd name="T7" fmla="*/ 1 h 163"/>
                <a:gd name="T8" fmla="*/ 4 w 215"/>
                <a:gd name="T9" fmla="*/ 1 h 163"/>
                <a:gd name="T10" fmla="*/ 4 w 215"/>
                <a:gd name="T11" fmla="*/ 1 h 163"/>
                <a:gd name="T12" fmla="*/ 4 w 215"/>
                <a:gd name="T13" fmla="*/ 1 h 163"/>
                <a:gd name="T14" fmla="*/ 4 w 215"/>
                <a:gd name="T15" fmla="*/ 1 h 163"/>
                <a:gd name="T16" fmla="*/ 4 w 215"/>
                <a:gd name="T17" fmla="*/ 1 h 163"/>
                <a:gd name="T18" fmla="*/ 3 w 215"/>
                <a:gd name="T19" fmla="*/ 2 h 163"/>
                <a:gd name="T20" fmla="*/ 2 w 215"/>
                <a:gd name="T21" fmla="*/ 2 h 163"/>
                <a:gd name="T22" fmla="*/ 2 w 215"/>
                <a:gd name="T23" fmla="*/ 2 h 163"/>
                <a:gd name="T24" fmla="*/ 2 w 215"/>
                <a:gd name="T25" fmla="*/ 2 h 163"/>
                <a:gd name="T26" fmla="*/ 1 w 215"/>
                <a:gd name="T27" fmla="*/ 2 h 163"/>
                <a:gd name="T28" fmla="*/ 1 w 215"/>
                <a:gd name="T29" fmla="*/ 2 h 163"/>
                <a:gd name="T30" fmla="*/ 1 w 215"/>
                <a:gd name="T31" fmla="*/ 2 h 163"/>
                <a:gd name="T32" fmla="*/ 1 w 215"/>
                <a:gd name="T33" fmla="*/ 2 h 163"/>
                <a:gd name="T34" fmla="*/ 1 w 215"/>
                <a:gd name="T35" fmla="*/ 2 h 163"/>
                <a:gd name="T36" fmla="*/ 1 w 215"/>
                <a:gd name="T37" fmla="*/ 2 h 163"/>
                <a:gd name="T38" fmla="*/ 0 w 215"/>
                <a:gd name="T39" fmla="*/ 1 h 163"/>
                <a:gd name="T40" fmla="*/ 0 w 215"/>
                <a:gd name="T41" fmla="*/ 1 h 163"/>
                <a:gd name="T42" fmla="*/ 1 w 215"/>
                <a:gd name="T43" fmla="*/ 1 h 163"/>
                <a:gd name="T44" fmla="*/ 1 w 215"/>
                <a:gd name="T45" fmla="*/ 1 h 163"/>
                <a:gd name="T46" fmla="*/ 1 w 215"/>
                <a:gd name="T47" fmla="*/ 1 h 163"/>
                <a:gd name="T48" fmla="*/ 1 w 215"/>
                <a:gd name="T49" fmla="*/ 1 h 163"/>
                <a:gd name="T50" fmla="*/ 1 w 215"/>
                <a:gd name="T51" fmla="*/ 1 h 163"/>
                <a:gd name="T52" fmla="*/ 1 w 215"/>
                <a:gd name="T53" fmla="*/ 1 h 163"/>
                <a:gd name="T54" fmla="*/ 2 w 215"/>
                <a:gd name="T55" fmla="*/ 1 h 163"/>
                <a:gd name="T56" fmla="*/ 2 w 215"/>
                <a:gd name="T57" fmla="*/ 1 h 163"/>
                <a:gd name="T58" fmla="*/ 2 w 215"/>
                <a:gd name="T59" fmla="*/ 1 h 163"/>
                <a:gd name="T60" fmla="*/ 3 w 215"/>
                <a:gd name="T61" fmla="*/ 1 h 163"/>
                <a:gd name="T62" fmla="*/ 4 w 215"/>
                <a:gd name="T63" fmla="*/ 1 h 163"/>
                <a:gd name="T64" fmla="*/ 4 w 215"/>
                <a:gd name="T65" fmla="*/ 1 h 163"/>
                <a:gd name="T66" fmla="*/ 4 w 215"/>
                <a:gd name="T67" fmla="*/ 1 h 163"/>
                <a:gd name="T68" fmla="*/ 4 w 215"/>
                <a:gd name="T69" fmla="*/ 0 h 163"/>
                <a:gd name="T70" fmla="*/ 4 w 215"/>
                <a:gd name="T71" fmla="*/ 1 h 163"/>
                <a:gd name="T72" fmla="*/ 4 w 215"/>
                <a:gd name="T73" fmla="*/ 1 h 163"/>
                <a:gd name="T74" fmla="*/ 5 w 215"/>
                <a:gd name="T75" fmla="*/ 1 h 163"/>
                <a:gd name="T76" fmla="*/ 5 w 215"/>
                <a:gd name="T77" fmla="*/ 1 h 163"/>
                <a:gd name="T78" fmla="*/ 5 w 215"/>
                <a:gd name="T79" fmla="*/ 1 h 163"/>
                <a:gd name="T80" fmla="*/ 5 w 215"/>
                <a:gd name="T81" fmla="*/ 1 h 163"/>
                <a:gd name="T82" fmla="*/ 5 w 215"/>
                <a:gd name="T83" fmla="*/ 1 h 16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15"/>
                <a:gd name="T127" fmla="*/ 0 h 163"/>
                <a:gd name="T128" fmla="*/ 215 w 215"/>
                <a:gd name="T129" fmla="*/ 163 h 16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15" h="163">
                  <a:moveTo>
                    <a:pt x="213" y="28"/>
                  </a:moveTo>
                  <a:lnTo>
                    <a:pt x="199" y="28"/>
                  </a:lnTo>
                  <a:lnTo>
                    <a:pt x="184" y="30"/>
                  </a:lnTo>
                  <a:lnTo>
                    <a:pt x="165" y="42"/>
                  </a:lnTo>
                  <a:lnTo>
                    <a:pt x="165" y="63"/>
                  </a:lnTo>
                  <a:lnTo>
                    <a:pt x="156" y="82"/>
                  </a:lnTo>
                  <a:lnTo>
                    <a:pt x="142" y="82"/>
                  </a:lnTo>
                  <a:lnTo>
                    <a:pt x="147" y="92"/>
                  </a:lnTo>
                  <a:lnTo>
                    <a:pt x="137" y="101"/>
                  </a:lnTo>
                  <a:lnTo>
                    <a:pt x="130" y="120"/>
                  </a:lnTo>
                  <a:lnTo>
                    <a:pt x="97" y="130"/>
                  </a:lnTo>
                  <a:lnTo>
                    <a:pt x="90" y="137"/>
                  </a:lnTo>
                  <a:lnTo>
                    <a:pt x="85" y="156"/>
                  </a:lnTo>
                  <a:lnTo>
                    <a:pt x="28" y="163"/>
                  </a:lnTo>
                  <a:lnTo>
                    <a:pt x="7" y="156"/>
                  </a:lnTo>
                  <a:lnTo>
                    <a:pt x="19" y="137"/>
                  </a:lnTo>
                  <a:lnTo>
                    <a:pt x="17" y="127"/>
                  </a:lnTo>
                  <a:lnTo>
                    <a:pt x="5" y="122"/>
                  </a:lnTo>
                  <a:lnTo>
                    <a:pt x="0" y="82"/>
                  </a:lnTo>
                  <a:lnTo>
                    <a:pt x="10" y="66"/>
                  </a:lnTo>
                  <a:lnTo>
                    <a:pt x="14" y="49"/>
                  </a:lnTo>
                  <a:lnTo>
                    <a:pt x="36" y="56"/>
                  </a:lnTo>
                  <a:lnTo>
                    <a:pt x="43" y="47"/>
                  </a:lnTo>
                  <a:lnTo>
                    <a:pt x="61" y="40"/>
                  </a:lnTo>
                  <a:lnTo>
                    <a:pt x="66" y="23"/>
                  </a:lnTo>
                  <a:lnTo>
                    <a:pt x="76" y="23"/>
                  </a:lnTo>
                  <a:lnTo>
                    <a:pt x="78" y="19"/>
                  </a:lnTo>
                  <a:lnTo>
                    <a:pt x="118" y="26"/>
                  </a:lnTo>
                  <a:lnTo>
                    <a:pt x="135" y="21"/>
                  </a:lnTo>
                  <a:lnTo>
                    <a:pt x="137" y="16"/>
                  </a:lnTo>
                  <a:lnTo>
                    <a:pt x="144" y="16"/>
                  </a:lnTo>
                  <a:lnTo>
                    <a:pt x="156" y="0"/>
                  </a:lnTo>
                  <a:lnTo>
                    <a:pt x="165" y="9"/>
                  </a:lnTo>
                  <a:lnTo>
                    <a:pt x="168" y="33"/>
                  </a:lnTo>
                  <a:lnTo>
                    <a:pt x="194" y="19"/>
                  </a:lnTo>
                  <a:lnTo>
                    <a:pt x="215" y="23"/>
                  </a:lnTo>
                  <a:lnTo>
                    <a:pt x="210" y="23"/>
                  </a:lnTo>
                  <a:lnTo>
                    <a:pt x="213" y="28"/>
                  </a:lnTo>
                  <a:close/>
                </a:path>
              </a:pathLst>
            </a:custGeom>
            <a:solidFill>
              <a:srgbClr val="12457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27432" tIns="27432" rIns="27432" bIns="27432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7" name="Freeform 125"/>
            <p:cNvSpPr>
              <a:spLocks/>
            </p:cNvSpPr>
            <p:nvPr/>
          </p:nvSpPr>
          <p:spPr bwMode="auto">
            <a:xfrm>
              <a:off x="4402" y="3067"/>
              <a:ext cx="148" cy="120"/>
            </a:xfrm>
            <a:custGeom>
              <a:avLst/>
              <a:gdLst>
                <a:gd name="T0" fmla="*/ 1 w 251"/>
                <a:gd name="T1" fmla="*/ 2 h 229"/>
                <a:gd name="T2" fmla="*/ 1 w 251"/>
                <a:gd name="T3" fmla="*/ 2 h 229"/>
                <a:gd name="T4" fmla="*/ 1 w 251"/>
                <a:gd name="T5" fmla="*/ 2 h 229"/>
                <a:gd name="T6" fmla="*/ 1 w 251"/>
                <a:gd name="T7" fmla="*/ 2 h 229"/>
                <a:gd name="T8" fmla="*/ 1 w 251"/>
                <a:gd name="T9" fmla="*/ 2 h 229"/>
                <a:gd name="T10" fmla="*/ 0 w 251"/>
                <a:gd name="T11" fmla="*/ 2 h 229"/>
                <a:gd name="T12" fmla="*/ 0 w 251"/>
                <a:gd name="T13" fmla="*/ 2 h 229"/>
                <a:gd name="T14" fmla="*/ 1 w 251"/>
                <a:gd name="T15" fmla="*/ 2 h 229"/>
                <a:gd name="T16" fmla="*/ 2 w 251"/>
                <a:gd name="T17" fmla="*/ 2 h 229"/>
                <a:gd name="T18" fmla="*/ 2 w 251"/>
                <a:gd name="T19" fmla="*/ 1 h 229"/>
                <a:gd name="T20" fmla="*/ 2 w 251"/>
                <a:gd name="T21" fmla="*/ 1 h 229"/>
                <a:gd name="T22" fmla="*/ 3 w 251"/>
                <a:gd name="T23" fmla="*/ 1 h 229"/>
                <a:gd name="T24" fmla="*/ 3 w 251"/>
                <a:gd name="T25" fmla="*/ 1 h 229"/>
                <a:gd name="T26" fmla="*/ 4 w 251"/>
                <a:gd name="T27" fmla="*/ 1 h 229"/>
                <a:gd name="T28" fmla="*/ 4 w 251"/>
                <a:gd name="T29" fmla="*/ 1 h 229"/>
                <a:gd name="T30" fmla="*/ 4 w 251"/>
                <a:gd name="T31" fmla="*/ 1 h 229"/>
                <a:gd name="T32" fmla="*/ 4 w 251"/>
                <a:gd name="T33" fmla="*/ 1 h 229"/>
                <a:gd name="T34" fmla="*/ 4 w 251"/>
                <a:gd name="T35" fmla="*/ 1 h 229"/>
                <a:gd name="T36" fmla="*/ 4 w 251"/>
                <a:gd name="T37" fmla="*/ 1 h 229"/>
                <a:gd name="T38" fmla="*/ 5 w 251"/>
                <a:gd name="T39" fmla="*/ 0 h 229"/>
                <a:gd name="T40" fmla="*/ 5 w 251"/>
                <a:gd name="T41" fmla="*/ 0 h 229"/>
                <a:gd name="T42" fmla="*/ 5 w 251"/>
                <a:gd name="T43" fmla="*/ 0 h 229"/>
                <a:gd name="T44" fmla="*/ 5 w 251"/>
                <a:gd name="T45" fmla="*/ 1 h 229"/>
                <a:gd name="T46" fmla="*/ 6 w 251"/>
                <a:gd name="T47" fmla="*/ 1 h 229"/>
                <a:gd name="T48" fmla="*/ 6 w 251"/>
                <a:gd name="T49" fmla="*/ 1 h 229"/>
                <a:gd name="T50" fmla="*/ 6 w 251"/>
                <a:gd name="T51" fmla="*/ 1 h 229"/>
                <a:gd name="T52" fmla="*/ 5 w 251"/>
                <a:gd name="T53" fmla="*/ 1 h 229"/>
                <a:gd name="T54" fmla="*/ 5 w 251"/>
                <a:gd name="T55" fmla="*/ 1 h 229"/>
                <a:gd name="T56" fmla="*/ 5 w 251"/>
                <a:gd name="T57" fmla="*/ 1 h 229"/>
                <a:gd name="T58" fmla="*/ 5 w 251"/>
                <a:gd name="T59" fmla="*/ 1 h 229"/>
                <a:gd name="T60" fmla="*/ 5 w 251"/>
                <a:gd name="T61" fmla="*/ 1 h 229"/>
                <a:gd name="T62" fmla="*/ 5 w 251"/>
                <a:gd name="T63" fmla="*/ 1 h 229"/>
                <a:gd name="T64" fmla="*/ 5 w 251"/>
                <a:gd name="T65" fmla="*/ 1 h 229"/>
                <a:gd name="T66" fmla="*/ 5 w 251"/>
                <a:gd name="T67" fmla="*/ 1 h 229"/>
                <a:gd name="T68" fmla="*/ 5 w 251"/>
                <a:gd name="T69" fmla="*/ 1 h 229"/>
                <a:gd name="T70" fmla="*/ 4 w 251"/>
                <a:gd name="T71" fmla="*/ 2 h 229"/>
                <a:gd name="T72" fmla="*/ 4 w 251"/>
                <a:gd name="T73" fmla="*/ 2 h 229"/>
                <a:gd name="T74" fmla="*/ 4 w 251"/>
                <a:gd name="T75" fmla="*/ 2 h 229"/>
                <a:gd name="T76" fmla="*/ 3 w 251"/>
                <a:gd name="T77" fmla="*/ 2 h 229"/>
                <a:gd name="T78" fmla="*/ 3 w 251"/>
                <a:gd name="T79" fmla="*/ 2 h 229"/>
                <a:gd name="T80" fmla="*/ 4 w 251"/>
                <a:gd name="T81" fmla="*/ 2 h 229"/>
                <a:gd name="T82" fmla="*/ 4 w 251"/>
                <a:gd name="T83" fmla="*/ 2 h 229"/>
                <a:gd name="T84" fmla="*/ 4 w 251"/>
                <a:gd name="T85" fmla="*/ 2 h 229"/>
                <a:gd name="T86" fmla="*/ 4 w 251"/>
                <a:gd name="T87" fmla="*/ 2 h 229"/>
                <a:gd name="T88" fmla="*/ 4 w 251"/>
                <a:gd name="T89" fmla="*/ 2 h 229"/>
                <a:gd name="T90" fmla="*/ 3 w 251"/>
                <a:gd name="T91" fmla="*/ 2 h 229"/>
                <a:gd name="T92" fmla="*/ 3 w 251"/>
                <a:gd name="T93" fmla="*/ 3 h 229"/>
                <a:gd name="T94" fmla="*/ 3 w 251"/>
                <a:gd name="T95" fmla="*/ 3 h 229"/>
                <a:gd name="T96" fmla="*/ 2 w 251"/>
                <a:gd name="T97" fmla="*/ 3 h 229"/>
                <a:gd name="T98" fmla="*/ 2 w 251"/>
                <a:gd name="T99" fmla="*/ 2 h 229"/>
                <a:gd name="T100" fmla="*/ 1 w 251"/>
                <a:gd name="T101" fmla="*/ 2 h 229"/>
                <a:gd name="T102" fmla="*/ 1 w 251"/>
                <a:gd name="T103" fmla="*/ 2 h 229"/>
                <a:gd name="T104" fmla="*/ 1 w 251"/>
                <a:gd name="T105" fmla="*/ 2 h 229"/>
                <a:gd name="T106" fmla="*/ 1 w 251"/>
                <a:gd name="T107" fmla="*/ 2 h 22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51"/>
                <a:gd name="T163" fmla="*/ 0 h 229"/>
                <a:gd name="T164" fmla="*/ 251 w 251"/>
                <a:gd name="T165" fmla="*/ 229 h 22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51" h="229">
                  <a:moveTo>
                    <a:pt x="12" y="203"/>
                  </a:moveTo>
                  <a:lnTo>
                    <a:pt x="14" y="189"/>
                  </a:lnTo>
                  <a:lnTo>
                    <a:pt x="36" y="172"/>
                  </a:lnTo>
                  <a:lnTo>
                    <a:pt x="26" y="154"/>
                  </a:lnTo>
                  <a:lnTo>
                    <a:pt x="14" y="149"/>
                  </a:lnTo>
                  <a:lnTo>
                    <a:pt x="0" y="128"/>
                  </a:lnTo>
                  <a:lnTo>
                    <a:pt x="21" y="135"/>
                  </a:lnTo>
                  <a:lnTo>
                    <a:pt x="78" y="128"/>
                  </a:lnTo>
                  <a:lnTo>
                    <a:pt x="83" y="109"/>
                  </a:lnTo>
                  <a:lnTo>
                    <a:pt x="90" y="102"/>
                  </a:lnTo>
                  <a:lnTo>
                    <a:pt x="123" y="92"/>
                  </a:lnTo>
                  <a:lnTo>
                    <a:pt x="130" y="73"/>
                  </a:lnTo>
                  <a:lnTo>
                    <a:pt x="140" y="64"/>
                  </a:lnTo>
                  <a:lnTo>
                    <a:pt x="135" y="54"/>
                  </a:lnTo>
                  <a:lnTo>
                    <a:pt x="149" y="54"/>
                  </a:lnTo>
                  <a:lnTo>
                    <a:pt x="158" y="35"/>
                  </a:lnTo>
                  <a:lnTo>
                    <a:pt x="158" y="14"/>
                  </a:lnTo>
                  <a:lnTo>
                    <a:pt x="177" y="2"/>
                  </a:lnTo>
                  <a:lnTo>
                    <a:pt x="192" y="0"/>
                  </a:lnTo>
                  <a:lnTo>
                    <a:pt x="206" y="0"/>
                  </a:lnTo>
                  <a:lnTo>
                    <a:pt x="220" y="5"/>
                  </a:lnTo>
                  <a:lnTo>
                    <a:pt x="227" y="19"/>
                  </a:lnTo>
                  <a:lnTo>
                    <a:pt x="251" y="28"/>
                  </a:lnTo>
                  <a:lnTo>
                    <a:pt x="239" y="38"/>
                  </a:lnTo>
                  <a:lnTo>
                    <a:pt x="222" y="45"/>
                  </a:lnTo>
                  <a:lnTo>
                    <a:pt x="201" y="38"/>
                  </a:lnTo>
                  <a:lnTo>
                    <a:pt x="192" y="45"/>
                  </a:lnTo>
                  <a:lnTo>
                    <a:pt x="199" y="52"/>
                  </a:lnTo>
                  <a:lnTo>
                    <a:pt x="196" y="71"/>
                  </a:lnTo>
                  <a:lnTo>
                    <a:pt x="215" y="83"/>
                  </a:lnTo>
                  <a:lnTo>
                    <a:pt x="215" y="90"/>
                  </a:lnTo>
                  <a:lnTo>
                    <a:pt x="206" y="90"/>
                  </a:lnTo>
                  <a:lnTo>
                    <a:pt x="208" y="104"/>
                  </a:lnTo>
                  <a:lnTo>
                    <a:pt x="163" y="158"/>
                  </a:lnTo>
                  <a:lnTo>
                    <a:pt x="149" y="163"/>
                  </a:lnTo>
                  <a:lnTo>
                    <a:pt x="140" y="161"/>
                  </a:lnTo>
                  <a:lnTo>
                    <a:pt x="130" y="170"/>
                  </a:lnTo>
                  <a:lnTo>
                    <a:pt x="130" y="182"/>
                  </a:lnTo>
                  <a:lnTo>
                    <a:pt x="137" y="182"/>
                  </a:lnTo>
                  <a:lnTo>
                    <a:pt x="137" y="194"/>
                  </a:lnTo>
                  <a:lnTo>
                    <a:pt x="144" y="196"/>
                  </a:lnTo>
                  <a:lnTo>
                    <a:pt x="149" y="210"/>
                  </a:lnTo>
                  <a:lnTo>
                    <a:pt x="149" y="220"/>
                  </a:lnTo>
                  <a:lnTo>
                    <a:pt x="121" y="220"/>
                  </a:lnTo>
                  <a:lnTo>
                    <a:pt x="106" y="229"/>
                  </a:lnTo>
                  <a:lnTo>
                    <a:pt x="97" y="227"/>
                  </a:lnTo>
                  <a:lnTo>
                    <a:pt x="85" y="203"/>
                  </a:lnTo>
                  <a:lnTo>
                    <a:pt x="57" y="206"/>
                  </a:lnTo>
                  <a:lnTo>
                    <a:pt x="45" y="201"/>
                  </a:lnTo>
                  <a:lnTo>
                    <a:pt x="12" y="203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8" name="Freeform 126"/>
            <p:cNvSpPr>
              <a:spLocks/>
            </p:cNvSpPr>
            <p:nvPr/>
          </p:nvSpPr>
          <p:spPr bwMode="auto">
            <a:xfrm>
              <a:off x="4571" y="3130"/>
              <a:ext cx="70" cy="33"/>
            </a:xfrm>
            <a:custGeom>
              <a:avLst/>
              <a:gdLst>
                <a:gd name="T0" fmla="*/ 1 w 118"/>
                <a:gd name="T1" fmla="*/ 0 h 64"/>
                <a:gd name="T2" fmla="*/ 0 w 118"/>
                <a:gd name="T3" fmla="*/ 1 h 64"/>
                <a:gd name="T4" fmla="*/ 1 w 118"/>
                <a:gd name="T5" fmla="*/ 1 h 64"/>
                <a:gd name="T6" fmla="*/ 3 w 118"/>
                <a:gd name="T7" fmla="*/ 1 h 64"/>
                <a:gd name="T8" fmla="*/ 3 w 118"/>
                <a:gd name="T9" fmla="*/ 1 h 64"/>
                <a:gd name="T10" fmla="*/ 3 w 118"/>
                <a:gd name="T11" fmla="*/ 1 h 64"/>
                <a:gd name="T12" fmla="*/ 3 w 118"/>
                <a:gd name="T13" fmla="*/ 1 h 64"/>
                <a:gd name="T14" fmla="*/ 3 w 118"/>
                <a:gd name="T15" fmla="*/ 1 h 64"/>
                <a:gd name="T16" fmla="*/ 2 w 118"/>
                <a:gd name="T17" fmla="*/ 1 h 64"/>
                <a:gd name="T18" fmla="*/ 2 w 118"/>
                <a:gd name="T19" fmla="*/ 1 h 64"/>
                <a:gd name="T20" fmla="*/ 1 w 118"/>
                <a:gd name="T21" fmla="*/ 1 h 64"/>
                <a:gd name="T22" fmla="*/ 1 w 118"/>
                <a:gd name="T23" fmla="*/ 1 h 64"/>
                <a:gd name="T24" fmla="*/ 1 w 118"/>
                <a:gd name="T25" fmla="*/ 1 h 64"/>
                <a:gd name="T26" fmla="*/ 1 w 118"/>
                <a:gd name="T27" fmla="*/ 0 h 64"/>
                <a:gd name="T28" fmla="*/ 1 w 118"/>
                <a:gd name="T29" fmla="*/ 0 h 6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8"/>
                <a:gd name="T46" fmla="*/ 0 h 64"/>
                <a:gd name="T47" fmla="*/ 118 w 118"/>
                <a:gd name="T48" fmla="*/ 64 h 6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8" h="64">
                  <a:moveTo>
                    <a:pt x="14" y="0"/>
                  </a:moveTo>
                  <a:lnTo>
                    <a:pt x="0" y="26"/>
                  </a:lnTo>
                  <a:lnTo>
                    <a:pt x="24" y="41"/>
                  </a:lnTo>
                  <a:lnTo>
                    <a:pt x="104" y="64"/>
                  </a:lnTo>
                  <a:lnTo>
                    <a:pt x="118" y="64"/>
                  </a:lnTo>
                  <a:lnTo>
                    <a:pt x="118" y="52"/>
                  </a:lnTo>
                  <a:lnTo>
                    <a:pt x="118" y="41"/>
                  </a:lnTo>
                  <a:lnTo>
                    <a:pt x="87" y="41"/>
                  </a:lnTo>
                  <a:lnTo>
                    <a:pt x="64" y="26"/>
                  </a:lnTo>
                  <a:lnTo>
                    <a:pt x="59" y="17"/>
                  </a:lnTo>
                  <a:lnTo>
                    <a:pt x="50" y="19"/>
                  </a:lnTo>
                  <a:lnTo>
                    <a:pt x="33" y="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9" name="Freeform 127"/>
            <p:cNvSpPr>
              <a:spLocks/>
            </p:cNvSpPr>
            <p:nvPr/>
          </p:nvSpPr>
          <p:spPr bwMode="auto">
            <a:xfrm>
              <a:off x="4640" y="3163"/>
              <a:ext cx="42" cy="47"/>
            </a:xfrm>
            <a:custGeom>
              <a:avLst/>
              <a:gdLst>
                <a:gd name="T0" fmla="*/ 2 w 71"/>
                <a:gd name="T1" fmla="*/ 1 h 90"/>
                <a:gd name="T2" fmla="*/ 2 w 71"/>
                <a:gd name="T3" fmla="*/ 1 h 90"/>
                <a:gd name="T4" fmla="*/ 1 w 71"/>
                <a:gd name="T5" fmla="*/ 1 h 90"/>
                <a:gd name="T6" fmla="*/ 1 w 71"/>
                <a:gd name="T7" fmla="*/ 1 h 90"/>
                <a:gd name="T8" fmla="*/ 1 w 71"/>
                <a:gd name="T9" fmla="*/ 1 h 90"/>
                <a:gd name="T10" fmla="*/ 1 w 71"/>
                <a:gd name="T11" fmla="*/ 1 h 90"/>
                <a:gd name="T12" fmla="*/ 2 w 71"/>
                <a:gd name="T13" fmla="*/ 1 h 90"/>
                <a:gd name="T14" fmla="*/ 1 w 71"/>
                <a:gd name="T15" fmla="*/ 1 h 90"/>
                <a:gd name="T16" fmla="*/ 1 w 71"/>
                <a:gd name="T17" fmla="*/ 1 h 90"/>
                <a:gd name="T18" fmla="*/ 1 w 71"/>
                <a:gd name="T19" fmla="*/ 0 h 90"/>
                <a:gd name="T20" fmla="*/ 1 w 71"/>
                <a:gd name="T21" fmla="*/ 1 h 90"/>
                <a:gd name="T22" fmla="*/ 1 w 71"/>
                <a:gd name="T23" fmla="*/ 0 h 90"/>
                <a:gd name="T24" fmla="*/ 1 w 71"/>
                <a:gd name="T25" fmla="*/ 1 h 90"/>
                <a:gd name="T26" fmla="*/ 1 w 71"/>
                <a:gd name="T27" fmla="*/ 1 h 90"/>
                <a:gd name="T28" fmla="*/ 1 w 71"/>
                <a:gd name="T29" fmla="*/ 1 h 90"/>
                <a:gd name="T30" fmla="*/ 0 w 71"/>
                <a:gd name="T31" fmla="*/ 1 h 90"/>
                <a:gd name="T32" fmla="*/ 1 w 71"/>
                <a:gd name="T33" fmla="*/ 1 h 90"/>
                <a:gd name="T34" fmla="*/ 1 w 71"/>
                <a:gd name="T35" fmla="*/ 1 h 90"/>
                <a:gd name="T36" fmla="*/ 1 w 71"/>
                <a:gd name="T37" fmla="*/ 1 h 90"/>
                <a:gd name="T38" fmla="*/ 1 w 71"/>
                <a:gd name="T39" fmla="*/ 1 h 90"/>
                <a:gd name="T40" fmla="*/ 1 w 71"/>
                <a:gd name="T41" fmla="*/ 1 h 90"/>
                <a:gd name="T42" fmla="*/ 2 w 71"/>
                <a:gd name="T43" fmla="*/ 1 h 90"/>
                <a:gd name="T44" fmla="*/ 2 w 71"/>
                <a:gd name="T45" fmla="*/ 1 h 90"/>
                <a:gd name="T46" fmla="*/ 2 w 71"/>
                <a:gd name="T47" fmla="*/ 1 h 9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1"/>
                <a:gd name="T73" fmla="*/ 0 h 90"/>
                <a:gd name="T74" fmla="*/ 71 w 71"/>
                <a:gd name="T75" fmla="*/ 90 h 9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1" h="90">
                  <a:moveTo>
                    <a:pt x="71" y="73"/>
                  </a:moveTo>
                  <a:lnTo>
                    <a:pt x="66" y="47"/>
                  </a:lnTo>
                  <a:lnTo>
                    <a:pt x="61" y="43"/>
                  </a:lnTo>
                  <a:lnTo>
                    <a:pt x="56" y="52"/>
                  </a:lnTo>
                  <a:lnTo>
                    <a:pt x="47" y="45"/>
                  </a:lnTo>
                  <a:lnTo>
                    <a:pt x="47" y="38"/>
                  </a:lnTo>
                  <a:lnTo>
                    <a:pt x="64" y="24"/>
                  </a:lnTo>
                  <a:lnTo>
                    <a:pt x="30" y="19"/>
                  </a:lnTo>
                  <a:lnTo>
                    <a:pt x="26" y="5"/>
                  </a:lnTo>
                  <a:lnTo>
                    <a:pt x="16" y="0"/>
                  </a:lnTo>
                  <a:lnTo>
                    <a:pt x="12" y="5"/>
                  </a:lnTo>
                  <a:lnTo>
                    <a:pt x="9" y="0"/>
                  </a:lnTo>
                  <a:lnTo>
                    <a:pt x="4" y="5"/>
                  </a:lnTo>
                  <a:lnTo>
                    <a:pt x="4" y="14"/>
                  </a:lnTo>
                  <a:lnTo>
                    <a:pt x="9" y="14"/>
                  </a:lnTo>
                  <a:lnTo>
                    <a:pt x="0" y="29"/>
                  </a:lnTo>
                  <a:lnTo>
                    <a:pt x="9" y="33"/>
                  </a:lnTo>
                  <a:lnTo>
                    <a:pt x="16" y="78"/>
                  </a:lnTo>
                  <a:lnTo>
                    <a:pt x="16" y="81"/>
                  </a:lnTo>
                  <a:lnTo>
                    <a:pt x="35" y="76"/>
                  </a:lnTo>
                  <a:lnTo>
                    <a:pt x="54" y="62"/>
                  </a:lnTo>
                  <a:lnTo>
                    <a:pt x="66" y="90"/>
                  </a:lnTo>
                  <a:lnTo>
                    <a:pt x="71" y="73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00" name="Freeform 128"/>
            <p:cNvSpPr>
              <a:spLocks/>
            </p:cNvSpPr>
            <p:nvPr/>
          </p:nvSpPr>
          <p:spPr bwMode="auto">
            <a:xfrm>
              <a:off x="4679" y="3149"/>
              <a:ext cx="78" cy="152"/>
            </a:xfrm>
            <a:custGeom>
              <a:avLst/>
              <a:gdLst>
                <a:gd name="T0" fmla="*/ 2 w 132"/>
                <a:gd name="T1" fmla="*/ 3 h 293"/>
                <a:gd name="T2" fmla="*/ 3 w 132"/>
                <a:gd name="T3" fmla="*/ 3 h 293"/>
                <a:gd name="T4" fmla="*/ 2 w 132"/>
                <a:gd name="T5" fmla="*/ 2 h 293"/>
                <a:gd name="T6" fmla="*/ 2 w 132"/>
                <a:gd name="T7" fmla="*/ 2 h 293"/>
                <a:gd name="T8" fmla="*/ 2 w 132"/>
                <a:gd name="T9" fmla="*/ 2 h 293"/>
                <a:gd name="T10" fmla="*/ 2 w 132"/>
                <a:gd name="T11" fmla="*/ 2 h 293"/>
                <a:gd name="T12" fmla="*/ 2 w 132"/>
                <a:gd name="T13" fmla="*/ 2 h 293"/>
                <a:gd name="T14" fmla="*/ 3 w 132"/>
                <a:gd name="T15" fmla="*/ 2 h 293"/>
                <a:gd name="T16" fmla="*/ 3 w 132"/>
                <a:gd name="T17" fmla="*/ 1 h 293"/>
                <a:gd name="T18" fmla="*/ 3 w 132"/>
                <a:gd name="T19" fmla="*/ 1 h 293"/>
                <a:gd name="T20" fmla="*/ 3 w 132"/>
                <a:gd name="T21" fmla="*/ 1 h 293"/>
                <a:gd name="T22" fmla="*/ 3 w 132"/>
                <a:gd name="T23" fmla="*/ 1 h 293"/>
                <a:gd name="T24" fmla="*/ 3 w 132"/>
                <a:gd name="T25" fmla="*/ 1 h 293"/>
                <a:gd name="T26" fmla="*/ 2 w 132"/>
                <a:gd name="T27" fmla="*/ 1 h 293"/>
                <a:gd name="T28" fmla="*/ 2 w 132"/>
                <a:gd name="T29" fmla="*/ 1 h 293"/>
                <a:gd name="T30" fmla="*/ 2 w 132"/>
                <a:gd name="T31" fmla="*/ 1 h 293"/>
                <a:gd name="T32" fmla="*/ 2 w 132"/>
                <a:gd name="T33" fmla="*/ 1 h 293"/>
                <a:gd name="T34" fmla="*/ 2 w 132"/>
                <a:gd name="T35" fmla="*/ 1 h 293"/>
                <a:gd name="T36" fmla="*/ 2 w 132"/>
                <a:gd name="T37" fmla="*/ 0 h 293"/>
                <a:gd name="T38" fmla="*/ 2 w 132"/>
                <a:gd name="T39" fmla="*/ 0 h 293"/>
                <a:gd name="T40" fmla="*/ 2 w 132"/>
                <a:gd name="T41" fmla="*/ 1 h 293"/>
                <a:gd name="T42" fmla="*/ 1 w 132"/>
                <a:gd name="T43" fmla="*/ 1 h 293"/>
                <a:gd name="T44" fmla="*/ 1 w 132"/>
                <a:gd name="T45" fmla="*/ 1 h 293"/>
                <a:gd name="T46" fmla="*/ 1 w 132"/>
                <a:gd name="T47" fmla="*/ 1 h 293"/>
                <a:gd name="T48" fmla="*/ 1 w 132"/>
                <a:gd name="T49" fmla="*/ 1 h 293"/>
                <a:gd name="T50" fmla="*/ 1 w 132"/>
                <a:gd name="T51" fmla="*/ 1 h 293"/>
                <a:gd name="T52" fmla="*/ 1 w 132"/>
                <a:gd name="T53" fmla="*/ 1 h 293"/>
                <a:gd name="T54" fmla="*/ 1 w 132"/>
                <a:gd name="T55" fmla="*/ 1 h 293"/>
                <a:gd name="T56" fmla="*/ 0 w 132"/>
                <a:gd name="T57" fmla="*/ 2 h 293"/>
                <a:gd name="T58" fmla="*/ 0 w 132"/>
                <a:gd name="T59" fmla="*/ 2 h 293"/>
                <a:gd name="T60" fmla="*/ 1 w 132"/>
                <a:gd name="T61" fmla="*/ 2 h 293"/>
                <a:gd name="T62" fmla="*/ 1 w 132"/>
                <a:gd name="T63" fmla="*/ 2 h 293"/>
                <a:gd name="T64" fmla="*/ 1 w 132"/>
                <a:gd name="T65" fmla="*/ 2 h 293"/>
                <a:gd name="T66" fmla="*/ 1 w 132"/>
                <a:gd name="T67" fmla="*/ 2 h 293"/>
                <a:gd name="T68" fmla="*/ 1 w 132"/>
                <a:gd name="T69" fmla="*/ 2 h 293"/>
                <a:gd name="T70" fmla="*/ 1 w 132"/>
                <a:gd name="T71" fmla="*/ 2 h 293"/>
                <a:gd name="T72" fmla="*/ 2 w 132"/>
                <a:gd name="T73" fmla="*/ 2 h 293"/>
                <a:gd name="T74" fmla="*/ 2 w 132"/>
                <a:gd name="T75" fmla="*/ 2 h 293"/>
                <a:gd name="T76" fmla="*/ 2 w 132"/>
                <a:gd name="T77" fmla="*/ 3 h 293"/>
                <a:gd name="T78" fmla="*/ 2 w 132"/>
                <a:gd name="T79" fmla="*/ 3 h 293"/>
                <a:gd name="T80" fmla="*/ 2 w 132"/>
                <a:gd name="T81" fmla="*/ 3 h 29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2"/>
                <a:gd name="T124" fmla="*/ 0 h 293"/>
                <a:gd name="T125" fmla="*/ 132 w 132"/>
                <a:gd name="T126" fmla="*/ 293 h 29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2" h="293">
                  <a:moveTo>
                    <a:pt x="90" y="293"/>
                  </a:moveTo>
                  <a:lnTo>
                    <a:pt x="111" y="255"/>
                  </a:lnTo>
                  <a:lnTo>
                    <a:pt x="99" y="224"/>
                  </a:lnTo>
                  <a:lnTo>
                    <a:pt x="90" y="212"/>
                  </a:lnTo>
                  <a:lnTo>
                    <a:pt x="97" y="191"/>
                  </a:lnTo>
                  <a:lnTo>
                    <a:pt x="80" y="161"/>
                  </a:lnTo>
                  <a:lnTo>
                    <a:pt x="85" y="144"/>
                  </a:lnTo>
                  <a:lnTo>
                    <a:pt x="118" y="120"/>
                  </a:lnTo>
                  <a:lnTo>
                    <a:pt x="132" y="106"/>
                  </a:lnTo>
                  <a:lnTo>
                    <a:pt x="118" y="109"/>
                  </a:lnTo>
                  <a:lnTo>
                    <a:pt x="106" y="97"/>
                  </a:lnTo>
                  <a:lnTo>
                    <a:pt x="106" y="85"/>
                  </a:lnTo>
                  <a:lnTo>
                    <a:pt x="99" y="80"/>
                  </a:lnTo>
                  <a:lnTo>
                    <a:pt x="97" y="66"/>
                  </a:lnTo>
                  <a:lnTo>
                    <a:pt x="80" y="71"/>
                  </a:lnTo>
                  <a:lnTo>
                    <a:pt x="97" y="24"/>
                  </a:lnTo>
                  <a:lnTo>
                    <a:pt x="87" y="2"/>
                  </a:lnTo>
                  <a:lnTo>
                    <a:pt x="75" y="0"/>
                  </a:lnTo>
                  <a:lnTo>
                    <a:pt x="71" y="16"/>
                  </a:lnTo>
                  <a:lnTo>
                    <a:pt x="57" y="16"/>
                  </a:lnTo>
                  <a:lnTo>
                    <a:pt x="45" y="28"/>
                  </a:lnTo>
                  <a:lnTo>
                    <a:pt x="28" y="68"/>
                  </a:lnTo>
                  <a:lnTo>
                    <a:pt x="16" y="73"/>
                  </a:lnTo>
                  <a:lnTo>
                    <a:pt x="12" y="97"/>
                  </a:lnTo>
                  <a:lnTo>
                    <a:pt x="7" y="101"/>
                  </a:lnTo>
                  <a:lnTo>
                    <a:pt x="5" y="101"/>
                  </a:lnTo>
                  <a:lnTo>
                    <a:pt x="0" y="118"/>
                  </a:lnTo>
                  <a:lnTo>
                    <a:pt x="19" y="132"/>
                  </a:lnTo>
                  <a:lnTo>
                    <a:pt x="24" y="151"/>
                  </a:lnTo>
                  <a:lnTo>
                    <a:pt x="28" y="151"/>
                  </a:lnTo>
                  <a:lnTo>
                    <a:pt x="35" y="177"/>
                  </a:lnTo>
                  <a:lnTo>
                    <a:pt x="31" y="194"/>
                  </a:lnTo>
                  <a:lnTo>
                    <a:pt x="47" y="198"/>
                  </a:lnTo>
                  <a:lnTo>
                    <a:pt x="68" y="179"/>
                  </a:lnTo>
                  <a:lnTo>
                    <a:pt x="78" y="189"/>
                  </a:lnTo>
                  <a:lnTo>
                    <a:pt x="97" y="248"/>
                  </a:lnTo>
                  <a:lnTo>
                    <a:pt x="90" y="293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01" name="Freeform 129"/>
            <p:cNvSpPr>
              <a:spLocks/>
            </p:cNvSpPr>
            <p:nvPr/>
          </p:nvSpPr>
          <p:spPr bwMode="auto">
            <a:xfrm>
              <a:off x="4726" y="3211"/>
              <a:ext cx="69" cy="119"/>
            </a:xfrm>
            <a:custGeom>
              <a:avLst/>
              <a:gdLst>
                <a:gd name="T0" fmla="*/ 1 w 116"/>
                <a:gd name="T1" fmla="*/ 0 h 227"/>
                <a:gd name="T2" fmla="*/ 1 w 116"/>
                <a:gd name="T3" fmla="*/ 1 h 227"/>
                <a:gd name="T4" fmla="*/ 0 w 116"/>
                <a:gd name="T5" fmla="*/ 1 h 227"/>
                <a:gd name="T6" fmla="*/ 1 w 116"/>
                <a:gd name="T7" fmla="*/ 1 h 227"/>
                <a:gd name="T8" fmla="*/ 1 w 116"/>
                <a:gd name="T9" fmla="*/ 1 h 227"/>
                <a:gd name="T10" fmla="*/ 1 w 116"/>
                <a:gd name="T11" fmla="*/ 1 h 227"/>
                <a:gd name="T12" fmla="*/ 1 w 116"/>
                <a:gd name="T13" fmla="*/ 2 h 227"/>
                <a:gd name="T14" fmla="*/ 1 w 116"/>
                <a:gd name="T15" fmla="*/ 2 h 227"/>
                <a:gd name="T16" fmla="*/ 1 w 116"/>
                <a:gd name="T17" fmla="*/ 2 h 227"/>
                <a:gd name="T18" fmla="*/ 1 w 116"/>
                <a:gd name="T19" fmla="*/ 2 h 227"/>
                <a:gd name="T20" fmla="*/ 1 w 116"/>
                <a:gd name="T21" fmla="*/ 2 h 227"/>
                <a:gd name="T22" fmla="*/ 1 w 116"/>
                <a:gd name="T23" fmla="*/ 2 h 227"/>
                <a:gd name="T24" fmla="*/ 1 w 116"/>
                <a:gd name="T25" fmla="*/ 2 h 227"/>
                <a:gd name="T26" fmla="*/ 1 w 116"/>
                <a:gd name="T27" fmla="*/ 2 h 227"/>
                <a:gd name="T28" fmla="*/ 1 w 116"/>
                <a:gd name="T29" fmla="*/ 2 h 227"/>
                <a:gd name="T30" fmla="*/ 1 w 116"/>
                <a:gd name="T31" fmla="*/ 2 h 227"/>
                <a:gd name="T32" fmla="*/ 1 w 116"/>
                <a:gd name="T33" fmla="*/ 3 h 227"/>
                <a:gd name="T34" fmla="*/ 2 w 116"/>
                <a:gd name="T35" fmla="*/ 3 h 227"/>
                <a:gd name="T36" fmla="*/ 2 w 116"/>
                <a:gd name="T37" fmla="*/ 3 h 227"/>
                <a:gd name="T38" fmla="*/ 1 w 116"/>
                <a:gd name="T39" fmla="*/ 2 h 227"/>
                <a:gd name="T40" fmla="*/ 1 w 116"/>
                <a:gd name="T41" fmla="*/ 2 h 227"/>
                <a:gd name="T42" fmla="*/ 1 w 116"/>
                <a:gd name="T43" fmla="*/ 2 h 227"/>
                <a:gd name="T44" fmla="*/ 1 w 116"/>
                <a:gd name="T45" fmla="*/ 2 h 227"/>
                <a:gd name="T46" fmla="*/ 1 w 116"/>
                <a:gd name="T47" fmla="*/ 2 h 227"/>
                <a:gd name="T48" fmla="*/ 1 w 116"/>
                <a:gd name="T49" fmla="*/ 2 h 227"/>
                <a:gd name="T50" fmla="*/ 1 w 116"/>
                <a:gd name="T51" fmla="*/ 2 h 227"/>
                <a:gd name="T52" fmla="*/ 1 w 116"/>
                <a:gd name="T53" fmla="*/ 2 h 227"/>
                <a:gd name="T54" fmla="*/ 1 w 116"/>
                <a:gd name="T55" fmla="*/ 2 h 227"/>
                <a:gd name="T56" fmla="*/ 2 w 116"/>
                <a:gd name="T57" fmla="*/ 2 h 227"/>
                <a:gd name="T58" fmla="*/ 2 w 116"/>
                <a:gd name="T59" fmla="*/ 2 h 227"/>
                <a:gd name="T60" fmla="*/ 2 w 116"/>
                <a:gd name="T61" fmla="*/ 2 h 227"/>
                <a:gd name="T62" fmla="*/ 2 w 116"/>
                <a:gd name="T63" fmla="*/ 2 h 227"/>
                <a:gd name="T64" fmla="*/ 2 w 116"/>
                <a:gd name="T65" fmla="*/ 1 h 227"/>
                <a:gd name="T66" fmla="*/ 3 w 116"/>
                <a:gd name="T67" fmla="*/ 1 h 227"/>
                <a:gd name="T68" fmla="*/ 3 w 116"/>
                <a:gd name="T69" fmla="*/ 1 h 227"/>
                <a:gd name="T70" fmla="*/ 3 w 116"/>
                <a:gd name="T71" fmla="*/ 1 h 227"/>
                <a:gd name="T72" fmla="*/ 2 w 116"/>
                <a:gd name="T73" fmla="*/ 1 h 227"/>
                <a:gd name="T74" fmla="*/ 2 w 116"/>
                <a:gd name="T75" fmla="*/ 1 h 227"/>
                <a:gd name="T76" fmla="*/ 2 w 116"/>
                <a:gd name="T77" fmla="*/ 1 h 227"/>
                <a:gd name="T78" fmla="*/ 2 w 116"/>
                <a:gd name="T79" fmla="*/ 1 h 227"/>
                <a:gd name="T80" fmla="*/ 1 w 116"/>
                <a:gd name="T81" fmla="*/ 1 h 227"/>
                <a:gd name="T82" fmla="*/ 1 w 116"/>
                <a:gd name="T83" fmla="*/ 1 h 227"/>
                <a:gd name="T84" fmla="*/ 1 w 116"/>
                <a:gd name="T85" fmla="*/ 1 h 227"/>
                <a:gd name="T86" fmla="*/ 1 w 116"/>
                <a:gd name="T87" fmla="*/ 0 h 22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16"/>
                <a:gd name="T133" fmla="*/ 0 h 227"/>
                <a:gd name="T134" fmla="*/ 116 w 116"/>
                <a:gd name="T135" fmla="*/ 227 h 22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16" h="227">
                  <a:moveTo>
                    <a:pt x="38" y="0"/>
                  </a:moveTo>
                  <a:lnTo>
                    <a:pt x="5" y="24"/>
                  </a:lnTo>
                  <a:lnTo>
                    <a:pt x="0" y="41"/>
                  </a:lnTo>
                  <a:lnTo>
                    <a:pt x="17" y="71"/>
                  </a:lnTo>
                  <a:lnTo>
                    <a:pt x="10" y="92"/>
                  </a:lnTo>
                  <a:lnTo>
                    <a:pt x="19" y="104"/>
                  </a:lnTo>
                  <a:lnTo>
                    <a:pt x="31" y="135"/>
                  </a:lnTo>
                  <a:lnTo>
                    <a:pt x="10" y="173"/>
                  </a:lnTo>
                  <a:lnTo>
                    <a:pt x="10" y="180"/>
                  </a:lnTo>
                  <a:lnTo>
                    <a:pt x="12" y="194"/>
                  </a:lnTo>
                  <a:lnTo>
                    <a:pt x="14" y="192"/>
                  </a:lnTo>
                  <a:lnTo>
                    <a:pt x="40" y="220"/>
                  </a:lnTo>
                  <a:lnTo>
                    <a:pt x="40" y="215"/>
                  </a:lnTo>
                  <a:lnTo>
                    <a:pt x="50" y="218"/>
                  </a:lnTo>
                  <a:lnTo>
                    <a:pt x="57" y="227"/>
                  </a:lnTo>
                  <a:lnTo>
                    <a:pt x="69" y="222"/>
                  </a:lnTo>
                  <a:lnTo>
                    <a:pt x="57" y="213"/>
                  </a:lnTo>
                  <a:lnTo>
                    <a:pt x="43" y="208"/>
                  </a:lnTo>
                  <a:lnTo>
                    <a:pt x="33" y="178"/>
                  </a:lnTo>
                  <a:lnTo>
                    <a:pt x="26" y="178"/>
                  </a:lnTo>
                  <a:lnTo>
                    <a:pt x="21" y="161"/>
                  </a:lnTo>
                  <a:lnTo>
                    <a:pt x="33" y="135"/>
                  </a:lnTo>
                  <a:lnTo>
                    <a:pt x="36" y="116"/>
                  </a:lnTo>
                  <a:lnTo>
                    <a:pt x="50" y="116"/>
                  </a:lnTo>
                  <a:lnTo>
                    <a:pt x="50" y="123"/>
                  </a:lnTo>
                  <a:lnTo>
                    <a:pt x="62" y="126"/>
                  </a:lnTo>
                  <a:lnTo>
                    <a:pt x="78" y="142"/>
                  </a:lnTo>
                  <a:lnTo>
                    <a:pt x="78" y="140"/>
                  </a:lnTo>
                  <a:lnTo>
                    <a:pt x="69" y="116"/>
                  </a:lnTo>
                  <a:lnTo>
                    <a:pt x="78" y="102"/>
                  </a:lnTo>
                  <a:lnTo>
                    <a:pt x="114" y="102"/>
                  </a:lnTo>
                  <a:lnTo>
                    <a:pt x="116" y="83"/>
                  </a:lnTo>
                  <a:lnTo>
                    <a:pt x="107" y="69"/>
                  </a:lnTo>
                  <a:lnTo>
                    <a:pt x="102" y="50"/>
                  </a:lnTo>
                  <a:lnTo>
                    <a:pt x="88" y="36"/>
                  </a:lnTo>
                  <a:lnTo>
                    <a:pt x="73" y="45"/>
                  </a:lnTo>
                  <a:lnTo>
                    <a:pt x="66" y="41"/>
                  </a:lnTo>
                  <a:lnTo>
                    <a:pt x="50" y="48"/>
                  </a:lnTo>
                  <a:lnTo>
                    <a:pt x="52" y="22"/>
                  </a:lnTo>
                  <a:lnTo>
                    <a:pt x="43" y="17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02" name="Freeform 130"/>
            <p:cNvSpPr>
              <a:spLocks/>
            </p:cNvSpPr>
            <p:nvPr/>
          </p:nvSpPr>
          <p:spPr bwMode="auto">
            <a:xfrm>
              <a:off x="4749" y="3197"/>
              <a:ext cx="64" cy="69"/>
            </a:xfrm>
            <a:custGeom>
              <a:avLst/>
              <a:gdLst>
                <a:gd name="T0" fmla="*/ 3 w 109"/>
                <a:gd name="T1" fmla="*/ 2 h 132"/>
                <a:gd name="T2" fmla="*/ 2 w 109"/>
                <a:gd name="T3" fmla="*/ 1 h 132"/>
                <a:gd name="T4" fmla="*/ 2 w 109"/>
                <a:gd name="T5" fmla="*/ 1 h 132"/>
                <a:gd name="T6" fmla="*/ 2 w 109"/>
                <a:gd name="T7" fmla="*/ 1 h 132"/>
                <a:gd name="T8" fmla="*/ 1 w 109"/>
                <a:gd name="T9" fmla="*/ 1 h 132"/>
                <a:gd name="T10" fmla="*/ 2 w 109"/>
                <a:gd name="T11" fmla="*/ 1 h 132"/>
                <a:gd name="T12" fmla="*/ 1 w 109"/>
                <a:gd name="T13" fmla="*/ 1 h 132"/>
                <a:gd name="T14" fmla="*/ 1 w 109"/>
                <a:gd name="T15" fmla="*/ 1 h 132"/>
                <a:gd name="T16" fmla="*/ 1 w 109"/>
                <a:gd name="T17" fmla="*/ 1 h 132"/>
                <a:gd name="T18" fmla="*/ 1 w 109"/>
                <a:gd name="T19" fmla="*/ 0 h 132"/>
                <a:gd name="T20" fmla="*/ 1 w 109"/>
                <a:gd name="T21" fmla="*/ 1 h 132"/>
                <a:gd name="T22" fmla="*/ 1 w 109"/>
                <a:gd name="T23" fmla="*/ 1 h 132"/>
                <a:gd name="T24" fmla="*/ 1 w 109"/>
                <a:gd name="T25" fmla="*/ 1 h 132"/>
                <a:gd name="T26" fmla="*/ 1 w 109"/>
                <a:gd name="T27" fmla="*/ 1 h 132"/>
                <a:gd name="T28" fmla="*/ 0 w 109"/>
                <a:gd name="T29" fmla="*/ 1 h 132"/>
                <a:gd name="T30" fmla="*/ 1 w 109"/>
                <a:gd name="T31" fmla="*/ 1 h 132"/>
                <a:gd name="T32" fmla="*/ 1 w 109"/>
                <a:gd name="T33" fmla="*/ 1 h 132"/>
                <a:gd name="T34" fmla="*/ 1 w 109"/>
                <a:gd name="T35" fmla="*/ 1 h 132"/>
                <a:gd name="T36" fmla="*/ 1 w 109"/>
                <a:gd name="T37" fmla="*/ 1 h 132"/>
                <a:gd name="T38" fmla="*/ 1 w 109"/>
                <a:gd name="T39" fmla="*/ 1 h 132"/>
                <a:gd name="T40" fmla="*/ 1 w 109"/>
                <a:gd name="T41" fmla="*/ 1 h 132"/>
                <a:gd name="T42" fmla="*/ 2 w 109"/>
                <a:gd name="T43" fmla="*/ 1 h 132"/>
                <a:gd name="T44" fmla="*/ 2 w 109"/>
                <a:gd name="T45" fmla="*/ 1 h 132"/>
                <a:gd name="T46" fmla="*/ 2 w 109"/>
                <a:gd name="T47" fmla="*/ 1 h 132"/>
                <a:gd name="T48" fmla="*/ 2 w 109"/>
                <a:gd name="T49" fmla="*/ 2 h 132"/>
                <a:gd name="T50" fmla="*/ 2 w 109"/>
                <a:gd name="T51" fmla="*/ 2 h 132"/>
                <a:gd name="T52" fmla="*/ 2 w 109"/>
                <a:gd name="T53" fmla="*/ 2 h 132"/>
                <a:gd name="T54" fmla="*/ 3 w 109"/>
                <a:gd name="T55" fmla="*/ 2 h 13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9"/>
                <a:gd name="T85" fmla="*/ 0 h 132"/>
                <a:gd name="T86" fmla="*/ 109 w 109"/>
                <a:gd name="T87" fmla="*/ 132 h 13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9" h="132">
                  <a:moveTo>
                    <a:pt x="109" y="123"/>
                  </a:moveTo>
                  <a:lnTo>
                    <a:pt x="106" y="109"/>
                  </a:lnTo>
                  <a:lnTo>
                    <a:pt x="92" y="90"/>
                  </a:lnTo>
                  <a:lnTo>
                    <a:pt x="92" y="83"/>
                  </a:lnTo>
                  <a:lnTo>
                    <a:pt x="54" y="50"/>
                  </a:lnTo>
                  <a:lnTo>
                    <a:pt x="66" y="45"/>
                  </a:lnTo>
                  <a:lnTo>
                    <a:pt x="61" y="28"/>
                  </a:lnTo>
                  <a:lnTo>
                    <a:pt x="45" y="26"/>
                  </a:lnTo>
                  <a:lnTo>
                    <a:pt x="31" y="2"/>
                  </a:lnTo>
                  <a:lnTo>
                    <a:pt x="24" y="0"/>
                  </a:lnTo>
                  <a:lnTo>
                    <a:pt x="21" y="19"/>
                  </a:lnTo>
                  <a:lnTo>
                    <a:pt x="17" y="21"/>
                  </a:lnTo>
                  <a:lnTo>
                    <a:pt x="14" y="14"/>
                  </a:lnTo>
                  <a:lnTo>
                    <a:pt x="0" y="28"/>
                  </a:lnTo>
                  <a:lnTo>
                    <a:pt x="5" y="45"/>
                  </a:lnTo>
                  <a:lnTo>
                    <a:pt x="14" y="50"/>
                  </a:lnTo>
                  <a:lnTo>
                    <a:pt x="12" y="76"/>
                  </a:lnTo>
                  <a:lnTo>
                    <a:pt x="28" y="69"/>
                  </a:lnTo>
                  <a:lnTo>
                    <a:pt x="35" y="73"/>
                  </a:lnTo>
                  <a:lnTo>
                    <a:pt x="50" y="64"/>
                  </a:lnTo>
                  <a:lnTo>
                    <a:pt x="64" y="78"/>
                  </a:lnTo>
                  <a:lnTo>
                    <a:pt x="69" y="97"/>
                  </a:lnTo>
                  <a:lnTo>
                    <a:pt x="78" y="111"/>
                  </a:lnTo>
                  <a:lnTo>
                    <a:pt x="76" y="130"/>
                  </a:lnTo>
                  <a:lnTo>
                    <a:pt x="87" y="132"/>
                  </a:lnTo>
                  <a:lnTo>
                    <a:pt x="90" y="128"/>
                  </a:lnTo>
                  <a:lnTo>
                    <a:pt x="109" y="123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03" name="Freeform 131"/>
            <p:cNvSpPr>
              <a:spLocks/>
            </p:cNvSpPr>
            <p:nvPr/>
          </p:nvSpPr>
          <p:spPr bwMode="auto">
            <a:xfrm>
              <a:off x="4767" y="3192"/>
              <a:ext cx="62" cy="117"/>
            </a:xfrm>
            <a:custGeom>
              <a:avLst/>
              <a:gdLst>
                <a:gd name="T0" fmla="*/ 0 w 104"/>
                <a:gd name="T1" fmla="*/ 1 h 224"/>
                <a:gd name="T2" fmla="*/ 1 w 104"/>
                <a:gd name="T3" fmla="*/ 1 h 224"/>
                <a:gd name="T4" fmla="*/ 1 w 104"/>
                <a:gd name="T5" fmla="*/ 1 h 224"/>
                <a:gd name="T6" fmla="*/ 1 w 104"/>
                <a:gd name="T7" fmla="*/ 0 h 224"/>
                <a:gd name="T8" fmla="*/ 2 w 104"/>
                <a:gd name="T9" fmla="*/ 1 h 224"/>
                <a:gd name="T10" fmla="*/ 2 w 104"/>
                <a:gd name="T11" fmla="*/ 1 h 224"/>
                <a:gd name="T12" fmla="*/ 2 w 104"/>
                <a:gd name="T13" fmla="*/ 1 h 224"/>
                <a:gd name="T14" fmla="*/ 2 w 104"/>
                <a:gd name="T15" fmla="*/ 1 h 224"/>
                <a:gd name="T16" fmla="*/ 2 w 104"/>
                <a:gd name="T17" fmla="*/ 1 h 224"/>
                <a:gd name="T18" fmla="*/ 1 w 104"/>
                <a:gd name="T19" fmla="*/ 1 h 224"/>
                <a:gd name="T20" fmla="*/ 1 w 104"/>
                <a:gd name="T21" fmla="*/ 1 h 224"/>
                <a:gd name="T22" fmla="*/ 3 w 104"/>
                <a:gd name="T23" fmla="*/ 2 h 224"/>
                <a:gd name="T24" fmla="*/ 3 w 104"/>
                <a:gd name="T25" fmla="*/ 2 h 224"/>
                <a:gd name="T26" fmla="*/ 3 w 104"/>
                <a:gd name="T27" fmla="*/ 2 h 224"/>
                <a:gd name="T28" fmla="*/ 2 w 104"/>
                <a:gd name="T29" fmla="*/ 2 h 224"/>
                <a:gd name="T30" fmla="*/ 2 w 104"/>
                <a:gd name="T31" fmla="*/ 2 h 224"/>
                <a:gd name="T32" fmla="*/ 2 w 104"/>
                <a:gd name="T33" fmla="*/ 2 h 224"/>
                <a:gd name="T34" fmla="*/ 1 w 104"/>
                <a:gd name="T35" fmla="*/ 3 h 224"/>
                <a:gd name="T36" fmla="*/ 1 w 104"/>
                <a:gd name="T37" fmla="*/ 2 h 224"/>
                <a:gd name="T38" fmla="*/ 1 w 104"/>
                <a:gd name="T39" fmla="*/ 2 h 224"/>
                <a:gd name="T40" fmla="*/ 1 w 104"/>
                <a:gd name="T41" fmla="*/ 2 h 224"/>
                <a:gd name="T42" fmla="*/ 1 w 104"/>
                <a:gd name="T43" fmla="*/ 2 h 224"/>
                <a:gd name="T44" fmla="*/ 1 w 104"/>
                <a:gd name="T45" fmla="*/ 2 h 224"/>
                <a:gd name="T46" fmla="*/ 2 w 104"/>
                <a:gd name="T47" fmla="*/ 2 h 224"/>
                <a:gd name="T48" fmla="*/ 2 w 104"/>
                <a:gd name="T49" fmla="*/ 2 h 224"/>
                <a:gd name="T50" fmla="*/ 2 w 104"/>
                <a:gd name="T51" fmla="*/ 2 h 224"/>
                <a:gd name="T52" fmla="*/ 2 w 104"/>
                <a:gd name="T53" fmla="*/ 1 h 224"/>
                <a:gd name="T54" fmla="*/ 2 w 104"/>
                <a:gd name="T55" fmla="*/ 1 h 224"/>
                <a:gd name="T56" fmla="*/ 1 w 104"/>
                <a:gd name="T57" fmla="*/ 1 h 224"/>
                <a:gd name="T58" fmla="*/ 1 w 104"/>
                <a:gd name="T59" fmla="*/ 1 h 224"/>
                <a:gd name="T60" fmla="*/ 1 w 104"/>
                <a:gd name="T61" fmla="*/ 1 h 224"/>
                <a:gd name="T62" fmla="*/ 1 w 104"/>
                <a:gd name="T63" fmla="*/ 1 h 224"/>
                <a:gd name="T64" fmla="*/ 0 w 104"/>
                <a:gd name="T65" fmla="*/ 1 h 22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4"/>
                <a:gd name="T100" fmla="*/ 0 h 224"/>
                <a:gd name="T101" fmla="*/ 104 w 104"/>
                <a:gd name="T102" fmla="*/ 224 h 22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4" h="224">
                  <a:moveTo>
                    <a:pt x="0" y="11"/>
                  </a:moveTo>
                  <a:lnTo>
                    <a:pt x="2" y="7"/>
                  </a:lnTo>
                  <a:lnTo>
                    <a:pt x="12" y="9"/>
                  </a:lnTo>
                  <a:lnTo>
                    <a:pt x="47" y="0"/>
                  </a:lnTo>
                  <a:lnTo>
                    <a:pt x="63" y="4"/>
                  </a:lnTo>
                  <a:lnTo>
                    <a:pt x="68" y="21"/>
                  </a:lnTo>
                  <a:lnTo>
                    <a:pt x="87" y="26"/>
                  </a:lnTo>
                  <a:lnTo>
                    <a:pt x="85" y="26"/>
                  </a:lnTo>
                  <a:lnTo>
                    <a:pt x="71" y="33"/>
                  </a:lnTo>
                  <a:lnTo>
                    <a:pt x="54" y="49"/>
                  </a:lnTo>
                  <a:lnTo>
                    <a:pt x="49" y="63"/>
                  </a:lnTo>
                  <a:lnTo>
                    <a:pt x="99" y="122"/>
                  </a:lnTo>
                  <a:lnTo>
                    <a:pt x="104" y="146"/>
                  </a:lnTo>
                  <a:lnTo>
                    <a:pt x="99" y="181"/>
                  </a:lnTo>
                  <a:lnTo>
                    <a:pt x="75" y="196"/>
                  </a:lnTo>
                  <a:lnTo>
                    <a:pt x="66" y="196"/>
                  </a:lnTo>
                  <a:lnTo>
                    <a:pt x="61" y="212"/>
                  </a:lnTo>
                  <a:lnTo>
                    <a:pt x="40" y="224"/>
                  </a:lnTo>
                  <a:lnTo>
                    <a:pt x="40" y="200"/>
                  </a:lnTo>
                  <a:lnTo>
                    <a:pt x="33" y="196"/>
                  </a:lnTo>
                  <a:lnTo>
                    <a:pt x="52" y="186"/>
                  </a:lnTo>
                  <a:lnTo>
                    <a:pt x="54" y="177"/>
                  </a:lnTo>
                  <a:lnTo>
                    <a:pt x="78" y="167"/>
                  </a:lnTo>
                  <a:lnTo>
                    <a:pt x="78" y="132"/>
                  </a:lnTo>
                  <a:lnTo>
                    <a:pt x="75" y="118"/>
                  </a:lnTo>
                  <a:lnTo>
                    <a:pt x="61" y="99"/>
                  </a:lnTo>
                  <a:lnTo>
                    <a:pt x="61" y="92"/>
                  </a:lnTo>
                  <a:lnTo>
                    <a:pt x="23" y="59"/>
                  </a:lnTo>
                  <a:lnTo>
                    <a:pt x="35" y="54"/>
                  </a:lnTo>
                  <a:lnTo>
                    <a:pt x="30" y="37"/>
                  </a:lnTo>
                  <a:lnTo>
                    <a:pt x="14" y="35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04" name="Freeform 132"/>
            <p:cNvSpPr>
              <a:spLocks/>
            </p:cNvSpPr>
            <p:nvPr/>
          </p:nvSpPr>
          <p:spPr bwMode="auto">
            <a:xfrm>
              <a:off x="4767" y="3261"/>
              <a:ext cx="46" cy="33"/>
            </a:xfrm>
            <a:custGeom>
              <a:avLst/>
              <a:gdLst>
                <a:gd name="T0" fmla="*/ 1 w 78"/>
                <a:gd name="T1" fmla="*/ 1 h 64"/>
                <a:gd name="T2" fmla="*/ 1 w 78"/>
                <a:gd name="T3" fmla="*/ 1 h 64"/>
                <a:gd name="T4" fmla="*/ 1 w 78"/>
                <a:gd name="T5" fmla="*/ 1 h 64"/>
                <a:gd name="T6" fmla="*/ 2 w 78"/>
                <a:gd name="T7" fmla="*/ 1 h 64"/>
                <a:gd name="T8" fmla="*/ 2 w 78"/>
                <a:gd name="T9" fmla="*/ 0 h 64"/>
                <a:gd name="T10" fmla="*/ 1 w 78"/>
                <a:gd name="T11" fmla="*/ 1 h 64"/>
                <a:gd name="T12" fmla="*/ 1 w 78"/>
                <a:gd name="T13" fmla="*/ 1 h 64"/>
                <a:gd name="T14" fmla="*/ 1 w 78"/>
                <a:gd name="T15" fmla="*/ 1 h 64"/>
                <a:gd name="T16" fmla="*/ 1 w 78"/>
                <a:gd name="T17" fmla="*/ 1 h 64"/>
                <a:gd name="T18" fmla="*/ 0 w 78"/>
                <a:gd name="T19" fmla="*/ 1 h 64"/>
                <a:gd name="T20" fmla="*/ 1 w 78"/>
                <a:gd name="T21" fmla="*/ 1 h 64"/>
                <a:gd name="T22" fmla="*/ 1 w 78"/>
                <a:gd name="T23" fmla="*/ 1 h 64"/>
                <a:gd name="T24" fmla="*/ 1 w 78"/>
                <a:gd name="T25" fmla="*/ 1 h 64"/>
                <a:gd name="T26" fmla="*/ 1 w 78"/>
                <a:gd name="T27" fmla="*/ 1 h 64"/>
                <a:gd name="T28" fmla="*/ 1 w 78"/>
                <a:gd name="T29" fmla="*/ 1 h 6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8"/>
                <a:gd name="T46" fmla="*/ 0 h 64"/>
                <a:gd name="T47" fmla="*/ 78 w 78"/>
                <a:gd name="T48" fmla="*/ 64 h 6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8" h="64">
                  <a:moveTo>
                    <a:pt x="33" y="64"/>
                  </a:moveTo>
                  <a:lnTo>
                    <a:pt x="52" y="54"/>
                  </a:lnTo>
                  <a:lnTo>
                    <a:pt x="54" y="45"/>
                  </a:lnTo>
                  <a:lnTo>
                    <a:pt x="78" y="35"/>
                  </a:lnTo>
                  <a:lnTo>
                    <a:pt x="78" y="0"/>
                  </a:lnTo>
                  <a:lnTo>
                    <a:pt x="59" y="5"/>
                  </a:lnTo>
                  <a:lnTo>
                    <a:pt x="56" y="9"/>
                  </a:lnTo>
                  <a:lnTo>
                    <a:pt x="45" y="7"/>
                  </a:lnTo>
                  <a:lnTo>
                    <a:pt x="9" y="7"/>
                  </a:lnTo>
                  <a:lnTo>
                    <a:pt x="0" y="21"/>
                  </a:lnTo>
                  <a:lnTo>
                    <a:pt x="9" y="45"/>
                  </a:lnTo>
                  <a:lnTo>
                    <a:pt x="9" y="47"/>
                  </a:lnTo>
                  <a:lnTo>
                    <a:pt x="14" y="57"/>
                  </a:lnTo>
                  <a:lnTo>
                    <a:pt x="33" y="64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05" name="Freeform 133"/>
            <p:cNvSpPr>
              <a:spLocks/>
            </p:cNvSpPr>
            <p:nvPr/>
          </p:nvSpPr>
          <p:spPr bwMode="auto">
            <a:xfrm>
              <a:off x="4750" y="3323"/>
              <a:ext cx="34" cy="41"/>
            </a:xfrm>
            <a:custGeom>
              <a:avLst/>
              <a:gdLst>
                <a:gd name="T0" fmla="*/ 1 w 57"/>
                <a:gd name="T1" fmla="*/ 1 h 78"/>
                <a:gd name="T2" fmla="*/ 1 w 57"/>
                <a:gd name="T3" fmla="*/ 1 h 78"/>
                <a:gd name="T4" fmla="*/ 1 w 57"/>
                <a:gd name="T5" fmla="*/ 1 h 78"/>
                <a:gd name="T6" fmla="*/ 0 w 57"/>
                <a:gd name="T7" fmla="*/ 0 h 78"/>
                <a:gd name="T8" fmla="*/ 0 w 57"/>
                <a:gd name="T9" fmla="*/ 1 h 78"/>
                <a:gd name="T10" fmla="*/ 0 w 57"/>
                <a:gd name="T11" fmla="*/ 1 h 78"/>
                <a:gd name="T12" fmla="*/ 1 w 57"/>
                <a:gd name="T13" fmla="*/ 1 h 78"/>
                <a:gd name="T14" fmla="*/ 1 w 57"/>
                <a:gd name="T15" fmla="*/ 1 h 78"/>
                <a:gd name="T16" fmla="*/ 1 w 57"/>
                <a:gd name="T17" fmla="*/ 1 h 78"/>
                <a:gd name="T18" fmla="*/ 1 w 57"/>
                <a:gd name="T19" fmla="*/ 1 h 78"/>
                <a:gd name="T20" fmla="*/ 1 w 57"/>
                <a:gd name="T21" fmla="*/ 1 h 78"/>
                <a:gd name="T22" fmla="*/ 1 w 57"/>
                <a:gd name="T23" fmla="*/ 1 h 78"/>
                <a:gd name="T24" fmla="*/ 1 w 57"/>
                <a:gd name="T25" fmla="*/ 1 h 78"/>
                <a:gd name="T26" fmla="*/ 1 w 57"/>
                <a:gd name="T27" fmla="*/ 1 h 7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7"/>
                <a:gd name="T43" fmla="*/ 0 h 78"/>
                <a:gd name="T44" fmla="*/ 57 w 57"/>
                <a:gd name="T45" fmla="*/ 78 h 7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7" h="78">
                  <a:moveTo>
                    <a:pt x="29" y="7"/>
                  </a:moveTo>
                  <a:lnTo>
                    <a:pt x="17" y="12"/>
                  </a:lnTo>
                  <a:lnTo>
                    <a:pt x="10" y="3"/>
                  </a:lnTo>
                  <a:lnTo>
                    <a:pt x="0" y="0"/>
                  </a:lnTo>
                  <a:lnTo>
                    <a:pt x="0" y="5"/>
                  </a:lnTo>
                  <a:lnTo>
                    <a:pt x="3" y="36"/>
                  </a:lnTo>
                  <a:lnTo>
                    <a:pt x="17" y="57"/>
                  </a:lnTo>
                  <a:lnTo>
                    <a:pt x="48" y="78"/>
                  </a:lnTo>
                  <a:lnTo>
                    <a:pt x="57" y="78"/>
                  </a:lnTo>
                  <a:lnTo>
                    <a:pt x="45" y="57"/>
                  </a:lnTo>
                  <a:lnTo>
                    <a:pt x="45" y="26"/>
                  </a:lnTo>
                  <a:lnTo>
                    <a:pt x="29" y="7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06" name="Freeform 134"/>
            <p:cNvSpPr>
              <a:spLocks/>
            </p:cNvSpPr>
            <p:nvPr/>
          </p:nvSpPr>
          <p:spPr bwMode="auto">
            <a:xfrm>
              <a:off x="4831" y="3322"/>
              <a:ext cx="86" cy="46"/>
            </a:xfrm>
            <a:custGeom>
              <a:avLst/>
              <a:gdLst>
                <a:gd name="T0" fmla="*/ 2 w 144"/>
                <a:gd name="T1" fmla="*/ 1 h 89"/>
                <a:gd name="T2" fmla="*/ 2 w 144"/>
                <a:gd name="T3" fmla="*/ 1 h 89"/>
                <a:gd name="T4" fmla="*/ 2 w 144"/>
                <a:gd name="T5" fmla="*/ 1 h 89"/>
                <a:gd name="T6" fmla="*/ 2 w 144"/>
                <a:gd name="T7" fmla="*/ 1 h 89"/>
                <a:gd name="T8" fmla="*/ 2 w 144"/>
                <a:gd name="T9" fmla="*/ 1 h 89"/>
                <a:gd name="T10" fmla="*/ 2 w 144"/>
                <a:gd name="T11" fmla="*/ 1 h 89"/>
                <a:gd name="T12" fmla="*/ 2 w 144"/>
                <a:gd name="T13" fmla="*/ 1 h 89"/>
                <a:gd name="T14" fmla="*/ 1 w 144"/>
                <a:gd name="T15" fmla="*/ 1 h 89"/>
                <a:gd name="T16" fmla="*/ 1 w 144"/>
                <a:gd name="T17" fmla="*/ 1 h 89"/>
                <a:gd name="T18" fmla="*/ 1 w 144"/>
                <a:gd name="T19" fmla="*/ 1 h 89"/>
                <a:gd name="T20" fmla="*/ 0 w 144"/>
                <a:gd name="T21" fmla="*/ 1 h 89"/>
                <a:gd name="T22" fmla="*/ 0 w 144"/>
                <a:gd name="T23" fmla="*/ 1 h 89"/>
                <a:gd name="T24" fmla="*/ 1 w 144"/>
                <a:gd name="T25" fmla="*/ 1 h 89"/>
                <a:gd name="T26" fmla="*/ 1 w 144"/>
                <a:gd name="T27" fmla="*/ 1 h 89"/>
                <a:gd name="T28" fmla="*/ 1 w 144"/>
                <a:gd name="T29" fmla="*/ 1 h 89"/>
                <a:gd name="T30" fmla="*/ 2 w 144"/>
                <a:gd name="T31" fmla="*/ 1 h 89"/>
                <a:gd name="T32" fmla="*/ 2 w 144"/>
                <a:gd name="T33" fmla="*/ 1 h 89"/>
                <a:gd name="T34" fmla="*/ 3 w 144"/>
                <a:gd name="T35" fmla="*/ 1 h 89"/>
                <a:gd name="T36" fmla="*/ 4 w 144"/>
                <a:gd name="T37" fmla="*/ 1 h 89"/>
                <a:gd name="T38" fmla="*/ 4 w 144"/>
                <a:gd name="T39" fmla="*/ 1 h 89"/>
                <a:gd name="T40" fmla="*/ 4 w 144"/>
                <a:gd name="T41" fmla="*/ 1 h 89"/>
                <a:gd name="T42" fmla="*/ 4 w 144"/>
                <a:gd name="T43" fmla="*/ 1 h 89"/>
                <a:gd name="T44" fmla="*/ 4 w 144"/>
                <a:gd name="T45" fmla="*/ 1 h 89"/>
                <a:gd name="T46" fmla="*/ 4 w 144"/>
                <a:gd name="T47" fmla="*/ 1 h 89"/>
                <a:gd name="T48" fmla="*/ 4 w 144"/>
                <a:gd name="T49" fmla="*/ 1 h 89"/>
                <a:gd name="T50" fmla="*/ 3 w 144"/>
                <a:gd name="T51" fmla="*/ 0 h 89"/>
                <a:gd name="T52" fmla="*/ 2 w 144"/>
                <a:gd name="T53" fmla="*/ 1 h 89"/>
                <a:gd name="T54" fmla="*/ 2 w 144"/>
                <a:gd name="T55" fmla="*/ 1 h 89"/>
                <a:gd name="T56" fmla="*/ 2 w 144"/>
                <a:gd name="T57" fmla="*/ 1 h 8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44"/>
                <a:gd name="T88" fmla="*/ 0 h 89"/>
                <a:gd name="T89" fmla="*/ 144 w 144"/>
                <a:gd name="T90" fmla="*/ 89 h 8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44" h="89">
                  <a:moveTo>
                    <a:pt x="85" y="30"/>
                  </a:moveTo>
                  <a:lnTo>
                    <a:pt x="88" y="33"/>
                  </a:lnTo>
                  <a:lnTo>
                    <a:pt x="85" y="37"/>
                  </a:lnTo>
                  <a:lnTo>
                    <a:pt x="78" y="35"/>
                  </a:lnTo>
                  <a:lnTo>
                    <a:pt x="76" y="42"/>
                  </a:lnTo>
                  <a:lnTo>
                    <a:pt x="67" y="35"/>
                  </a:lnTo>
                  <a:lnTo>
                    <a:pt x="67" y="37"/>
                  </a:lnTo>
                  <a:lnTo>
                    <a:pt x="45" y="59"/>
                  </a:lnTo>
                  <a:lnTo>
                    <a:pt x="29" y="61"/>
                  </a:lnTo>
                  <a:lnTo>
                    <a:pt x="24" y="80"/>
                  </a:lnTo>
                  <a:lnTo>
                    <a:pt x="0" y="75"/>
                  </a:lnTo>
                  <a:lnTo>
                    <a:pt x="12" y="89"/>
                  </a:lnTo>
                  <a:lnTo>
                    <a:pt x="33" y="89"/>
                  </a:lnTo>
                  <a:lnTo>
                    <a:pt x="41" y="80"/>
                  </a:lnTo>
                  <a:lnTo>
                    <a:pt x="62" y="85"/>
                  </a:lnTo>
                  <a:lnTo>
                    <a:pt x="76" y="78"/>
                  </a:lnTo>
                  <a:lnTo>
                    <a:pt x="97" y="40"/>
                  </a:lnTo>
                  <a:lnTo>
                    <a:pt x="126" y="40"/>
                  </a:lnTo>
                  <a:lnTo>
                    <a:pt x="135" y="37"/>
                  </a:lnTo>
                  <a:lnTo>
                    <a:pt x="130" y="33"/>
                  </a:lnTo>
                  <a:lnTo>
                    <a:pt x="144" y="28"/>
                  </a:lnTo>
                  <a:lnTo>
                    <a:pt x="123" y="16"/>
                  </a:lnTo>
                  <a:lnTo>
                    <a:pt x="123" y="9"/>
                  </a:lnTo>
                  <a:lnTo>
                    <a:pt x="111" y="0"/>
                  </a:lnTo>
                  <a:lnTo>
                    <a:pt x="88" y="23"/>
                  </a:lnTo>
                  <a:lnTo>
                    <a:pt x="85" y="3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07" name="Freeform 135"/>
            <p:cNvSpPr>
              <a:spLocks/>
            </p:cNvSpPr>
            <p:nvPr/>
          </p:nvSpPr>
          <p:spPr bwMode="auto">
            <a:xfrm>
              <a:off x="4871" y="3337"/>
              <a:ext cx="12" cy="6"/>
            </a:xfrm>
            <a:custGeom>
              <a:avLst/>
              <a:gdLst>
                <a:gd name="T0" fmla="*/ 0 w 21"/>
                <a:gd name="T1" fmla="*/ 1 h 12"/>
                <a:gd name="T2" fmla="*/ 1 w 21"/>
                <a:gd name="T3" fmla="*/ 1 h 12"/>
                <a:gd name="T4" fmla="*/ 1 w 21"/>
                <a:gd name="T5" fmla="*/ 1 h 12"/>
                <a:gd name="T6" fmla="*/ 1 w 21"/>
                <a:gd name="T7" fmla="*/ 1 h 12"/>
                <a:gd name="T8" fmla="*/ 1 w 21"/>
                <a:gd name="T9" fmla="*/ 1 h 12"/>
                <a:gd name="T10" fmla="*/ 1 w 21"/>
                <a:gd name="T11" fmla="*/ 0 h 12"/>
                <a:gd name="T12" fmla="*/ 1 w 21"/>
                <a:gd name="T13" fmla="*/ 0 h 12"/>
                <a:gd name="T14" fmla="*/ 0 w 21"/>
                <a:gd name="T15" fmla="*/ 1 h 12"/>
                <a:gd name="T16" fmla="*/ 0 w 21"/>
                <a:gd name="T17" fmla="*/ 1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2"/>
                <a:gd name="T29" fmla="*/ 21 w 21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2">
                  <a:moveTo>
                    <a:pt x="0" y="5"/>
                  </a:moveTo>
                  <a:lnTo>
                    <a:pt x="9" y="12"/>
                  </a:lnTo>
                  <a:lnTo>
                    <a:pt x="11" y="5"/>
                  </a:lnTo>
                  <a:lnTo>
                    <a:pt x="18" y="7"/>
                  </a:lnTo>
                  <a:lnTo>
                    <a:pt x="21" y="3"/>
                  </a:lnTo>
                  <a:lnTo>
                    <a:pt x="18" y="0"/>
                  </a:lnTo>
                  <a:lnTo>
                    <a:pt x="0" y="7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08" name="Freeform 136"/>
            <p:cNvSpPr>
              <a:spLocks/>
            </p:cNvSpPr>
            <p:nvPr/>
          </p:nvSpPr>
          <p:spPr bwMode="auto">
            <a:xfrm>
              <a:off x="4826" y="3342"/>
              <a:ext cx="89" cy="65"/>
            </a:xfrm>
            <a:custGeom>
              <a:avLst/>
              <a:gdLst>
                <a:gd name="T0" fmla="*/ 1 w 151"/>
                <a:gd name="T1" fmla="*/ 1 h 125"/>
                <a:gd name="T2" fmla="*/ 1 w 151"/>
                <a:gd name="T3" fmla="*/ 1 h 125"/>
                <a:gd name="T4" fmla="*/ 1 w 151"/>
                <a:gd name="T5" fmla="*/ 1 h 125"/>
                <a:gd name="T6" fmla="*/ 1 w 151"/>
                <a:gd name="T7" fmla="*/ 1 h 125"/>
                <a:gd name="T8" fmla="*/ 2 w 151"/>
                <a:gd name="T9" fmla="*/ 1 h 125"/>
                <a:gd name="T10" fmla="*/ 2 w 151"/>
                <a:gd name="T11" fmla="*/ 1 h 125"/>
                <a:gd name="T12" fmla="*/ 3 w 151"/>
                <a:gd name="T13" fmla="*/ 0 h 125"/>
                <a:gd name="T14" fmla="*/ 4 w 151"/>
                <a:gd name="T15" fmla="*/ 0 h 125"/>
                <a:gd name="T16" fmla="*/ 4 w 151"/>
                <a:gd name="T17" fmla="*/ 0 h 125"/>
                <a:gd name="T18" fmla="*/ 3 w 151"/>
                <a:gd name="T19" fmla="*/ 1 h 125"/>
                <a:gd name="T20" fmla="*/ 4 w 151"/>
                <a:gd name="T21" fmla="*/ 1 h 125"/>
                <a:gd name="T22" fmla="*/ 3 w 151"/>
                <a:gd name="T23" fmla="*/ 1 h 125"/>
                <a:gd name="T24" fmla="*/ 4 w 151"/>
                <a:gd name="T25" fmla="*/ 1 h 125"/>
                <a:gd name="T26" fmla="*/ 4 w 151"/>
                <a:gd name="T27" fmla="*/ 1 h 125"/>
                <a:gd name="T28" fmla="*/ 3 w 151"/>
                <a:gd name="T29" fmla="*/ 1 h 125"/>
                <a:gd name="T30" fmla="*/ 3 w 151"/>
                <a:gd name="T31" fmla="*/ 1 h 125"/>
                <a:gd name="T32" fmla="*/ 3 w 151"/>
                <a:gd name="T33" fmla="*/ 1 h 125"/>
                <a:gd name="T34" fmla="*/ 3 w 151"/>
                <a:gd name="T35" fmla="*/ 1 h 125"/>
                <a:gd name="T36" fmla="*/ 2 w 151"/>
                <a:gd name="T37" fmla="*/ 2 h 125"/>
                <a:gd name="T38" fmla="*/ 2 w 151"/>
                <a:gd name="T39" fmla="*/ 2 h 125"/>
                <a:gd name="T40" fmla="*/ 2 w 151"/>
                <a:gd name="T41" fmla="*/ 1 h 125"/>
                <a:gd name="T42" fmla="*/ 2 w 151"/>
                <a:gd name="T43" fmla="*/ 1 h 125"/>
                <a:gd name="T44" fmla="*/ 1 w 151"/>
                <a:gd name="T45" fmla="*/ 1 h 125"/>
                <a:gd name="T46" fmla="*/ 1 w 151"/>
                <a:gd name="T47" fmla="*/ 1 h 125"/>
                <a:gd name="T48" fmla="*/ 1 w 151"/>
                <a:gd name="T49" fmla="*/ 1 h 125"/>
                <a:gd name="T50" fmla="*/ 1 w 151"/>
                <a:gd name="T51" fmla="*/ 1 h 125"/>
                <a:gd name="T52" fmla="*/ 1 w 151"/>
                <a:gd name="T53" fmla="*/ 1 h 125"/>
                <a:gd name="T54" fmla="*/ 0 w 151"/>
                <a:gd name="T55" fmla="*/ 1 h 125"/>
                <a:gd name="T56" fmla="*/ 1 w 151"/>
                <a:gd name="T57" fmla="*/ 1 h 125"/>
                <a:gd name="T58" fmla="*/ 1 w 151"/>
                <a:gd name="T59" fmla="*/ 1 h 12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1"/>
                <a:gd name="T91" fmla="*/ 0 h 125"/>
                <a:gd name="T92" fmla="*/ 151 w 151"/>
                <a:gd name="T93" fmla="*/ 125 h 12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1" h="125">
                  <a:moveTo>
                    <a:pt x="9" y="35"/>
                  </a:moveTo>
                  <a:lnTo>
                    <a:pt x="21" y="49"/>
                  </a:lnTo>
                  <a:lnTo>
                    <a:pt x="42" y="49"/>
                  </a:lnTo>
                  <a:lnTo>
                    <a:pt x="50" y="40"/>
                  </a:lnTo>
                  <a:lnTo>
                    <a:pt x="71" y="45"/>
                  </a:lnTo>
                  <a:lnTo>
                    <a:pt x="85" y="38"/>
                  </a:lnTo>
                  <a:lnTo>
                    <a:pt x="106" y="0"/>
                  </a:lnTo>
                  <a:lnTo>
                    <a:pt x="135" y="0"/>
                  </a:lnTo>
                  <a:lnTo>
                    <a:pt x="127" y="16"/>
                  </a:lnTo>
                  <a:lnTo>
                    <a:pt x="137" y="28"/>
                  </a:lnTo>
                  <a:lnTo>
                    <a:pt x="132" y="35"/>
                  </a:lnTo>
                  <a:lnTo>
                    <a:pt x="151" y="49"/>
                  </a:lnTo>
                  <a:lnTo>
                    <a:pt x="135" y="52"/>
                  </a:lnTo>
                  <a:lnTo>
                    <a:pt x="123" y="78"/>
                  </a:lnTo>
                  <a:lnTo>
                    <a:pt x="111" y="89"/>
                  </a:lnTo>
                  <a:lnTo>
                    <a:pt x="116" y="97"/>
                  </a:lnTo>
                  <a:lnTo>
                    <a:pt x="109" y="115"/>
                  </a:lnTo>
                  <a:lnTo>
                    <a:pt x="94" y="120"/>
                  </a:lnTo>
                  <a:lnTo>
                    <a:pt x="87" y="125"/>
                  </a:lnTo>
                  <a:lnTo>
                    <a:pt x="80" y="113"/>
                  </a:lnTo>
                  <a:lnTo>
                    <a:pt x="64" y="108"/>
                  </a:lnTo>
                  <a:lnTo>
                    <a:pt x="42" y="115"/>
                  </a:lnTo>
                  <a:lnTo>
                    <a:pt x="42" y="104"/>
                  </a:lnTo>
                  <a:lnTo>
                    <a:pt x="21" y="106"/>
                  </a:lnTo>
                  <a:lnTo>
                    <a:pt x="16" y="82"/>
                  </a:lnTo>
                  <a:lnTo>
                    <a:pt x="5" y="68"/>
                  </a:lnTo>
                  <a:lnTo>
                    <a:pt x="0" y="49"/>
                  </a:lnTo>
                  <a:lnTo>
                    <a:pt x="9" y="35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09" name="Freeform 137"/>
            <p:cNvSpPr>
              <a:spLocks/>
            </p:cNvSpPr>
            <p:nvPr/>
          </p:nvSpPr>
          <p:spPr bwMode="auto">
            <a:xfrm>
              <a:off x="5019" y="3378"/>
              <a:ext cx="92" cy="69"/>
            </a:xfrm>
            <a:custGeom>
              <a:avLst/>
              <a:gdLst>
                <a:gd name="T0" fmla="*/ 4 w 156"/>
                <a:gd name="T1" fmla="*/ 1 h 133"/>
                <a:gd name="T2" fmla="*/ 4 w 156"/>
                <a:gd name="T3" fmla="*/ 1 h 133"/>
                <a:gd name="T4" fmla="*/ 4 w 156"/>
                <a:gd name="T5" fmla="*/ 2 h 133"/>
                <a:gd name="T6" fmla="*/ 4 w 156"/>
                <a:gd name="T7" fmla="*/ 2 h 133"/>
                <a:gd name="T8" fmla="*/ 4 w 156"/>
                <a:gd name="T9" fmla="*/ 1 h 133"/>
                <a:gd name="T10" fmla="*/ 2 w 156"/>
                <a:gd name="T11" fmla="*/ 2 h 133"/>
                <a:gd name="T12" fmla="*/ 3 w 156"/>
                <a:gd name="T13" fmla="*/ 1 h 133"/>
                <a:gd name="T14" fmla="*/ 3 w 156"/>
                <a:gd name="T15" fmla="*/ 1 h 133"/>
                <a:gd name="T16" fmla="*/ 3 w 156"/>
                <a:gd name="T17" fmla="*/ 1 h 133"/>
                <a:gd name="T18" fmla="*/ 1 w 156"/>
                <a:gd name="T19" fmla="*/ 1 h 133"/>
                <a:gd name="T20" fmla="*/ 1 w 156"/>
                <a:gd name="T21" fmla="*/ 1 h 133"/>
                <a:gd name="T22" fmla="*/ 1 w 156"/>
                <a:gd name="T23" fmla="*/ 1 h 133"/>
                <a:gd name="T24" fmla="*/ 1 w 156"/>
                <a:gd name="T25" fmla="*/ 1 h 133"/>
                <a:gd name="T26" fmla="*/ 1 w 156"/>
                <a:gd name="T27" fmla="*/ 1 h 133"/>
                <a:gd name="T28" fmla="*/ 1 w 156"/>
                <a:gd name="T29" fmla="*/ 1 h 133"/>
                <a:gd name="T30" fmla="*/ 1 w 156"/>
                <a:gd name="T31" fmla="*/ 1 h 133"/>
                <a:gd name="T32" fmla="*/ 1 w 156"/>
                <a:gd name="T33" fmla="*/ 1 h 133"/>
                <a:gd name="T34" fmla="*/ 0 w 156"/>
                <a:gd name="T35" fmla="*/ 1 h 133"/>
                <a:gd name="T36" fmla="*/ 1 w 156"/>
                <a:gd name="T37" fmla="*/ 0 h 133"/>
                <a:gd name="T38" fmla="*/ 1 w 156"/>
                <a:gd name="T39" fmla="*/ 0 h 133"/>
                <a:gd name="T40" fmla="*/ 1 w 156"/>
                <a:gd name="T41" fmla="*/ 1 h 133"/>
                <a:gd name="T42" fmla="*/ 1 w 156"/>
                <a:gd name="T43" fmla="*/ 1 h 133"/>
                <a:gd name="T44" fmla="*/ 2 w 156"/>
                <a:gd name="T45" fmla="*/ 1 h 133"/>
                <a:gd name="T46" fmla="*/ 2 w 156"/>
                <a:gd name="T47" fmla="*/ 1 h 133"/>
                <a:gd name="T48" fmla="*/ 2 w 156"/>
                <a:gd name="T49" fmla="*/ 1 h 133"/>
                <a:gd name="T50" fmla="*/ 3 w 156"/>
                <a:gd name="T51" fmla="*/ 1 h 133"/>
                <a:gd name="T52" fmla="*/ 4 w 156"/>
                <a:gd name="T53" fmla="*/ 1 h 133"/>
                <a:gd name="T54" fmla="*/ 4 w 156"/>
                <a:gd name="T55" fmla="*/ 1 h 13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56"/>
                <a:gd name="T85" fmla="*/ 0 h 133"/>
                <a:gd name="T86" fmla="*/ 156 w 156"/>
                <a:gd name="T87" fmla="*/ 133 h 13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56" h="133">
                  <a:moveTo>
                    <a:pt x="153" y="36"/>
                  </a:moveTo>
                  <a:lnTo>
                    <a:pt x="156" y="71"/>
                  </a:lnTo>
                  <a:lnTo>
                    <a:pt x="156" y="133"/>
                  </a:lnTo>
                  <a:lnTo>
                    <a:pt x="137" y="114"/>
                  </a:lnTo>
                  <a:lnTo>
                    <a:pt x="102" y="118"/>
                  </a:lnTo>
                  <a:lnTo>
                    <a:pt x="111" y="104"/>
                  </a:lnTo>
                  <a:lnTo>
                    <a:pt x="118" y="104"/>
                  </a:lnTo>
                  <a:lnTo>
                    <a:pt x="109" y="78"/>
                  </a:lnTo>
                  <a:lnTo>
                    <a:pt x="42" y="47"/>
                  </a:lnTo>
                  <a:lnTo>
                    <a:pt x="31" y="55"/>
                  </a:lnTo>
                  <a:lnTo>
                    <a:pt x="28" y="43"/>
                  </a:lnTo>
                  <a:lnTo>
                    <a:pt x="16" y="38"/>
                  </a:lnTo>
                  <a:lnTo>
                    <a:pt x="42" y="33"/>
                  </a:lnTo>
                  <a:lnTo>
                    <a:pt x="45" y="24"/>
                  </a:lnTo>
                  <a:lnTo>
                    <a:pt x="21" y="29"/>
                  </a:lnTo>
                  <a:lnTo>
                    <a:pt x="14" y="19"/>
                  </a:lnTo>
                  <a:lnTo>
                    <a:pt x="0" y="14"/>
                  </a:lnTo>
                  <a:lnTo>
                    <a:pt x="21" y="0"/>
                  </a:lnTo>
                  <a:lnTo>
                    <a:pt x="31" y="0"/>
                  </a:lnTo>
                  <a:lnTo>
                    <a:pt x="47" y="5"/>
                  </a:lnTo>
                  <a:lnTo>
                    <a:pt x="50" y="29"/>
                  </a:lnTo>
                  <a:lnTo>
                    <a:pt x="66" y="45"/>
                  </a:lnTo>
                  <a:lnTo>
                    <a:pt x="71" y="45"/>
                  </a:lnTo>
                  <a:lnTo>
                    <a:pt x="85" y="29"/>
                  </a:lnTo>
                  <a:lnTo>
                    <a:pt x="106" y="17"/>
                  </a:lnTo>
                  <a:lnTo>
                    <a:pt x="153" y="36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10" name="Freeform 138"/>
            <p:cNvSpPr>
              <a:spLocks/>
            </p:cNvSpPr>
            <p:nvPr/>
          </p:nvSpPr>
          <p:spPr bwMode="auto">
            <a:xfrm>
              <a:off x="5110" y="3396"/>
              <a:ext cx="86" cy="62"/>
            </a:xfrm>
            <a:custGeom>
              <a:avLst/>
              <a:gdLst>
                <a:gd name="T0" fmla="*/ 1 w 145"/>
                <a:gd name="T1" fmla="*/ 1 h 118"/>
                <a:gd name="T2" fmla="*/ 1 w 145"/>
                <a:gd name="T3" fmla="*/ 1 h 118"/>
                <a:gd name="T4" fmla="*/ 0 w 145"/>
                <a:gd name="T5" fmla="*/ 0 h 118"/>
                <a:gd name="T6" fmla="*/ 0 w 145"/>
                <a:gd name="T7" fmla="*/ 0 h 118"/>
                <a:gd name="T8" fmla="*/ 1 w 145"/>
                <a:gd name="T9" fmla="*/ 1 h 118"/>
                <a:gd name="T10" fmla="*/ 2 w 145"/>
                <a:gd name="T11" fmla="*/ 1 h 118"/>
                <a:gd name="T12" fmla="*/ 2 w 145"/>
                <a:gd name="T13" fmla="*/ 1 h 118"/>
                <a:gd name="T14" fmla="*/ 2 w 145"/>
                <a:gd name="T15" fmla="*/ 1 h 118"/>
                <a:gd name="T16" fmla="*/ 2 w 145"/>
                <a:gd name="T17" fmla="*/ 1 h 118"/>
                <a:gd name="T18" fmla="*/ 2 w 145"/>
                <a:gd name="T19" fmla="*/ 1 h 118"/>
                <a:gd name="T20" fmla="*/ 2 w 145"/>
                <a:gd name="T21" fmla="*/ 1 h 118"/>
                <a:gd name="T22" fmla="*/ 3 w 145"/>
                <a:gd name="T23" fmla="*/ 1 h 118"/>
                <a:gd name="T24" fmla="*/ 3 w 145"/>
                <a:gd name="T25" fmla="*/ 1 h 118"/>
                <a:gd name="T26" fmla="*/ 3 w 145"/>
                <a:gd name="T27" fmla="*/ 1 h 118"/>
                <a:gd name="T28" fmla="*/ 3 w 145"/>
                <a:gd name="T29" fmla="*/ 1 h 118"/>
                <a:gd name="T30" fmla="*/ 4 w 145"/>
                <a:gd name="T31" fmla="*/ 1 h 118"/>
                <a:gd name="T32" fmla="*/ 4 w 145"/>
                <a:gd name="T33" fmla="*/ 2 h 118"/>
                <a:gd name="T34" fmla="*/ 2 w 145"/>
                <a:gd name="T35" fmla="*/ 1 h 118"/>
                <a:gd name="T36" fmla="*/ 2 w 145"/>
                <a:gd name="T37" fmla="*/ 1 h 118"/>
                <a:gd name="T38" fmla="*/ 1 w 145"/>
                <a:gd name="T39" fmla="*/ 1 h 118"/>
                <a:gd name="T40" fmla="*/ 1 w 145"/>
                <a:gd name="T41" fmla="*/ 1 h 118"/>
                <a:gd name="T42" fmla="*/ 1 w 145"/>
                <a:gd name="T43" fmla="*/ 1 h 118"/>
                <a:gd name="T44" fmla="*/ 1 w 145"/>
                <a:gd name="T45" fmla="*/ 1 h 118"/>
                <a:gd name="T46" fmla="*/ 1 w 145"/>
                <a:gd name="T47" fmla="*/ 1 h 118"/>
                <a:gd name="T48" fmla="*/ 1 w 145"/>
                <a:gd name="T49" fmla="*/ 1 h 118"/>
                <a:gd name="T50" fmla="*/ 1 w 145"/>
                <a:gd name="T51" fmla="*/ 1 h 11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45"/>
                <a:gd name="T79" fmla="*/ 0 h 118"/>
                <a:gd name="T80" fmla="*/ 145 w 145"/>
                <a:gd name="T81" fmla="*/ 118 h 11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45" h="118">
                  <a:moveTo>
                    <a:pt x="3" y="97"/>
                  </a:moveTo>
                  <a:lnTo>
                    <a:pt x="3" y="35"/>
                  </a:lnTo>
                  <a:lnTo>
                    <a:pt x="0" y="0"/>
                  </a:lnTo>
                  <a:lnTo>
                    <a:pt x="36" y="11"/>
                  </a:lnTo>
                  <a:lnTo>
                    <a:pt x="64" y="26"/>
                  </a:lnTo>
                  <a:lnTo>
                    <a:pt x="69" y="40"/>
                  </a:lnTo>
                  <a:lnTo>
                    <a:pt x="102" y="52"/>
                  </a:lnTo>
                  <a:lnTo>
                    <a:pt x="102" y="59"/>
                  </a:lnTo>
                  <a:lnTo>
                    <a:pt x="88" y="61"/>
                  </a:lnTo>
                  <a:lnTo>
                    <a:pt x="90" y="68"/>
                  </a:lnTo>
                  <a:lnTo>
                    <a:pt x="107" y="78"/>
                  </a:lnTo>
                  <a:lnTo>
                    <a:pt x="112" y="94"/>
                  </a:lnTo>
                  <a:lnTo>
                    <a:pt x="121" y="94"/>
                  </a:lnTo>
                  <a:lnTo>
                    <a:pt x="121" y="99"/>
                  </a:lnTo>
                  <a:lnTo>
                    <a:pt x="145" y="111"/>
                  </a:lnTo>
                  <a:lnTo>
                    <a:pt x="142" y="118"/>
                  </a:lnTo>
                  <a:lnTo>
                    <a:pt x="97" y="108"/>
                  </a:lnTo>
                  <a:lnTo>
                    <a:pt x="74" y="78"/>
                  </a:lnTo>
                  <a:lnTo>
                    <a:pt x="55" y="71"/>
                  </a:lnTo>
                  <a:lnTo>
                    <a:pt x="45" y="71"/>
                  </a:lnTo>
                  <a:lnTo>
                    <a:pt x="31" y="82"/>
                  </a:lnTo>
                  <a:lnTo>
                    <a:pt x="34" y="89"/>
                  </a:lnTo>
                  <a:lnTo>
                    <a:pt x="22" y="97"/>
                  </a:lnTo>
                  <a:lnTo>
                    <a:pt x="3" y="97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11" name="Freeform 139"/>
            <p:cNvSpPr>
              <a:spLocks/>
            </p:cNvSpPr>
            <p:nvPr/>
          </p:nvSpPr>
          <p:spPr bwMode="auto">
            <a:xfrm>
              <a:off x="4978" y="3053"/>
              <a:ext cx="29" cy="39"/>
            </a:xfrm>
            <a:custGeom>
              <a:avLst/>
              <a:gdLst>
                <a:gd name="T0" fmla="*/ 1 w 48"/>
                <a:gd name="T1" fmla="*/ 1 h 75"/>
                <a:gd name="T2" fmla="*/ 1 w 48"/>
                <a:gd name="T3" fmla="*/ 0 h 75"/>
                <a:gd name="T4" fmla="*/ 1 w 48"/>
                <a:gd name="T5" fmla="*/ 0 h 75"/>
                <a:gd name="T6" fmla="*/ 1 w 48"/>
                <a:gd name="T7" fmla="*/ 1 h 75"/>
                <a:gd name="T8" fmla="*/ 1 w 48"/>
                <a:gd name="T9" fmla="*/ 1 h 75"/>
                <a:gd name="T10" fmla="*/ 1 w 48"/>
                <a:gd name="T11" fmla="*/ 1 h 75"/>
                <a:gd name="T12" fmla="*/ 1 w 48"/>
                <a:gd name="T13" fmla="*/ 1 h 75"/>
                <a:gd name="T14" fmla="*/ 1 w 48"/>
                <a:gd name="T15" fmla="*/ 1 h 75"/>
                <a:gd name="T16" fmla="*/ 1 w 48"/>
                <a:gd name="T17" fmla="*/ 1 h 75"/>
                <a:gd name="T18" fmla="*/ 0 w 48"/>
                <a:gd name="T19" fmla="*/ 1 h 75"/>
                <a:gd name="T20" fmla="*/ 1 w 48"/>
                <a:gd name="T21" fmla="*/ 1 h 75"/>
                <a:gd name="T22" fmla="*/ 1 w 48"/>
                <a:gd name="T23" fmla="*/ 1 h 75"/>
                <a:gd name="T24" fmla="*/ 1 w 48"/>
                <a:gd name="T25" fmla="*/ 1 h 75"/>
                <a:gd name="T26" fmla="*/ 1 w 48"/>
                <a:gd name="T27" fmla="*/ 1 h 7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8"/>
                <a:gd name="T43" fmla="*/ 0 h 75"/>
                <a:gd name="T44" fmla="*/ 48 w 48"/>
                <a:gd name="T45" fmla="*/ 75 h 7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8" h="75">
                  <a:moveTo>
                    <a:pt x="5" y="14"/>
                  </a:moveTo>
                  <a:lnTo>
                    <a:pt x="33" y="0"/>
                  </a:lnTo>
                  <a:lnTo>
                    <a:pt x="36" y="0"/>
                  </a:lnTo>
                  <a:lnTo>
                    <a:pt x="45" y="19"/>
                  </a:lnTo>
                  <a:lnTo>
                    <a:pt x="48" y="47"/>
                  </a:lnTo>
                  <a:lnTo>
                    <a:pt x="43" y="61"/>
                  </a:lnTo>
                  <a:lnTo>
                    <a:pt x="8" y="75"/>
                  </a:lnTo>
                  <a:lnTo>
                    <a:pt x="3" y="59"/>
                  </a:lnTo>
                  <a:lnTo>
                    <a:pt x="8" y="52"/>
                  </a:lnTo>
                  <a:lnTo>
                    <a:pt x="0" y="28"/>
                  </a:lnTo>
                  <a:lnTo>
                    <a:pt x="8" y="28"/>
                  </a:lnTo>
                  <a:lnTo>
                    <a:pt x="8" y="19"/>
                  </a:lnTo>
                  <a:lnTo>
                    <a:pt x="5" y="14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12" name="Freeform 140"/>
            <p:cNvSpPr>
              <a:spLocks/>
            </p:cNvSpPr>
            <p:nvPr/>
          </p:nvSpPr>
          <p:spPr bwMode="auto">
            <a:xfrm>
              <a:off x="4963" y="3010"/>
              <a:ext cx="56" cy="50"/>
            </a:xfrm>
            <a:custGeom>
              <a:avLst/>
              <a:gdLst>
                <a:gd name="T0" fmla="*/ 2 w 95"/>
                <a:gd name="T1" fmla="*/ 1 h 97"/>
                <a:gd name="T2" fmla="*/ 2 w 95"/>
                <a:gd name="T3" fmla="*/ 0 h 97"/>
                <a:gd name="T4" fmla="*/ 2 w 95"/>
                <a:gd name="T5" fmla="*/ 1 h 97"/>
                <a:gd name="T6" fmla="*/ 1 w 95"/>
                <a:gd name="T7" fmla="*/ 1 h 97"/>
                <a:gd name="T8" fmla="*/ 1 w 95"/>
                <a:gd name="T9" fmla="*/ 1 h 97"/>
                <a:gd name="T10" fmla="*/ 1 w 95"/>
                <a:gd name="T11" fmla="*/ 1 h 97"/>
                <a:gd name="T12" fmla="*/ 0 w 95"/>
                <a:gd name="T13" fmla="*/ 1 h 97"/>
                <a:gd name="T14" fmla="*/ 0 w 95"/>
                <a:gd name="T15" fmla="*/ 1 h 97"/>
                <a:gd name="T16" fmla="*/ 1 w 95"/>
                <a:gd name="T17" fmla="*/ 1 h 97"/>
                <a:gd name="T18" fmla="*/ 1 w 95"/>
                <a:gd name="T19" fmla="*/ 1 h 97"/>
                <a:gd name="T20" fmla="*/ 1 w 95"/>
                <a:gd name="T21" fmla="*/ 1 h 97"/>
                <a:gd name="T22" fmla="*/ 1 w 95"/>
                <a:gd name="T23" fmla="*/ 1 h 97"/>
                <a:gd name="T24" fmla="*/ 1 w 95"/>
                <a:gd name="T25" fmla="*/ 1 h 97"/>
                <a:gd name="T26" fmla="*/ 1 w 95"/>
                <a:gd name="T27" fmla="*/ 1 h 97"/>
                <a:gd name="T28" fmla="*/ 1 w 95"/>
                <a:gd name="T29" fmla="*/ 1 h 97"/>
                <a:gd name="T30" fmla="*/ 2 w 95"/>
                <a:gd name="T31" fmla="*/ 1 h 97"/>
                <a:gd name="T32" fmla="*/ 1 w 95"/>
                <a:gd name="T33" fmla="*/ 1 h 97"/>
                <a:gd name="T34" fmla="*/ 1 w 95"/>
                <a:gd name="T35" fmla="*/ 1 h 97"/>
                <a:gd name="T36" fmla="*/ 2 w 95"/>
                <a:gd name="T37" fmla="*/ 1 h 97"/>
                <a:gd name="T38" fmla="*/ 2 w 95"/>
                <a:gd name="T39" fmla="*/ 1 h 97"/>
                <a:gd name="T40" fmla="*/ 2 w 95"/>
                <a:gd name="T41" fmla="*/ 1 h 97"/>
                <a:gd name="T42" fmla="*/ 2 w 95"/>
                <a:gd name="T43" fmla="*/ 1 h 9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5"/>
                <a:gd name="T67" fmla="*/ 0 h 97"/>
                <a:gd name="T68" fmla="*/ 95 w 95"/>
                <a:gd name="T69" fmla="*/ 97 h 9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5" h="97">
                  <a:moveTo>
                    <a:pt x="95" y="5"/>
                  </a:moveTo>
                  <a:lnTo>
                    <a:pt x="83" y="0"/>
                  </a:lnTo>
                  <a:lnTo>
                    <a:pt x="69" y="14"/>
                  </a:lnTo>
                  <a:lnTo>
                    <a:pt x="57" y="17"/>
                  </a:lnTo>
                  <a:lnTo>
                    <a:pt x="52" y="26"/>
                  </a:lnTo>
                  <a:lnTo>
                    <a:pt x="38" y="24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15" y="64"/>
                  </a:lnTo>
                  <a:lnTo>
                    <a:pt x="5" y="90"/>
                  </a:lnTo>
                  <a:lnTo>
                    <a:pt x="15" y="97"/>
                  </a:lnTo>
                  <a:lnTo>
                    <a:pt x="24" y="97"/>
                  </a:lnTo>
                  <a:lnTo>
                    <a:pt x="31" y="97"/>
                  </a:lnTo>
                  <a:lnTo>
                    <a:pt x="59" y="83"/>
                  </a:lnTo>
                  <a:lnTo>
                    <a:pt x="62" y="83"/>
                  </a:lnTo>
                  <a:lnTo>
                    <a:pt x="43" y="69"/>
                  </a:lnTo>
                  <a:lnTo>
                    <a:pt x="43" y="57"/>
                  </a:lnTo>
                  <a:lnTo>
                    <a:pt x="78" y="38"/>
                  </a:lnTo>
                  <a:lnTo>
                    <a:pt x="76" y="21"/>
                  </a:lnTo>
                  <a:lnTo>
                    <a:pt x="95" y="5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13" name="Freeform 141"/>
            <p:cNvSpPr>
              <a:spLocks/>
            </p:cNvSpPr>
            <p:nvPr/>
          </p:nvSpPr>
          <p:spPr bwMode="auto">
            <a:xfrm>
              <a:off x="4850" y="2491"/>
              <a:ext cx="15" cy="12"/>
            </a:xfrm>
            <a:custGeom>
              <a:avLst/>
              <a:gdLst>
                <a:gd name="T0" fmla="*/ 1 w 26"/>
                <a:gd name="T1" fmla="*/ 1 h 24"/>
                <a:gd name="T2" fmla="*/ 1 w 26"/>
                <a:gd name="T3" fmla="*/ 1 h 24"/>
                <a:gd name="T4" fmla="*/ 1 w 26"/>
                <a:gd name="T5" fmla="*/ 0 h 24"/>
                <a:gd name="T6" fmla="*/ 0 w 26"/>
                <a:gd name="T7" fmla="*/ 1 h 24"/>
                <a:gd name="T8" fmla="*/ 1 w 26"/>
                <a:gd name="T9" fmla="*/ 1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24"/>
                <a:gd name="T17" fmla="*/ 26 w 26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24">
                  <a:moveTo>
                    <a:pt x="19" y="24"/>
                  </a:moveTo>
                  <a:lnTo>
                    <a:pt x="26" y="5"/>
                  </a:lnTo>
                  <a:lnTo>
                    <a:pt x="7" y="0"/>
                  </a:lnTo>
                  <a:lnTo>
                    <a:pt x="0" y="10"/>
                  </a:lnTo>
                  <a:lnTo>
                    <a:pt x="19" y="24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14" name="Freeform 142"/>
            <p:cNvSpPr>
              <a:spLocks/>
            </p:cNvSpPr>
            <p:nvPr/>
          </p:nvSpPr>
          <p:spPr bwMode="auto">
            <a:xfrm>
              <a:off x="3751" y="3079"/>
              <a:ext cx="102" cy="74"/>
            </a:xfrm>
            <a:custGeom>
              <a:avLst/>
              <a:gdLst>
                <a:gd name="T0" fmla="*/ 4 w 172"/>
                <a:gd name="T1" fmla="*/ 1 h 142"/>
                <a:gd name="T2" fmla="*/ 4 w 172"/>
                <a:gd name="T3" fmla="*/ 1 h 142"/>
                <a:gd name="T4" fmla="*/ 4 w 172"/>
                <a:gd name="T5" fmla="*/ 1 h 142"/>
                <a:gd name="T6" fmla="*/ 4 w 172"/>
                <a:gd name="T7" fmla="*/ 1 h 142"/>
                <a:gd name="T8" fmla="*/ 4 w 172"/>
                <a:gd name="T9" fmla="*/ 1 h 142"/>
                <a:gd name="T10" fmla="*/ 3 w 172"/>
                <a:gd name="T11" fmla="*/ 1 h 142"/>
                <a:gd name="T12" fmla="*/ 2 w 172"/>
                <a:gd name="T13" fmla="*/ 1 h 142"/>
                <a:gd name="T14" fmla="*/ 2 w 172"/>
                <a:gd name="T15" fmla="*/ 2 h 142"/>
                <a:gd name="T16" fmla="*/ 1 w 172"/>
                <a:gd name="T17" fmla="*/ 2 h 142"/>
                <a:gd name="T18" fmla="*/ 0 w 172"/>
                <a:gd name="T19" fmla="*/ 2 h 142"/>
                <a:gd name="T20" fmla="*/ 0 w 172"/>
                <a:gd name="T21" fmla="*/ 2 h 142"/>
                <a:gd name="T22" fmla="*/ 1 w 172"/>
                <a:gd name="T23" fmla="*/ 2 h 142"/>
                <a:gd name="T24" fmla="*/ 1 w 172"/>
                <a:gd name="T25" fmla="*/ 1 h 142"/>
                <a:gd name="T26" fmla="*/ 1 w 172"/>
                <a:gd name="T27" fmla="*/ 1 h 142"/>
                <a:gd name="T28" fmla="*/ 1 w 172"/>
                <a:gd name="T29" fmla="*/ 1 h 142"/>
                <a:gd name="T30" fmla="*/ 1 w 172"/>
                <a:gd name="T31" fmla="*/ 1 h 142"/>
                <a:gd name="T32" fmla="*/ 2 w 172"/>
                <a:gd name="T33" fmla="*/ 1 h 142"/>
                <a:gd name="T34" fmla="*/ 2 w 172"/>
                <a:gd name="T35" fmla="*/ 1 h 142"/>
                <a:gd name="T36" fmla="*/ 2 w 172"/>
                <a:gd name="T37" fmla="*/ 1 h 142"/>
                <a:gd name="T38" fmla="*/ 3 w 172"/>
                <a:gd name="T39" fmla="*/ 0 h 142"/>
                <a:gd name="T40" fmla="*/ 3 w 172"/>
                <a:gd name="T41" fmla="*/ 1 h 142"/>
                <a:gd name="T42" fmla="*/ 4 w 172"/>
                <a:gd name="T43" fmla="*/ 1 h 142"/>
                <a:gd name="T44" fmla="*/ 4 w 172"/>
                <a:gd name="T45" fmla="*/ 1 h 142"/>
                <a:gd name="T46" fmla="*/ 4 w 172"/>
                <a:gd name="T47" fmla="*/ 1 h 14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72"/>
                <a:gd name="T73" fmla="*/ 0 h 142"/>
                <a:gd name="T74" fmla="*/ 172 w 172"/>
                <a:gd name="T75" fmla="*/ 142 h 14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72" h="142">
                  <a:moveTo>
                    <a:pt x="158" y="12"/>
                  </a:moveTo>
                  <a:lnTo>
                    <a:pt x="165" y="17"/>
                  </a:lnTo>
                  <a:lnTo>
                    <a:pt x="172" y="62"/>
                  </a:lnTo>
                  <a:lnTo>
                    <a:pt x="134" y="73"/>
                  </a:lnTo>
                  <a:lnTo>
                    <a:pt x="137" y="83"/>
                  </a:lnTo>
                  <a:lnTo>
                    <a:pt x="111" y="102"/>
                  </a:lnTo>
                  <a:lnTo>
                    <a:pt x="71" y="116"/>
                  </a:lnTo>
                  <a:lnTo>
                    <a:pt x="63" y="123"/>
                  </a:lnTo>
                  <a:lnTo>
                    <a:pt x="61" y="142"/>
                  </a:lnTo>
                  <a:lnTo>
                    <a:pt x="0" y="140"/>
                  </a:lnTo>
                  <a:lnTo>
                    <a:pt x="19" y="133"/>
                  </a:lnTo>
                  <a:lnTo>
                    <a:pt x="37" y="114"/>
                  </a:lnTo>
                  <a:lnTo>
                    <a:pt x="47" y="97"/>
                  </a:lnTo>
                  <a:lnTo>
                    <a:pt x="42" y="78"/>
                  </a:lnTo>
                  <a:lnTo>
                    <a:pt x="52" y="59"/>
                  </a:lnTo>
                  <a:lnTo>
                    <a:pt x="63" y="45"/>
                  </a:lnTo>
                  <a:lnTo>
                    <a:pt x="89" y="33"/>
                  </a:lnTo>
                  <a:lnTo>
                    <a:pt x="101" y="3"/>
                  </a:lnTo>
                  <a:lnTo>
                    <a:pt x="108" y="0"/>
                  </a:lnTo>
                  <a:lnTo>
                    <a:pt x="123" y="12"/>
                  </a:lnTo>
                  <a:lnTo>
                    <a:pt x="146" y="10"/>
                  </a:lnTo>
                  <a:lnTo>
                    <a:pt x="158" y="12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15" name="Freeform 143"/>
            <p:cNvSpPr>
              <a:spLocks/>
            </p:cNvSpPr>
            <p:nvPr/>
          </p:nvSpPr>
          <p:spPr bwMode="auto">
            <a:xfrm>
              <a:off x="3787" y="3067"/>
              <a:ext cx="181" cy="158"/>
            </a:xfrm>
            <a:custGeom>
              <a:avLst/>
              <a:gdLst>
                <a:gd name="T0" fmla="*/ 2 w 305"/>
                <a:gd name="T1" fmla="*/ 1 h 302"/>
                <a:gd name="T2" fmla="*/ 3 w 305"/>
                <a:gd name="T3" fmla="*/ 1 h 302"/>
                <a:gd name="T4" fmla="*/ 3 w 305"/>
                <a:gd name="T5" fmla="*/ 1 h 302"/>
                <a:gd name="T6" fmla="*/ 2 w 305"/>
                <a:gd name="T7" fmla="*/ 1 h 302"/>
                <a:gd name="T8" fmla="*/ 2 w 305"/>
                <a:gd name="T9" fmla="*/ 1 h 302"/>
                <a:gd name="T10" fmla="*/ 1 w 305"/>
                <a:gd name="T11" fmla="*/ 2 h 302"/>
                <a:gd name="T12" fmla="*/ 1 w 305"/>
                <a:gd name="T13" fmla="*/ 2 h 302"/>
                <a:gd name="T14" fmla="*/ 1 w 305"/>
                <a:gd name="T15" fmla="*/ 2 h 302"/>
                <a:gd name="T16" fmla="*/ 0 w 305"/>
                <a:gd name="T17" fmla="*/ 2 h 302"/>
                <a:gd name="T18" fmla="*/ 1 w 305"/>
                <a:gd name="T19" fmla="*/ 2 h 302"/>
                <a:gd name="T20" fmla="*/ 0 w 305"/>
                <a:gd name="T21" fmla="*/ 2 h 302"/>
                <a:gd name="T22" fmla="*/ 1 w 305"/>
                <a:gd name="T23" fmla="*/ 2 h 302"/>
                <a:gd name="T24" fmla="*/ 4 w 305"/>
                <a:gd name="T25" fmla="*/ 3 h 302"/>
                <a:gd name="T26" fmla="*/ 4 w 305"/>
                <a:gd name="T27" fmla="*/ 3 h 302"/>
                <a:gd name="T28" fmla="*/ 5 w 305"/>
                <a:gd name="T29" fmla="*/ 3 h 302"/>
                <a:gd name="T30" fmla="*/ 5 w 305"/>
                <a:gd name="T31" fmla="*/ 3 h 302"/>
                <a:gd name="T32" fmla="*/ 5 w 305"/>
                <a:gd name="T33" fmla="*/ 3 h 302"/>
                <a:gd name="T34" fmla="*/ 5 w 305"/>
                <a:gd name="T35" fmla="*/ 3 h 302"/>
                <a:gd name="T36" fmla="*/ 5 w 305"/>
                <a:gd name="T37" fmla="*/ 3 h 302"/>
                <a:gd name="T38" fmla="*/ 8 w 305"/>
                <a:gd name="T39" fmla="*/ 3 h 302"/>
                <a:gd name="T40" fmla="*/ 8 w 305"/>
                <a:gd name="T41" fmla="*/ 3 h 302"/>
                <a:gd name="T42" fmla="*/ 8 w 305"/>
                <a:gd name="T43" fmla="*/ 2 h 302"/>
                <a:gd name="T44" fmla="*/ 7 w 305"/>
                <a:gd name="T45" fmla="*/ 2 h 302"/>
                <a:gd name="T46" fmla="*/ 7 w 305"/>
                <a:gd name="T47" fmla="*/ 2 h 302"/>
                <a:gd name="T48" fmla="*/ 7 w 305"/>
                <a:gd name="T49" fmla="*/ 2 h 302"/>
                <a:gd name="T50" fmla="*/ 7 w 305"/>
                <a:gd name="T51" fmla="*/ 2 h 302"/>
                <a:gd name="T52" fmla="*/ 7 w 305"/>
                <a:gd name="T53" fmla="*/ 2 h 302"/>
                <a:gd name="T54" fmla="*/ 7 w 305"/>
                <a:gd name="T55" fmla="*/ 2 h 302"/>
                <a:gd name="T56" fmla="*/ 7 w 305"/>
                <a:gd name="T57" fmla="*/ 2 h 302"/>
                <a:gd name="T58" fmla="*/ 7 w 305"/>
                <a:gd name="T59" fmla="*/ 1 h 302"/>
                <a:gd name="T60" fmla="*/ 7 w 305"/>
                <a:gd name="T61" fmla="*/ 1 h 302"/>
                <a:gd name="T62" fmla="*/ 7 w 305"/>
                <a:gd name="T63" fmla="*/ 1 h 302"/>
                <a:gd name="T64" fmla="*/ 7 w 305"/>
                <a:gd name="T65" fmla="*/ 1 h 302"/>
                <a:gd name="T66" fmla="*/ 7 w 305"/>
                <a:gd name="T67" fmla="*/ 1 h 302"/>
                <a:gd name="T68" fmla="*/ 7 w 305"/>
                <a:gd name="T69" fmla="*/ 0 h 302"/>
                <a:gd name="T70" fmla="*/ 7 w 305"/>
                <a:gd name="T71" fmla="*/ 0 h 302"/>
                <a:gd name="T72" fmla="*/ 7 w 305"/>
                <a:gd name="T73" fmla="*/ 1 h 302"/>
                <a:gd name="T74" fmla="*/ 5 w 305"/>
                <a:gd name="T75" fmla="*/ 0 h 302"/>
                <a:gd name="T76" fmla="*/ 5 w 305"/>
                <a:gd name="T77" fmla="*/ 1 h 302"/>
                <a:gd name="T78" fmla="*/ 5 w 305"/>
                <a:gd name="T79" fmla="*/ 0 h 302"/>
                <a:gd name="T80" fmla="*/ 4 w 305"/>
                <a:gd name="T81" fmla="*/ 1 h 302"/>
                <a:gd name="T82" fmla="*/ 4 w 305"/>
                <a:gd name="T83" fmla="*/ 1 h 302"/>
                <a:gd name="T84" fmla="*/ 2 w 305"/>
                <a:gd name="T85" fmla="*/ 1 h 302"/>
                <a:gd name="T86" fmla="*/ 2 w 305"/>
                <a:gd name="T87" fmla="*/ 1 h 30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05"/>
                <a:gd name="T133" fmla="*/ 0 h 302"/>
                <a:gd name="T134" fmla="*/ 305 w 305"/>
                <a:gd name="T135" fmla="*/ 302 h 30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05" h="302">
                  <a:moveTo>
                    <a:pt x="97" y="33"/>
                  </a:moveTo>
                  <a:lnTo>
                    <a:pt x="104" y="38"/>
                  </a:lnTo>
                  <a:lnTo>
                    <a:pt x="111" y="83"/>
                  </a:lnTo>
                  <a:lnTo>
                    <a:pt x="73" y="94"/>
                  </a:lnTo>
                  <a:lnTo>
                    <a:pt x="76" y="104"/>
                  </a:lnTo>
                  <a:lnTo>
                    <a:pt x="50" y="123"/>
                  </a:lnTo>
                  <a:lnTo>
                    <a:pt x="10" y="137"/>
                  </a:lnTo>
                  <a:lnTo>
                    <a:pt x="2" y="144"/>
                  </a:lnTo>
                  <a:lnTo>
                    <a:pt x="0" y="163"/>
                  </a:lnTo>
                  <a:lnTo>
                    <a:pt x="2" y="170"/>
                  </a:lnTo>
                  <a:lnTo>
                    <a:pt x="0" y="170"/>
                  </a:lnTo>
                  <a:lnTo>
                    <a:pt x="57" y="208"/>
                  </a:lnTo>
                  <a:lnTo>
                    <a:pt x="144" y="267"/>
                  </a:lnTo>
                  <a:lnTo>
                    <a:pt x="154" y="281"/>
                  </a:lnTo>
                  <a:lnTo>
                    <a:pt x="175" y="288"/>
                  </a:lnTo>
                  <a:lnTo>
                    <a:pt x="177" y="302"/>
                  </a:lnTo>
                  <a:lnTo>
                    <a:pt x="189" y="300"/>
                  </a:lnTo>
                  <a:lnTo>
                    <a:pt x="191" y="300"/>
                  </a:lnTo>
                  <a:lnTo>
                    <a:pt x="213" y="295"/>
                  </a:lnTo>
                  <a:lnTo>
                    <a:pt x="305" y="231"/>
                  </a:lnTo>
                  <a:lnTo>
                    <a:pt x="295" y="217"/>
                  </a:lnTo>
                  <a:lnTo>
                    <a:pt x="281" y="215"/>
                  </a:lnTo>
                  <a:lnTo>
                    <a:pt x="267" y="189"/>
                  </a:lnTo>
                  <a:lnTo>
                    <a:pt x="274" y="180"/>
                  </a:lnTo>
                  <a:lnTo>
                    <a:pt x="274" y="161"/>
                  </a:lnTo>
                  <a:lnTo>
                    <a:pt x="272" y="135"/>
                  </a:lnTo>
                  <a:lnTo>
                    <a:pt x="265" y="125"/>
                  </a:lnTo>
                  <a:lnTo>
                    <a:pt x="269" y="118"/>
                  </a:lnTo>
                  <a:lnTo>
                    <a:pt x="265" y="92"/>
                  </a:lnTo>
                  <a:lnTo>
                    <a:pt x="251" y="80"/>
                  </a:lnTo>
                  <a:lnTo>
                    <a:pt x="241" y="59"/>
                  </a:lnTo>
                  <a:lnTo>
                    <a:pt x="253" y="40"/>
                  </a:lnTo>
                  <a:lnTo>
                    <a:pt x="251" y="9"/>
                  </a:lnTo>
                  <a:lnTo>
                    <a:pt x="258" y="0"/>
                  </a:lnTo>
                  <a:lnTo>
                    <a:pt x="260" y="0"/>
                  </a:lnTo>
                  <a:lnTo>
                    <a:pt x="251" y="2"/>
                  </a:lnTo>
                  <a:lnTo>
                    <a:pt x="222" y="0"/>
                  </a:lnTo>
                  <a:lnTo>
                    <a:pt x="208" y="5"/>
                  </a:lnTo>
                  <a:lnTo>
                    <a:pt x="194" y="0"/>
                  </a:lnTo>
                  <a:lnTo>
                    <a:pt x="173" y="2"/>
                  </a:lnTo>
                  <a:lnTo>
                    <a:pt x="144" y="9"/>
                  </a:lnTo>
                  <a:lnTo>
                    <a:pt x="97" y="33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16" name="Freeform 144"/>
            <p:cNvSpPr>
              <a:spLocks/>
            </p:cNvSpPr>
            <p:nvPr/>
          </p:nvSpPr>
          <p:spPr bwMode="auto">
            <a:xfrm>
              <a:off x="3930" y="3065"/>
              <a:ext cx="34" cy="64"/>
            </a:xfrm>
            <a:custGeom>
              <a:avLst/>
              <a:gdLst>
                <a:gd name="T0" fmla="*/ 1 w 57"/>
                <a:gd name="T1" fmla="*/ 1 h 123"/>
                <a:gd name="T2" fmla="*/ 1 w 57"/>
                <a:gd name="T3" fmla="*/ 1 h 123"/>
                <a:gd name="T4" fmla="*/ 1 w 57"/>
                <a:gd name="T5" fmla="*/ 1 h 123"/>
                <a:gd name="T6" fmla="*/ 1 w 57"/>
                <a:gd name="T7" fmla="*/ 2 h 123"/>
                <a:gd name="T8" fmla="*/ 1 w 57"/>
                <a:gd name="T9" fmla="*/ 2 h 123"/>
                <a:gd name="T10" fmla="*/ 1 w 57"/>
                <a:gd name="T11" fmla="*/ 1 h 123"/>
                <a:gd name="T12" fmla="*/ 1 w 57"/>
                <a:gd name="T13" fmla="*/ 1 h 123"/>
                <a:gd name="T14" fmla="*/ 0 w 57"/>
                <a:gd name="T15" fmla="*/ 1 h 123"/>
                <a:gd name="T16" fmla="*/ 1 w 57"/>
                <a:gd name="T17" fmla="*/ 1 h 123"/>
                <a:gd name="T18" fmla="*/ 1 w 57"/>
                <a:gd name="T19" fmla="*/ 1 h 123"/>
                <a:gd name="T20" fmla="*/ 1 w 57"/>
                <a:gd name="T21" fmla="*/ 1 h 123"/>
                <a:gd name="T22" fmla="*/ 1 w 57"/>
                <a:gd name="T23" fmla="*/ 1 h 123"/>
                <a:gd name="T24" fmla="*/ 1 w 57"/>
                <a:gd name="T25" fmla="*/ 0 h 123"/>
                <a:gd name="T26" fmla="*/ 1 w 57"/>
                <a:gd name="T27" fmla="*/ 1 h 123"/>
                <a:gd name="T28" fmla="*/ 1 w 57"/>
                <a:gd name="T29" fmla="*/ 1 h 123"/>
                <a:gd name="T30" fmla="*/ 1 w 57"/>
                <a:gd name="T31" fmla="*/ 1 h 123"/>
                <a:gd name="T32" fmla="*/ 1 w 57"/>
                <a:gd name="T33" fmla="*/ 1 h 123"/>
                <a:gd name="T34" fmla="*/ 1 w 57"/>
                <a:gd name="T35" fmla="*/ 1 h 123"/>
                <a:gd name="T36" fmla="*/ 1 w 57"/>
                <a:gd name="T37" fmla="*/ 1 h 123"/>
                <a:gd name="T38" fmla="*/ 1 w 57"/>
                <a:gd name="T39" fmla="*/ 1 h 123"/>
                <a:gd name="T40" fmla="*/ 1 w 57"/>
                <a:gd name="T41" fmla="*/ 1 h 123"/>
                <a:gd name="T42" fmla="*/ 1 w 57"/>
                <a:gd name="T43" fmla="*/ 1 h 123"/>
                <a:gd name="T44" fmla="*/ 1 w 57"/>
                <a:gd name="T45" fmla="*/ 1 h 12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7"/>
                <a:gd name="T70" fmla="*/ 0 h 123"/>
                <a:gd name="T71" fmla="*/ 57 w 57"/>
                <a:gd name="T72" fmla="*/ 123 h 123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7" h="123">
                  <a:moveTo>
                    <a:pt x="57" y="74"/>
                  </a:moveTo>
                  <a:lnTo>
                    <a:pt x="57" y="88"/>
                  </a:lnTo>
                  <a:lnTo>
                    <a:pt x="38" y="104"/>
                  </a:lnTo>
                  <a:lnTo>
                    <a:pt x="38" y="118"/>
                  </a:lnTo>
                  <a:lnTo>
                    <a:pt x="28" y="123"/>
                  </a:lnTo>
                  <a:lnTo>
                    <a:pt x="24" y="97"/>
                  </a:lnTo>
                  <a:lnTo>
                    <a:pt x="10" y="85"/>
                  </a:lnTo>
                  <a:lnTo>
                    <a:pt x="0" y="64"/>
                  </a:lnTo>
                  <a:lnTo>
                    <a:pt x="12" y="45"/>
                  </a:lnTo>
                  <a:lnTo>
                    <a:pt x="10" y="14"/>
                  </a:lnTo>
                  <a:lnTo>
                    <a:pt x="17" y="5"/>
                  </a:lnTo>
                  <a:lnTo>
                    <a:pt x="19" y="5"/>
                  </a:lnTo>
                  <a:lnTo>
                    <a:pt x="38" y="0"/>
                  </a:lnTo>
                  <a:lnTo>
                    <a:pt x="43" y="10"/>
                  </a:lnTo>
                  <a:lnTo>
                    <a:pt x="52" y="5"/>
                  </a:lnTo>
                  <a:lnTo>
                    <a:pt x="43" y="17"/>
                  </a:lnTo>
                  <a:lnTo>
                    <a:pt x="52" y="38"/>
                  </a:lnTo>
                  <a:lnTo>
                    <a:pt x="38" y="57"/>
                  </a:lnTo>
                  <a:lnTo>
                    <a:pt x="38" y="64"/>
                  </a:lnTo>
                  <a:lnTo>
                    <a:pt x="52" y="66"/>
                  </a:lnTo>
                  <a:lnTo>
                    <a:pt x="52" y="71"/>
                  </a:lnTo>
                  <a:lnTo>
                    <a:pt x="57" y="74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17" name="Freeform 145"/>
            <p:cNvSpPr>
              <a:spLocks/>
            </p:cNvSpPr>
            <p:nvPr/>
          </p:nvSpPr>
          <p:spPr bwMode="auto">
            <a:xfrm>
              <a:off x="3944" y="3104"/>
              <a:ext cx="140" cy="119"/>
            </a:xfrm>
            <a:custGeom>
              <a:avLst/>
              <a:gdLst>
                <a:gd name="T0" fmla="*/ 1 w 236"/>
                <a:gd name="T1" fmla="*/ 2 h 229"/>
                <a:gd name="T2" fmla="*/ 1 w 236"/>
                <a:gd name="T3" fmla="*/ 2 h 229"/>
                <a:gd name="T4" fmla="*/ 1 w 236"/>
                <a:gd name="T5" fmla="*/ 2 h 229"/>
                <a:gd name="T6" fmla="*/ 1 w 236"/>
                <a:gd name="T7" fmla="*/ 2 h 229"/>
                <a:gd name="T8" fmla="*/ 1 w 236"/>
                <a:gd name="T9" fmla="*/ 1 h 229"/>
                <a:gd name="T10" fmla="*/ 1 w 236"/>
                <a:gd name="T11" fmla="*/ 1 h 229"/>
                <a:gd name="T12" fmla="*/ 1 w 236"/>
                <a:gd name="T13" fmla="*/ 1 h 229"/>
                <a:gd name="T14" fmla="*/ 0 w 236"/>
                <a:gd name="T15" fmla="*/ 1 h 229"/>
                <a:gd name="T16" fmla="*/ 1 w 236"/>
                <a:gd name="T17" fmla="*/ 1 h 229"/>
                <a:gd name="T18" fmla="*/ 1 w 236"/>
                <a:gd name="T19" fmla="*/ 1 h 229"/>
                <a:gd name="T20" fmla="*/ 1 w 236"/>
                <a:gd name="T21" fmla="*/ 1 h 229"/>
                <a:gd name="T22" fmla="*/ 1 w 236"/>
                <a:gd name="T23" fmla="*/ 1 h 229"/>
                <a:gd name="T24" fmla="*/ 1 w 236"/>
                <a:gd name="T25" fmla="*/ 0 h 229"/>
                <a:gd name="T26" fmla="*/ 1 w 236"/>
                <a:gd name="T27" fmla="*/ 0 h 229"/>
                <a:gd name="T28" fmla="*/ 1 w 236"/>
                <a:gd name="T29" fmla="*/ 1 h 229"/>
                <a:gd name="T30" fmla="*/ 2 w 236"/>
                <a:gd name="T31" fmla="*/ 1 h 229"/>
                <a:gd name="T32" fmla="*/ 2 w 236"/>
                <a:gd name="T33" fmla="*/ 1 h 229"/>
                <a:gd name="T34" fmla="*/ 2 w 236"/>
                <a:gd name="T35" fmla="*/ 1 h 229"/>
                <a:gd name="T36" fmla="*/ 4 w 236"/>
                <a:gd name="T37" fmla="*/ 1 h 229"/>
                <a:gd name="T38" fmla="*/ 4 w 236"/>
                <a:gd name="T39" fmla="*/ 1 h 229"/>
                <a:gd name="T40" fmla="*/ 4 w 236"/>
                <a:gd name="T41" fmla="*/ 1 h 229"/>
                <a:gd name="T42" fmla="*/ 5 w 236"/>
                <a:gd name="T43" fmla="*/ 1 h 229"/>
                <a:gd name="T44" fmla="*/ 5 w 236"/>
                <a:gd name="T45" fmla="*/ 1 h 229"/>
                <a:gd name="T46" fmla="*/ 5 w 236"/>
                <a:gd name="T47" fmla="*/ 1 h 229"/>
                <a:gd name="T48" fmla="*/ 6 w 236"/>
                <a:gd name="T49" fmla="*/ 1 h 229"/>
                <a:gd name="T50" fmla="*/ 6 w 236"/>
                <a:gd name="T51" fmla="*/ 1 h 229"/>
                <a:gd name="T52" fmla="*/ 6 w 236"/>
                <a:gd name="T53" fmla="*/ 1 h 229"/>
                <a:gd name="T54" fmla="*/ 6 w 236"/>
                <a:gd name="T55" fmla="*/ 1 h 229"/>
                <a:gd name="T56" fmla="*/ 6 w 236"/>
                <a:gd name="T57" fmla="*/ 2 h 229"/>
                <a:gd name="T58" fmla="*/ 6 w 236"/>
                <a:gd name="T59" fmla="*/ 2 h 229"/>
                <a:gd name="T60" fmla="*/ 6 w 236"/>
                <a:gd name="T61" fmla="*/ 2 h 229"/>
                <a:gd name="T62" fmla="*/ 5 w 236"/>
                <a:gd name="T63" fmla="*/ 3 h 229"/>
                <a:gd name="T64" fmla="*/ 5 w 236"/>
                <a:gd name="T65" fmla="*/ 3 h 229"/>
                <a:gd name="T66" fmla="*/ 3 w 236"/>
                <a:gd name="T67" fmla="*/ 2 h 229"/>
                <a:gd name="T68" fmla="*/ 2 w 236"/>
                <a:gd name="T69" fmla="*/ 2 h 229"/>
                <a:gd name="T70" fmla="*/ 2 w 236"/>
                <a:gd name="T71" fmla="*/ 2 h 229"/>
                <a:gd name="T72" fmla="*/ 1 w 236"/>
                <a:gd name="T73" fmla="*/ 2 h 229"/>
                <a:gd name="T74" fmla="*/ 1 w 236"/>
                <a:gd name="T75" fmla="*/ 2 h 22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36"/>
                <a:gd name="T115" fmla="*/ 0 h 229"/>
                <a:gd name="T116" fmla="*/ 236 w 236"/>
                <a:gd name="T117" fmla="*/ 229 h 22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36" h="229">
                  <a:moveTo>
                    <a:pt x="40" y="162"/>
                  </a:moveTo>
                  <a:lnTo>
                    <a:pt x="30" y="148"/>
                  </a:lnTo>
                  <a:lnTo>
                    <a:pt x="16" y="146"/>
                  </a:lnTo>
                  <a:lnTo>
                    <a:pt x="2" y="120"/>
                  </a:lnTo>
                  <a:lnTo>
                    <a:pt x="9" y="111"/>
                  </a:lnTo>
                  <a:lnTo>
                    <a:pt x="9" y="92"/>
                  </a:lnTo>
                  <a:lnTo>
                    <a:pt x="7" y="66"/>
                  </a:lnTo>
                  <a:lnTo>
                    <a:pt x="0" y="56"/>
                  </a:lnTo>
                  <a:lnTo>
                    <a:pt x="4" y="49"/>
                  </a:lnTo>
                  <a:lnTo>
                    <a:pt x="14" y="44"/>
                  </a:lnTo>
                  <a:lnTo>
                    <a:pt x="14" y="30"/>
                  </a:lnTo>
                  <a:lnTo>
                    <a:pt x="33" y="14"/>
                  </a:lnTo>
                  <a:lnTo>
                    <a:pt x="33" y="0"/>
                  </a:lnTo>
                  <a:lnTo>
                    <a:pt x="45" y="7"/>
                  </a:lnTo>
                  <a:lnTo>
                    <a:pt x="75" y="9"/>
                  </a:lnTo>
                  <a:lnTo>
                    <a:pt x="92" y="16"/>
                  </a:lnTo>
                  <a:lnTo>
                    <a:pt x="97" y="30"/>
                  </a:lnTo>
                  <a:lnTo>
                    <a:pt x="151" y="51"/>
                  </a:lnTo>
                  <a:lnTo>
                    <a:pt x="160" y="44"/>
                  </a:lnTo>
                  <a:lnTo>
                    <a:pt x="163" y="18"/>
                  </a:lnTo>
                  <a:lnTo>
                    <a:pt x="189" y="7"/>
                  </a:lnTo>
                  <a:lnTo>
                    <a:pt x="208" y="11"/>
                  </a:lnTo>
                  <a:lnTo>
                    <a:pt x="210" y="18"/>
                  </a:lnTo>
                  <a:lnTo>
                    <a:pt x="236" y="25"/>
                  </a:lnTo>
                  <a:lnTo>
                    <a:pt x="231" y="59"/>
                  </a:lnTo>
                  <a:lnTo>
                    <a:pt x="236" y="77"/>
                  </a:lnTo>
                  <a:lnTo>
                    <a:pt x="236" y="186"/>
                  </a:lnTo>
                  <a:lnTo>
                    <a:pt x="236" y="214"/>
                  </a:lnTo>
                  <a:lnTo>
                    <a:pt x="224" y="217"/>
                  </a:lnTo>
                  <a:lnTo>
                    <a:pt x="222" y="226"/>
                  </a:lnTo>
                  <a:lnTo>
                    <a:pt x="222" y="229"/>
                  </a:lnTo>
                  <a:lnTo>
                    <a:pt x="104" y="167"/>
                  </a:lnTo>
                  <a:lnTo>
                    <a:pt x="87" y="170"/>
                  </a:lnTo>
                  <a:lnTo>
                    <a:pt x="73" y="162"/>
                  </a:lnTo>
                  <a:lnTo>
                    <a:pt x="40" y="16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18" name="Freeform 146"/>
            <p:cNvSpPr>
              <a:spLocks/>
            </p:cNvSpPr>
            <p:nvPr/>
          </p:nvSpPr>
          <p:spPr bwMode="auto">
            <a:xfrm>
              <a:off x="4081" y="3117"/>
              <a:ext cx="99" cy="85"/>
            </a:xfrm>
            <a:custGeom>
              <a:avLst/>
              <a:gdLst>
                <a:gd name="T0" fmla="*/ 5 w 166"/>
                <a:gd name="T1" fmla="*/ 2 h 163"/>
                <a:gd name="T2" fmla="*/ 4 w 166"/>
                <a:gd name="T3" fmla="*/ 2 h 163"/>
                <a:gd name="T4" fmla="*/ 4 w 166"/>
                <a:gd name="T5" fmla="*/ 2 h 163"/>
                <a:gd name="T6" fmla="*/ 1 w 166"/>
                <a:gd name="T7" fmla="*/ 2 h 163"/>
                <a:gd name="T8" fmla="*/ 1 w 166"/>
                <a:gd name="T9" fmla="*/ 2 h 163"/>
                <a:gd name="T10" fmla="*/ 1 w 166"/>
                <a:gd name="T11" fmla="*/ 1 h 163"/>
                <a:gd name="T12" fmla="*/ 0 w 166"/>
                <a:gd name="T13" fmla="*/ 1 h 163"/>
                <a:gd name="T14" fmla="*/ 1 w 166"/>
                <a:gd name="T15" fmla="*/ 0 h 163"/>
                <a:gd name="T16" fmla="*/ 1 w 166"/>
                <a:gd name="T17" fmla="*/ 0 h 163"/>
                <a:gd name="T18" fmla="*/ 1 w 166"/>
                <a:gd name="T19" fmla="*/ 1 h 163"/>
                <a:gd name="T20" fmla="*/ 1 w 166"/>
                <a:gd name="T21" fmla="*/ 1 h 163"/>
                <a:gd name="T22" fmla="*/ 2 w 166"/>
                <a:gd name="T23" fmla="*/ 1 h 163"/>
                <a:gd name="T24" fmla="*/ 3 w 166"/>
                <a:gd name="T25" fmla="*/ 1 h 163"/>
                <a:gd name="T26" fmla="*/ 3 w 166"/>
                <a:gd name="T27" fmla="*/ 1 h 163"/>
                <a:gd name="T28" fmla="*/ 3 w 166"/>
                <a:gd name="T29" fmla="*/ 1 h 163"/>
                <a:gd name="T30" fmla="*/ 3 w 166"/>
                <a:gd name="T31" fmla="*/ 1 h 163"/>
                <a:gd name="T32" fmla="*/ 3 w 166"/>
                <a:gd name="T33" fmla="*/ 1 h 163"/>
                <a:gd name="T34" fmla="*/ 4 w 166"/>
                <a:gd name="T35" fmla="*/ 1 h 163"/>
                <a:gd name="T36" fmla="*/ 4 w 166"/>
                <a:gd name="T37" fmla="*/ 1 h 163"/>
                <a:gd name="T38" fmla="*/ 4 w 166"/>
                <a:gd name="T39" fmla="*/ 1 h 163"/>
                <a:gd name="T40" fmla="*/ 4 w 166"/>
                <a:gd name="T41" fmla="*/ 1 h 163"/>
                <a:gd name="T42" fmla="*/ 4 w 166"/>
                <a:gd name="T43" fmla="*/ 1 h 163"/>
                <a:gd name="T44" fmla="*/ 4 w 166"/>
                <a:gd name="T45" fmla="*/ 1 h 163"/>
                <a:gd name="T46" fmla="*/ 4 w 166"/>
                <a:gd name="T47" fmla="*/ 1 h 163"/>
                <a:gd name="T48" fmla="*/ 3 w 166"/>
                <a:gd name="T49" fmla="*/ 1 h 163"/>
                <a:gd name="T50" fmla="*/ 3 w 166"/>
                <a:gd name="T51" fmla="*/ 1 h 163"/>
                <a:gd name="T52" fmla="*/ 4 w 166"/>
                <a:gd name="T53" fmla="*/ 1 h 163"/>
                <a:gd name="T54" fmla="*/ 5 w 166"/>
                <a:gd name="T55" fmla="*/ 2 h 163"/>
                <a:gd name="T56" fmla="*/ 5 w 166"/>
                <a:gd name="T57" fmla="*/ 2 h 16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66"/>
                <a:gd name="T88" fmla="*/ 0 h 163"/>
                <a:gd name="T89" fmla="*/ 166 w 166"/>
                <a:gd name="T90" fmla="*/ 163 h 16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66" h="163">
                  <a:moveTo>
                    <a:pt x="163" y="145"/>
                  </a:moveTo>
                  <a:lnTo>
                    <a:pt x="142" y="163"/>
                  </a:lnTo>
                  <a:lnTo>
                    <a:pt x="128" y="161"/>
                  </a:lnTo>
                  <a:lnTo>
                    <a:pt x="5" y="161"/>
                  </a:lnTo>
                  <a:lnTo>
                    <a:pt x="5" y="52"/>
                  </a:lnTo>
                  <a:lnTo>
                    <a:pt x="0" y="34"/>
                  </a:lnTo>
                  <a:lnTo>
                    <a:pt x="5" y="0"/>
                  </a:lnTo>
                  <a:lnTo>
                    <a:pt x="10" y="5"/>
                  </a:lnTo>
                  <a:lnTo>
                    <a:pt x="33" y="5"/>
                  </a:lnTo>
                  <a:lnTo>
                    <a:pt x="66" y="15"/>
                  </a:lnTo>
                  <a:lnTo>
                    <a:pt x="97" y="5"/>
                  </a:lnTo>
                  <a:lnTo>
                    <a:pt x="109" y="5"/>
                  </a:lnTo>
                  <a:lnTo>
                    <a:pt x="106" y="12"/>
                  </a:lnTo>
                  <a:lnTo>
                    <a:pt x="114" y="15"/>
                  </a:lnTo>
                  <a:lnTo>
                    <a:pt x="116" y="10"/>
                  </a:lnTo>
                  <a:lnTo>
                    <a:pt x="121" y="12"/>
                  </a:lnTo>
                  <a:lnTo>
                    <a:pt x="140" y="10"/>
                  </a:lnTo>
                  <a:lnTo>
                    <a:pt x="142" y="10"/>
                  </a:lnTo>
                  <a:lnTo>
                    <a:pt x="151" y="43"/>
                  </a:lnTo>
                  <a:lnTo>
                    <a:pt x="142" y="69"/>
                  </a:lnTo>
                  <a:lnTo>
                    <a:pt x="132" y="57"/>
                  </a:lnTo>
                  <a:lnTo>
                    <a:pt x="118" y="29"/>
                  </a:lnTo>
                  <a:lnTo>
                    <a:pt x="116" y="34"/>
                  </a:lnTo>
                  <a:lnTo>
                    <a:pt x="121" y="48"/>
                  </a:lnTo>
                  <a:lnTo>
                    <a:pt x="166" y="145"/>
                  </a:lnTo>
                  <a:lnTo>
                    <a:pt x="163" y="145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19" name="Freeform 147"/>
            <p:cNvSpPr>
              <a:spLocks/>
            </p:cNvSpPr>
            <p:nvPr/>
          </p:nvSpPr>
          <p:spPr bwMode="auto">
            <a:xfrm>
              <a:off x="4058" y="3192"/>
              <a:ext cx="147" cy="157"/>
            </a:xfrm>
            <a:custGeom>
              <a:avLst/>
              <a:gdLst>
                <a:gd name="T0" fmla="*/ 1 w 248"/>
                <a:gd name="T1" fmla="*/ 2 h 300"/>
                <a:gd name="T2" fmla="*/ 1 w 248"/>
                <a:gd name="T3" fmla="*/ 2 h 300"/>
                <a:gd name="T4" fmla="*/ 1 w 248"/>
                <a:gd name="T5" fmla="*/ 2 h 300"/>
                <a:gd name="T6" fmla="*/ 1 w 248"/>
                <a:gd name="T7" fmla="*/ 3 h 300"/>
                <a:gd name="T8" fmla="*/ 2 w 248"/>
                <a:gd name="T9" fmla="*/ 3 h 300"/>
                <a:gd name="T10" fmla="*/ 2 w 248"/>
                <a:gd name="T11" fmla="*/ 3 h 300"/>
                <a:gd name="T12" fmla="*/ 3 w 248"/>
                <a:gd name="T13" fmla="*/ 3 h 300"/>
                <a:gd name="T14" fmla="*/ 4 w 248"/>
                <a:gd name="T15" fmla="*/ 3 h 300"/>
                <a:gd name="T16" fmla="*/ 4 w 248"/>
                <a:gd name="T17" fmla="*/ 3 h 300"/>
                <a:gd name="T18" fmla="*/ 4 w 248"/>
                <a:gd name="T19" fmla="*/ 3 h 300"/>
                <a:gd name="T20" fmla="*/ 5 w 248"/>
                <a:gd name="T21" fmla="*/ 3 h 300"/>
                <a:gd name="T22" fmla="*/ 5 w 248"/>
                <a:gd name="T23" fmla="*/ 3 h 300"/>
                <a:gd name="T24" fmla="*/ 5 w 248"/>
                <a:gd name="T25" fmla="*/ 3 h 300"/>
                <a:gd name="T26" fmla="*/ 5 w 248"/>
                <a:gd name="T27" fmla="*/ 3 h 300"/>
                <a:gd name="T28" fmla="*/ 5 w 248"/>
                <a:gd name="T29" fmla="*/ 3 h 300"/>
                <a:gd name="T30" fmla="*/ 5 w 248"/>
                <a:gd name="T31" fmla="*/ 3 h 300"/>
                <a:gd name="T32" fmla="*/ 4 w 248"/>
                <a:gd name="T33" fmla="*/ 3 h 300"/>
                <a:gd name="T34" fmla="*/ 4 w 248"/>
                <a:gd name="T35" fmla="*/ 3 h 300"/>
                <a:gd name="T36" fmla="*/ 5 w 248"/>
                <a:gd name="T37" fmla="*/ 3 h 300"/>
                <a:gd name="T38" fmla="*/ 5 w 248"/>
                <a:gd name="T39" fmla="*/ 2 h 300"/>
                <a:gd name="T40" fmla="*/ 5 w 248"/>
                <a:gd name="T41" fmla="*/ 2 h 300"/>
                <a:gd name="T42" fmla="*/ 6 w 248"/>
                <a:gd name="T43" fmla="*/ 1 h 300"/>
                <a:gd name="T44" fmla="*/ 7 w 248"/>
                <a:gd name="T45" fmla="*/ 1 h 300"/>
                <a:gd name="T46" fmla="*/ 7 w 248"/>
                <a:gd name="T47" fmla="*/ 1 h 300"/>
                <a:gd name="T48" fmla="*/ 7 w 248"/>
                <a:gd name="T49" fmla="*/ 1 h 300"/>
                <a:gd name="T50" fmla="*/ 6 w 248"/>
                <a:gd name="T51" fmla="*/ 1 h 300"/>
                <a:gd name="T52" fmla="*/ 6 w 248"/>
                <a:gd name="T53" fmla="*/ 1 h 300"/>
                <a:gd name="T54" fmla="*/ 5 w 248"/>
                <a:gd name="T55" fmla="*/ 1 h 300"/>
                <a:gd name="T56" fmla="*/ 5 w 248"/>
                <a:gd name="T57" fmla="*/ 0 h 300"/>
                <a:gd name="T58" fmla="*/ 5 w 248"/>
                <a:gd name="T59" fmla="*/ 0 h 300"/>
                <a:gd name="T60" fmla="*/ 5 w 248"/>
                <a:gd name="T61" fmla="*/ 1 h 300"/>
                <a:gd name="T62" fmla="*/ 4 w 248"/>
                <a:gd name="T63" fmla="*/ 1 h 300"/>
                <a:gd name="T64" fmla="*/ 1 w 248"/>
                <a:gd name="T65" fmla="*/ 1 h 300"/>
                <a:gd name="T66" fmla="*/ 1 w 248"/>
                <a:gd name="T67" fmla="*/ 1 h 300"/>
                <a:gd name="T68" fmla="*/ 1 w 248"/>
                <a:gd name="T69" fmla="*/ 1 h 300"/>
                <a:gd name="T70" fmla="*/ 1 w 248"/>
                <a:gd name="T71" fmla="*/ 1 h 300"/>
                <a:gd name="T72" fmla="*/ 1 w 248"/>
                <a:gd name="T73" fmla="*/ 1 h 300"/>
                <a:gd name="T74" fmla="*/ 1 w 248"/>
                <a:gd name="T75" fmla="*/ 1 h 300"/>
                <a:gd name="T76" fmla="*/ 1 w 248"/>
                <a:gd name="T77" fmla="*/ 1 h 300"/>
                <a:gd name="T78" fmla="*/ 1 w 248"/>
                <a:gd name="T79" fmla="*/ 1 h 300"/>
                <a:gd name="T80" fmla="*/ 0 w 248"/>
                <a:gd name="T81" fmla="*/ 2 h 300"/>
                <a:gd name="T82" fmla="*/ 1 w 248"/>
                <a:gd name="T83" fmla="*/ 2 h 300"/>
                <a:gd name="T84" fmla="*/ 1 w 248"/>
                <a:gd name="T85" fmla="*/ 2 h 300"/>
                <a:gd name="T86" fmla="*/ 1 w 248"/>
                <a:gd name="T87" fmla="*/ 2 h 30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8"/>
                <a:gd name="T133" fmla="*/ 0 h 300"/>
                <a:gd name="T134" fmla="*/ 248 w 248"/>
                <a:gd name="T135" fmla="*/ 300 h 30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8" h="300">
                  <a:moveTo>
                    <a:pt x="12" y="186"/>
                  </a:moveTo>
                  <a:lnTo>
                    <a:pt x="24" y="200"/>
                  </a:lnTo>
                  <a:lnTo>
                    <a:pt x="24" y="219"/>
                  </a:lnTo>
                  <a:lnTo>
                    <a:pt x="45" y="229"/>
                  </a:lnTo>
                  <a:lnTo>
                    <a:pt x="83" y="274"/>
                  </a:lnTo>
                  <a:lnTo>
                    <a:pt x="95" y="285"/>
                  </a:lnTo>
                  <a:lnTo>
                    <a:pt x="118" y="285"/>
                  </a:lnTo>
                  <a:lnTo>
                    <a:pt x="135" y="297"/>
                  </a:lnTo>
                  <a:lnTo>
                    <a:pt x="149" y="300"/>
                  </a:lnTo>
                  <a:lnTo>
                    <a:pt x="180" y="290"/>
                  </a:lnTo>
                  <a:lnTo>
                    <a:pt x="187" y="283"/>
                  </a:lnTo>
                  <a:lnTo>
                    <a:pt x="208" y="283"/>
                  </a:lnTo>
                  <a:lnTo>
                    <a:pt x="208" y="271"/>
                  </a:lnTo>
                  <a:lnTo>
                    <a:pt x="196" y="269"/>
                  </a:lnTo>
                  <a:lnTo>
                    <a:pt x="182" y="243"/>
                  </a:lnTo>
                  <a:lnTo>
                    <a:pt x="165" y="233"/>
                  </a:lnTo>
                  <a:lnTo>
                    <a:pt x="170" y="226"/>
                  </a:lnTo>
                  <a:lnTo>
                    <a:pt x="182" y="224"/>
                  </a:lnTo>
                  <a:lnTo>
                    <a:pt x="184" y="196"/>
                  </a:lnTo>
                  <a:lnTo>
                    <a:pt x="213" y="158"/>
                  </a:lnTo>
                  <a:lnTo>
                    <a:pt x="224" y="96"/>
                  </a:lnTo>
                  <a:lnTo>
                    <a:pt x="246" y="87"/>
                  </a:lnTo>
                  <a:lnTo>
                    <a:pt x="248" y="80"/>
                  </a:lnTo>
                  <a:lnTo>
                    <a:pt x="234" y="70"/>
                  </a:lnTo>
                  <a:lnTo>
                    <a:pt x="224" y="16"/>
                  </a:lnTo>
                  <a:lnTo>
                    <a:pt x="208" y="7"/>
                  </a:lnTo>
                  <a:lnTo>
                    <a:pt x="206" y="0"/>
                  </a:lnTo>
                  <a:lnTo>
                    <a:pt x="203" y="0"/>
                  </a:lnTo>
                  <a:lnTo>
                    <a:pt x="182" y="18"/>
                  </a:lnTo>
                  <a:lnTo>
                    <a:pt x="168" y="16"/>
                  </a:lnTo>
                  <a:lnTo>
                    <a:pt x="45" y="16"/>
                  </a:lnTo>
                  <a:lnTo>
                    <a:pt x="45" y="44"/>
                  </a:lnTo>
                  <a:lnTo>
                    <a:pt x="33" y="47"/>
                  </a:lnTo>
                  <a:lnTo>
                    <a:pt x="31" y="56"/>
                  </a:lnTo>
                  <a:lnTo>
                    <a:pt x="31" y="111"/>
                  </a:lnTo>
                  <a:lnTo>
                    <a:pt x="31" y="115"/>
                  </a:lnTo>
                  <a:lnTo>
                    <a:pt x="17" y="115"/>
                  </a:lnTo>
                  <a:lnTo>
                    <a:pt x="0" y="158"/>
                  </a:lnTo>
                  <a:lnTo>
                    <a:pt x="14" y="181"/>
                  </a:lnTo>
                  <a:lnTo>
                    <a:pt x="12" y="186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20" name="Freeform 148"/>
            <p:cNvSpPr>
              <a:spLocks/>
            </p:cNvSpPr>
            <p:nvPr/>
          </p:nvSpPr>
          <p:spPr bwMode="auto">
            <a:xfrm>
              <a:off x="4155" y="3234"/>
              <a:ext cx="132" cy="115"/>
            </a:xfrm>
            <a:custGeom>
              <a:avLst/>
              <a:gdLst>
                <a:gd name="T0" fmla="*/ 4 w 222"/>
                <a:gd name="T1" fmla="*/ 1 h 220"/>
                <a:gd name="T2" fmla="*/ 4 w 222"/>
                <a:gd name="T3" fmla="*/ 1 h 220"/>
                <a:gd name="T4" fmla="*/ 4 w 222"/>
                <a:gd name="T5" fmla="*/ 1 h 220"/>
                <a:gd name="T6" fmla="*/ 4 w 222"/>
                <a:gd name="T7" fmla="*/ 1 h 220"/>
                <a:gd name="T8" fmla="*/ 4 w 222"/>
                <a:gd name="T9" fmla="*/ 1 h 220"/>
                <a:gd name="T10" fmla="*/ 4 w 222"/>
                <a:gd name="T11" fmla="*/ 1 h 220"/>
                <a:gd name="T12" fmla="*/ 4 w 222"/>
                <a:gd name="T13" fmla="*/ 2 h 220"/>
                <a:gd name="T14" fmla="*/ 4 w 222"/>
                <a:gd name="T15" fmla="*/ 2 h 220"/>
                <a:gd name="T16" fmla="*/ 5 w 222"/>
                <a:gd name="T17" fmla="*/ 2 h 220"/>
                <a:gd name="T18" fmla="*/ 6 w 222"/>
                <a:gd name="T19" fmla="*/ 2 h 220"/>
                <a:gd name="T20" fmla="*/ 5 w 222"/>
                <a:gd name="T21" fmla="*/ 2 h 220"/>
                <a:gd name="T22" fmla="*/ 4 w 222"/>
                <a:gd name="T23" fmla="*/ 2 h 220"/>
                <a:gd name="T24" fmla="*/ 4 w 222"/>
                <a:gd name="T25" fmla="*/ 2 h 220"/>
                <a:gd name="T26" fmla="*/ 4 w 222"/>
                <a:gd name="T27" fmla="*/ 2 h 220"/>
                <a:gd name="T28" fmla="*/ 3 w 222"/>
                <a:gd name="T29" fmla="*/ 2 h 220"/>
                <a:gd name="T30" fmla="*/ 2 w 222"/>
                <a:gd name="T31" fmla="*/ 2 h 220"/>
                <a:gd name="T32" fmla="*/ 1 w 222"/>
                <a:gd name="T33" fmla="*/ 2 h 220"/>
                <a:gd name="T34" fmla="*/ 1 w 222"/>
                <a:gd name="T35" fmla="*/ 2 h 220"/>
                <a:gd name="T36" fmla="*/ 1 w 222"/>
                <a:gd name="T37" fmla="*/ 2 h 220"/>
                <a:gd name="T38" fmla="*/ 1 w 222"/>
                <a:gd name="T39" fmla="*/ 2 h 220"/>
                <a:gd name="T40" fmla="*/ 1 w 222"/>
                <a:gd name="T41" fmla="*/ 2 h 220"/>
                <a:gd name="T42" fmla="*/ 0 w 222"/>
                <a:gd name="T43" fmla="*/ 2 h 220"/>
                <a:gd name="T44" fmla="*/ 1 w 222"/>
                <a:gd name="T45" fmla="*/ 2 h 220"/>
                <a:gd name="T46" fmla="*/ 1 w 222"/>
                <a:gd name="T47" fmla="*/ 2 h 220"/>
                <a:gd name="T48" fmla="*/ 1 w 222"/>
                <a:gd name="T49" fmla="*/ 2 h 220"/>
                <a:gd name="T50" fmla="*/ 1 w 222"/>
                <a:gd name="T51" fmla="*/ 1 h 220"/>
                <a:gd name="T52" fmla="*/ 1 w 222"/>
                <a:gd name="T53" fmla="*/ 1 h 220"/>
                <a:gd name="T54" fmla="*/ 2 w 222"/>
                <a:gd name="T55" fmla="*/ 1 h 220"/>
                <a:gd name="T56" fmla="*/ 2 w 222"/>
                <a:gd name="T57" fmla="*/ 0 h 220"/>
                <a:gd name="T58" fmla="*/ 2 w 222"/>
                <a:gd name="T59" fmla="*/ 0 h 220"/>
                <a:gd name="T60" fmla="*/ 2 w 222"/>
                <a:gd name="T61" fmla="*/ 1 h 220"/>
                <a:gd name="T62" fmla="*/ 3 w 222"/>
                <a:gd name="T63" fmla="*/ 1 h 220"/>
                <a:gd name="T64" fmla="*/ 4 w 222"/>
                <a:gd name="T65" fmla="*/ 1 h 220"/>
                <a:gd name="T66" fmla="*/ 4 w 222"/>
                <a:gd name="T67" fmla="*/ 1 h 22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22"/>
                <a:gd name="T103" fmla="*/ 0 h 220"/>
                <a:gd name="T104" fmla="*/ 222 w 222"/>
                <a:gd name="T105" fmla="*/ 220 h 22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22" h="220">
                  <a:moveTo>
                    <a:pt x="147" y="83"/>
                  </a:moveTo>
                  <a:lnTo>
                    <a:pt x="140" y="87"/>
                  </a:lnTo>
                  <a:lnTo>
                    <a:pt x="133" y="104"/>
                  </a:lnTo>
                  <a:lnTo>
                    <a:pt x="133" y="109"/>
                  </a:lnTo>
                  <a:lnTo>
                    <a:pt x="149" y="109"/>
                  </a:lnTo>
                  <a:lnTo>
                    <a:pt x="147" y="118"/>
                  </a:lnTo>
                  <a:lnTo>
                    <a:pt x="166" y="137"/>
                  </a:lnTo>
                  <a:lnTo>
                    <a:pt x="211" y="153"/>
                  </a:lnTo>
                  <a:lnTo>
                    <a:pt x="222" y="151"/>
                  </a:lnTo>
                  <a:lnTo>
                    <a:pt x="182" y="196"/>
                  </a:lnTo>
                  <a:lnTo>
                    <a:pt x="159" y="198"/>
                  </a:lnTo>
                  <a:lnTo>
                    <a:pt x="133" y="212"/>
                  </a:lnTo>
                  <a:lnTo>
                    <a:pt x="116" y="210"/>
                  </a:lnTo>
                  <a:lnTo>
                    <a:pt x="88" y="220"/>
                  </a:lnTo>
                  <a:lnTo>
                    <a:pt x="43" y="203"/>
                  </a:lnTo>
                  <a:lnTo>
                    <a:pt x="43" y="191"/>
                  </a:lnTo>
                  <a:lnTo>
                    <a:pt x="31" y="189"/>
                  </a:lnTo>
                  <a:lnTo>
                    <a:pt x="17" y="163"/>
                  </a:lnTo>
                  <a:lnTo>
                    <a:pt x="0" y="153"/>
                  </a:lnTo>
                  <a:lnTo>
                    <a:pt x="5" y="146"/>
                  </a:lnTo>
                  <a:lnTo>
                    <a:pt x="17" y="144"/>
                  </a:lnTo>
                  <a:lnTo>
                    <a:pt x="19" y="116"/>
                  </a:lnTo>
                  <a:lnTo>
                    <a:pt x="48" y="78"/>
                  </a:lnTo>
                  <a:lnTo>
                    <a:pt x="59" y="16"/>
                  </a:lnTo>
                  <a:lnTo>
                    <a:pt x="81" y="7"/>
                  </a:lnTo>
                  <a:lnTo>
                    <a:pt x="83" y="0"/>
                  </a:lnTo>
                  <a:lnTo>
                    <a:pt x="97" y="38"/>
                  </a:lnTo>
                  <a:lnTo>
                    <a:pt x="121" y="54"/>
                  </a:lnTo>
                  <a:lnTo>
                    <a:pt x="147" y="83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21" name="Freeform 149"/>
            <p:cNvSpPr>
              <a:spLocks/>
            </p:cNvSpPr>
            <p:nvPr/>
          </p:nvSpPr>
          <p:spPr bwMode="auto">
            <a:xfrm>
              <a:off x="4234" y="3277"/>
              <a:ext cx="14" cy="14"/>
            </a:xfrm>
            <a:custGeom>
              <a:avLst/>
              <a:gdLst>
                <a:gd name="T0" fmla="*/ 1 w 23"/>
                <a:gd name="T1" fmla="*/ 1 h 26"/>
                <a:gd name="T2" fmla="*/ 0 w 23"/>
                <a:gd name="T3" fmla="*/ 1 h 26"/>
                <a:gd name="T4" fmla="*/ 0 w 23"/>
                <a:gd name="T5" fmla="*/ 1 h 26"/>
                <a:gd name="T6" fmla="*/ 1 w 23"/>
                <a:gd name="T7" fmla="*/ 1 h 26"/>
                <a:gd name="T8" fmla="*/ 1 w 23"/>
                <a:gd name="T9" fmla="*/ 0 h 26"/>
                <a:gd name="T10" fmla="*/ 1 w 23"/>
                <a:gd name="T11" fmla="*/ 0 h 26"/>
                <a:gd name="T12" fmla="*/ 1 w 23"/>
                <a:gd name="T13" fmla="*/ 1 h 26"/>
                <a:gd name="T14" fmla="*/ 1 w 23"/>
                <a:gd name="T15" fmla="*/ 1 h 26"/>
                <a:gd name="T16" fmla="*/ 1 w 23"/>
                <a:gd name="T17" fmla="*/ 1 h 26"/>
                <a:gd name="T18" fmla="*/ 1 w 23"/>
                <a:gd name="T19" fmla="*/ 1 h 26"/>
                <a:gd name="T20" fmla="*/ 1 w 23"/>
                <a:gd name="T21" fmla="*/ 1 h 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3"/>
                <a:gd name="T34" fmla="*/ 0 h 26"/>
                <a:gd name="T35" fmla="*/ 23 w 23"/>
                <a:gd name="T36" fmla="*/ 26 h 2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3" h="26">
                  <a:moveTo>
                    <a:pt x="16" y="26"/>
                  </a:moveTo>
                  <a:lnTo>
                    <a:pt x="0" y="26"/>
                  </a:lnTo>
                  <a:lnTo>
                    <a:pt x="0" y="21"/>
                  </a:lnTo>
                  <a:lnTo>
                    <a:pt x="7" y="4"/>
                  </a:lnTo>
                  <a:lnTo>
                    <a:pt x="14" y="0"/>
                  </a:lnTo>
                  <a:lnTo>
                    <a:pt x="21" y="4"/>
                  </a:lnTo>
                  <a:lnTo>
                    <a:pt x="23" y="11"/>
                  </a:lnTo>
                  <a:lnTo>
                    <a:pt x="16" y="14"/>
                  </a:lnTo>
                  <a:lnTo>
                    <a:pt x="21" y="18"/>
                  </a:lnTo>
                  <a:lnTo>
                    <a:pt x="16" y="26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22" name="Freeform 150"/>
            <p:cNvSpPr>
              <a:spLocks/>
            </p:cNvSpPr>
            <p:nvPr/>
          </p:nvSpPr>
          <p:spPr bwMode="auto">
            <a:xfrm>
              <a:off x="4227" y="3283"/>
              <a:ext cx="89" cy="105"/>
            </a:xfrm>
            <a:custGeom>
              <a:avLst/>
              <a:gdLst>
                <a:gd name="T0" fmla="*/ 1 w 151"/>
                <a:gd name="T1" fmla="*/ 2 h 201"/>
                <a:gd name="T2" fmla="*/ 0 w 151"/>
                <a:gd name="T3" fmla="*/ 2 h 201"/>
                <a:gd name="T4" fmla="*/ 0 w 151"/>
                <a:gd name="T5" fmla="*/ 2 h 201"/>
                <a:gd name="T6" fmla="*/ 1 w 151"/>
                <a:gd name="T7" fmla="*/ 2 h 201"/>
                <a:gd name="T8" fmla="*/ 1 w 151"/>
                <a:gd name="T9" fmla="*/ 2 h 201"/>
                <a:gd name="T10" fmla="*/ 1 w 151"/>
                <a:gd name="T11" fmla="*/ 2 h 201"/>
                <a:gd name="T12" fmla="*/ 2 w 151"/>
                <a:gd name="T13" fmla="*/ 2 h 201"/>
                <a:gd name="T14" fmla="*/ 2 w 151"/>
                <a:gd name="T15" fmla="*/ 2 h 201"/>
                <a:gd name="T16" fmla="*/ 3 w 151"/>
                <a:gd name="T17" fmla="*/ 1 h 201"/>
                <a:gd name="T18" fmla="*/ 4 w 151"/>
                <a:gd name="T19" fmla="*/ 1 h 201"/>
                <a:gd name="T20" fmla="*/ 4 w 151"/>
                <a:gd name="T21" fmla="*/ 1 h 201"/>
                <a:gd name="T22" fmla="*/ 4 w 151"/>
                <a:gd name="T23" fmla="*/ 0 h 201"/>
                <a:gd name="T24" fmla="*/ 3 w 151"/>
                <a:gd name="T25" fmla="*/ 1 h 201"/>
                <a:gd name="T26" fmla="*/ 1 w 151"/>
                <a:gd name="T27" fmla="*/ 1 h 201"/>
                <a:gd name="T28" fmla="*/ 1 w 151"/>
                <a:gd name="T29" fmla="*/ 1 h 201"/>
                <a:gd name="T30" fmla="*/ 1 w 151"/>
                <a:gd name="T31" fmla="*/ 1 h 201"/>
                <a:gd name="T32" fmla="*/ 1 w 151"/>
                <a:gd name="T33" fmla="*/ 1 h 201"/>
                <a:gd name="T34" fmla="*/ 1 w 151"/>
                <a:gd name="T35" fmla="*/ 1 h 201"/>
                <a:gd name="T36" fmla="*/ 1 w 151"/>
                <a:gd name="T37" fmla="*/ 1 h 201"/>
                <a:gd name="T38" fmla="*/ 1 w 151"/>
                <a:gd name="T39" fmla="*/ 1 h 201"/>
                <a:gd name="T40" fmla="*/ 2 w 151"/>
                <a:gd name="T41" fmla="*/ 1 h 201"/>
                <a:gd name="T42" fmla="*/ 2 w 151"/>
                <a:gd name="T43" fmla="*/ 1 h 201"/>
                <a:gd name="T44" fmla="*/ 1 w 151"/>
                <a:gd name="T45" fmla="*/ 1 h 201"/>
                <a:gd name="T46" fmla="*/ 1 w 151"/>
                <a:gd name="T47" fmla="*/ 1 h 201"/>
                <a:gd name="T48" fmla="*/ 1 w 151"/>
                <a:gd name="T49" fmla="*/ 2 h 201"/>
                <a:gd name="T50" fmla="*/ 1 w 151"/>
                <a:gd name="T51" fmla="*/ 2 h 20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51"/>
                <a:gd name="T79" fmla="*/ 0 h 201"/>
                <a:gd name="T80" fmla="*/ 151 w 151"/>
                <a:gd name="T81" fmla="*/ 201 h 20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51" h="201">
                  <a:moveTo>
                    <a:pt x="12" y="118"/>
                  </a:moveTo>
                  <a:lnTo>
                    <a:pt x="0" y="137"/>
                  </a:lnTo>
                  <a:lnTo>
                    <a:pt x="0" y="187"/>
                  </a:lnTo>
                  <a:lnTo>
                    <a:pt x="7" y="201"/>
                  </a:lnTo>
                  <a:lnTo>
                    <a:pt x="31" y="170"/>
                  </a:lnTo>
                  <a:lnTo>
                    <a:pt x="75" y="140"/>
                  </a:lnTo>
                  <a:lnTo>
                    <a:pt x="97" y="116"/>
                  </a:lnTo>
                  <a:lnTo>
                    <a:pt x="116" y="92"/>
                  </a:lnTo>
                  <a:lnTo>
                    <a:pt x="146" y="22"/>
                  </a:lnTo>
                  <a:lnTo>
                    <a:pt x="151" y="3"/>
                  </a:lnTo>
                  <a:lnTo>
                    <a:pt x="142" y="0"/>
                  </a:lnTo>
                  <a:lnTo>
                    <a:pt x="118" y="12"/>
                  </a:lnTo>
                  <a:lnTo>
                    <a:pt x="54" y="24"/>
                  </a:lnTo>
                  <a:lnTo>
                    <a:pt x="47" y="22"/>
                  </a:lnTo>
                  <a:lnTo>
                    <a:pt x="33" y="7"/>
                  </a:lnTo>
                  <a:lnTo>
                    <a:pt x="28" y="15"/>
                  </a:lnTo>
                  <a:lnTo>
                    <a:pt x="26" y="24"/>
                  </a:lnTo>
                  <a:lnTo>
                    <a:pt x="45" y="43"/>
                  </a:lnTo>
                  <a:lnTo>
                    <a:pt x="90" y="59"/>
                  </a:lnTo>
                  <a:lnTo>
                    <a:pt x="101" y="57"/>
                  </a:lnTo>
                  <a:lnTo>
                    <a:pt x="61" y="102"/>
                  </a:lnTo>
                  <a:lnTo>
                    <a:pt x="38" y="104"/>
                  </a:lnTo>
                  <a:lnTo>
                    <a:pt x="12" y="118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23" name="Freeform 151"/>
            <p:cNvSpPr>
              <a:spLocks/>
            </p:cNvSpPr>
            <p:nvPr/>
          </p:nvSpPr>
          <p:spPr bwMode="auto">
            <a:xfrm>
              <a:off x="4164" y="3340"/>
              <a:ext cx="70" cy="71"/>
            </a:xfrm>
            <a:custGeom>
              <a:avLst/>
              <a:gdLst>
                <a:gd name="T0" fmla="*/ 3 w 118"/>
                <a:gd name="T1" fmla="*/ 1 h 137"/>
                <a:gd name="T2" fmla="*/ 2 w 118"/>
                <a:gd name="T3" fmla="*/ 1 h 137"/>
                <a:gd name="T4" fmla="*/ 2 w 118"/>
                <a:gd name="T5" fmla="*/ 1 h 137"/>
                <a:gd name="T6" fmla="*/ 1 w 118"/>
                <a:gd name="T7" fmla="*/ 0 h 137"/>
                <a:gd name="T8" fmla="*/ 1 w 118"/>
                <a:gd name="T9" fmla="*/ 0 h 137"/>
                <a:gd name="T10" fmla="*/ 1 w 118"/>
                <a:gd name="T11" fmla="*/ 0 h 137"/>
                <a:gd name="T12" fmla="*/ 0 w 118"/>
                <a:gd name="T13" fmla="*/ 1 h 137"/>
                <a:gd name="T14" fmla="*/ 1 w 118"/>
                <a:gd name="T15" fmla="*/ 1 h 137"/>
                <a:gd name="T16" fmla="*/ 1 w 118"/>
                <a:gd name="T17" fmla="*/ 1 h 137"/>
                <a:gd name="T18" fmla="*/ 0 w 118"/>
                <a:gd name="T19" fmla="*/ 1 h 137"/>
                <a:gd name="T20" fmla="*/ 0 w 118"/>
                <a:gd name="T21" fmla="*/ 1 h 137"/>
                <a:gd name="T22" fmla="*/ 1 w 118"/>
                <a:gd name="T23" fmla="*/ 1 h 137"/>
                <a:gd name="T24" fmla="*/ 1 w 118"/>
                <a:gd name="T25" fmla="*/ 1 h 137"/>
                <a:gd name="T26" fmla="*/ 1 w 118"/>
                <a:gd name="T27" fmla="*/ 2 h 137"/>
                <a:gd name="T28" fmla="*/ 2 w 118"/>
                <a:gd name="T29" fmla="*/ 2 h 137"/>
                <a:gd name="T30" fmla="*/ 2 w 118"/>
                <a:gd name="T31" fmla="*/ 2 h 137"/>
                <a:gd name="T32" fmla="*/ 2 w 118"/>
                <a:gd name="T33" fmla="*/ 1 h 137"/>
                <a:gd name="T34" fmla="*/ 2 w 118"/>
                <a:gd name="T35" fmla="*/ 1 h 137"/>
                <a:gd name="T36" fmla="*/ 3 w 118"/>
                <a:gd name="T37" fmla="*/ 1 h 137"/>
                <a:gd name="T38" fmla="*/ 3 w 118"/>
                <a:gd name="T39" fmla="*/ 1 h 137"/>
                <a:gd name="T40" fmla="*/ 3 w 118"/>
                <a:gd name="T41" fmla="*/ 1 h 137"/>
                <a:gd name="T42" fmla="*/ 3 w 118"/>
                <a:gd name="T43" fmla="*/ 1 h 137"/>
                <a:gd name="T44" fmla="*/ 3 w 118"/>
                <a:gd name="T45" fmla="*/ 1 h 13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18"/>
                <a:gd name="T70" fmla="*/ 0 h 137"/>
                <a:gd name="T71" fmla="*/ 118 w 118"/>
                <a:gd name="T72" fmla="*/ 137 h 13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18" h="137">
                  <a:moveTo>
                    <a:pt x="118" y="9"/>
                  </a:moveTo>
                  <a:lnTo>
                    <a:pt x="101" y="7"/>
                  </a:lnTo>
                  <a:lnTo>
                    <a:pt x="73" y="17"/>
                  </a:lnTo>
                  <a:lnTo>
                    <a:pt x="28" y="0"/>
                  </a:lnTo>
                  <a:lnTo>
                    <a:pt x="7" y="0"/>
                  </a:lnTo>
                  <a:lnTo>
                    <a:pt x="0" y="7"/>
                  </a:lnTo>
                  <a:lnTo>
                    <a:pt x="4" y="9"/>
                  </a:lnTo>
                  <a:lnTo>
                    <a:pt x="16" y="38"/>
                  </a:lnTo>
                  <a:lnTo>
                    <a:pt x="0" y="66"/>
                  </a:lnTo>
                  <a:lnTo>
                    <a:pt x="0" y="83"/>
                  </a:lnTo>
                  <a:lnTo>
                    <a:pt x="4" y="83"/>
                  </a:lnTo>
                  <a:lnTo>
                    <a:pt x="54" y="111"/>
                  </a:lnTo>
                  <a:lnTo>
                    <a:pt x="59" y="123"/>
                  </a:lnTo>
                  <a:lnTo>
                    <a:pt x="80" y="137"/>
                  </a:lnTo>
                  <a:lnTo>
                    <a:pt x="94" y="104"/>
                  </a:lnTo>
                  <a:lnTo>
                    <a:pt x="99" y="106"/>
                  </a:lnTo>
                  <a:lnTo>
                    <a:pt x="113" y="92"/>
                  </a:lnTo>
                  <a:lnTo>
                    <a:pt x="106" y="78"/>
                  </a:lnTo>
                  <a:lnTo>
                    <a:pt x="106" y="28"/>
                  </a:lnTo>
                  <a:lnTo>
                    <a:pt x="118" y="9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24" name="Freeform 152"/>
            <p:cNvSpPr>
              <a:spLocks/>
            </p:cNvSpPr>
            <p:nvPr/>
          </p:nvSpPr>
          <p:spPr bwMode="auto">
            <a:xfrm>
              <a:off x="4126" y="3343"/>
              <a:ext cx="48" cy="42"/>
            </a:xfrm>
            <a:custGeom>
              <a:avLst/>
              <a:gdLst>
                <a:gd name="T0" fmla="*/ 2 w 80"/>
                <a:gd name="T1" fmla="*/ 0 h 80"/>
                <a:gd name="T2" fmla="*/ 2 w 80"/>
                <a:gd name="T3" fmla="*/ 1 h 80"/>
                <a:gd name="T4" fmla="*/ 2 w 80"/>
                <a:gd name="T5" fmla="*/ 1 h 80"/>
                <a:gd name="T6" fmla="*/ 2 w 80"/>
                <a:gd name="T7" fmla="*/ 1 h 80"/>
                <a:gd name="T8" fmla="*/ 2 w 80"/>
                <a:gd name="T9" fmla="*/ 1 h 80"/>
                <a:gd name="T10" fmla="*/ 1 w 80"/>
                <a:gd name="T11" fmla="*/ 1 h 80"/>
                <a:gd name="T12" fmla="*/ 1 w 80"/>
                <a:gd name="T13" fmla="*/ 1 h 80"/>
                <a:gd name="T14" fmla="*/ 1 w 80"/>
                <a:gd name="T15" fmla="*/ 1 h 80"/>
                <a:gd name="T16" fmla="*/ 0 w 80"/>
                <a:gd name="T17" fmla="*/ 1 h 80"/>
                <a:gd name="T18" fmla="*/ 1 w 80"/>
                <a:gd name="T19" fmla="*/ 1 h 80"/>
                <a:gd name="T20" fmla="*/ 1 w 80"/>
                <a:gd name="T21" fmla="*/ 1 h 80"/>
                <a:gd name="T22" fmla="*/ 1 w 80"/>
                <a:gd name="T23" fmla="*/ 1 h 80"/>
                <a:gd name="T24" fmla="*/ 1 w 80"/>
                <a:gd name="T25" fmla="*/ 1 h 80"/>
                <a:gd name="T26" fmla="*/ 1 w 80"/>
                <a:gd name="T27" fmla="*/ 1 h 80"/>
                <a:gd name="T28" fmla="*/ 1 w 80"/>
                <a:gd name="T29" fmla="*/ 1 h 80"/>
                <a:gd name="T30" fmla="*/ 1 w 80"/>
                <a:gd name="T31" fmla="*/ 1 h 80"/>
                <a:gd name="T32" fmla="*/ 2 w 80"/>
                <a:gd name="T33" fmla="*/ 0 h 8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0"/>
                <a:gd name="T52" fmla="*/ 0 h 80"/>
                <a:gd name="T53" fmla="*/ 80 w 80"/>
                <a:gd name="T54" fmla="*/ 80 h 8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0" h="80">
                  <a:moveTo>
                    <a:pt x="64" y="0"/>
                  </a:moveTo>
                  <a:lnTo>
                    <a:pt x="68" y="2"/>
                  </a:lnTo>
                  <a:lnTo>
                    <a:pt x="80" y="31"/>
                  </a:lnTo>
                  <a:lnTo>
                    <a:pt x="64" y="59"/>
                  </a:lnTo>
                  <a:lnTo>
                    <a:pt x="64" y="76"/>
                  </a:lnTo>
                  <a:lnTo>
                    <a:pt x="33" y="76"/>
                  </a:lnTo>
                  <a:lnTo>
                    <a:pt x="12" y="76"/>
                  </a:lnTo>
                  <a:lnTo>
                    <a:pt x="0" y="80"/>
                  </a:lnTo>
                  <a:lnTo>
                    <a:pt x="5" y="54"/>
                  </a:lnTo>
                  <a:lnTo>
                    <a:pt x="12" y="43"/>
                  </a:lnTo>
                  <a:lnTo>
                    <a:pt x="23" y="28"/>
                  </a:lnTo>
                  <a:lnTo>
                    <a:pt x="16" y="21"/>
                  </a:lnTo>
                  <a:lnTo>
                    <a:pt x="19" y="7"/>
                  </a:lnTo>
                  <a:lnTo>
                    <a:pt x="33" y="1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25" name="Freeform 153"/>
            <p:cNvSpPr>
              <a:spLocks/>
            </p:cNvSpPr>
            <p:nvPr/>
          </p:nvSpPr>
          <p:spPr bwMode="auto">
            <a:xfrm>
              <a:off x="3992" y="3289"/>
              <a:ext cx="115" cy="64"/>
            </a:xfrm>
            <a:custGeom>
              <a:avLst/>
              <a:gdLst>
                <a:gd name="T0" fmla="*/ 3 w 194"/>
                <a:gd name="T1" fmla="*/ 0 h 123"/>
                <a:gd name="T2" fmla="*/ 4 w 194"/>
                <a:gd name="T3" fmla="*/ 1 h 123"/>
                <a:gd name="T4" fmla="*/ 4 w 194"/>
                <a:gd name="T5" fmla="*/ 1 h 123"/>
                <a:gd name="T6" fmla="*/ 4 w 194"/>
                <a:gd name="T7" fmla="*/ 1 h 123"/>
                <a:gd name="T8" fmla="*/ 5 w 194"/>
                <a:gd name="T9" fmla="*/ 1 h 123"/>
                <a:gd name="T10" fmla="*/ 5 w 194"/>
                <a:gd name="T11" fmla="*/ 1 h 123"/>
                <a:gd name="T12" fmla="*/ 3 w 194"/>
                <a:gd name="T13" fmla="*/ 1 h 123"/>
                <a:gd name="T14" fmla="*/ 3 w 194"/>
                <a:gd name="T15" fmla="*/ 1 h 123"/>
                <a:gd name="T16" fmla="*/ 2 w 194"/>
                <a:gd name="T17" fmla="*/ 1 h 123"/>
                <a:gd name="T18" fmla="*/ 2 w 194"/>
                <a:gd name="T19" fmla="*/ 1 h 123"/>
                <a:gd name="T20" fmla="*/ 2 w 194"/>
                <a:gd name="T21" fmla="*/ 1 h 123"/>
                <a:gd name="T22" fmla="*/ 1 w 194"/>
                <a:gd name="T23" fmla="*/ 1 h 123"/>
                <a:gd name="T24" fmla="*/ 1 w 194"/>
                <a:gd name="T25" fmla="*/ 1 h 123"/>
                <a:gd name="T26" fmla="*/ 1 w 194"/>
                <a:gd name="T27" fmla="*/ 2 h 123"/>
                <a:gd name="T28" fmla="*/ 1 w 194"/>
                <a:gd name="T29" fmla="*/ 2 h 123"/>
                <a:gd name="T30" fmla="*/ 1 w 194"/>
                <a:gd name="T31" fmla="*/ 1 h 123"/>
                <a:gd name="T32" fmla="*/ 0 w 194"/>
                <a:gd name="T33" fmla="*/ 1 h 123"/>
                <a:gd name="T34" fmla="*/ 1 w 194"/>
                <a:gd name="T35" fmla="*/ 1 h 123"/>
                <a:gd name="T36" fmla="*/ 1 w 194"/>
                <a:gd name="T37" fmla="*/ 1 h 123"/>
                <a:gd name="T38" fmla="*/ 1 w 194"/>
                <a:gd name="T39" fmla="*/ 1 h 123"/>
                <a:gd name="T40" fmla="*/ 2 w 194"/>
                <a:gd name="T41" fmla="*/ 1 h 123"/>
                <a:gd name="T42" fmla="*/ 2 w 194"/>
                <a:gd name="T43" fmla="*/ 1 h 123"/>
                <a:gd name="T44" fmla="*/ 2 w 194"/>
                <a:gd name="T45" fmla="*/ 1 h 123"/>
                <a:gd name="T46" fmla="*/ 3 w 194"/>
                <a:gd name="T47" fmla="*/ 1 h 123"/>
                <a:gd name="T48" fmla="*/ 3 w 194"/>
                <a:gd name="T49" fmla="*/ 0 h 123"/>
                <a:gd name="T50" fmla="*/ 3 w 194"/>
                <a:gd name="T51" fmla="*/ 0 h 12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94"/>
                <a:gd name="T79" fmla="*/ 0 h 123"/>
                <a:gd name="T80" fmla="*/ 194 w 194"/>
                <a:gd name="T81" fmla="*/ 123 h 12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94" h="123">
                  <a:moveTo>
                    <a:pt x="123" y="0"/>
                  </a:moveTo>
                  <a:lnTo>
                    <a:pt x="135" y="14"/>
                  </a:lnTo>
                  <a:lnTo>
                    <a:pt x="135" y="33"/>
                  </a:lnTo>
                  <a:lnTo>
                    <a:pt x="156" y="43"/>
                  </a:lnTo>
                  <a:lnTo>
                    <a:pt x="194" y="88"/>
                  </a:lnTo>
                  <a:lnTo>
                    <a:pt x="125" y="95"/>
                  </a:lnTo>
                  <a:lnTo>
                    <a:pt x="118" y="102"/>
                  </a:lnTo>
                  <a:lnTo>
                    <a:pt x="90" y="99"/>
                  </a:lnTo>
                  <a:lnTo>
                    <a:pt x="83" y="90"/>
                  </a:lnTo>
                  <a:lnTo>
                    <a:pt x="76" y="88"/>
                  </a:lnTo>
                  <a:lnTo>
                    <a:pt x="61" y="111"/>
                  </a:lnTo>
                  <a:lnTo>
                    <a:pt x="31" y="116"/>
                  </a:lnTo>
                  <a:lnTo>
                    <a:pt x="24" y="123"/>
                  </a:lnTo>
                  <a:lnTo>
                    <a:pt x="2" y="95"/>
                  </a:lnTo>
                  <a:lnTo>
                    <a:pt x="0" y="80"/>
                  </a:lnTo>
                  <a:lnTo>
                    <a:pt x="12" y="57"/>
                  </a:lnTo>
                  <a:lnTo>
                    <a:pt x="12" y="55"/>
                  </a:lnTo>
                  <a:lnTo>
                    <a:pt x="59" y="45"/>
                  </a:lnTo>
                  <a:lnTo>
                    <a:pt x="69" y="38"/>
                  </a:lnTo>
                  <a:lnTo>
                    <a:pt x="66" y="33"/>
                  </a:lnTo>
                  <a:lnTo>
                    <a:pt x="90" y="29"/>
                  </a:lnTo>
                  <a:lnTo>
                    <a:pt x="109" y="5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26" name="Freeform 154"/>
            <p:cNvSpPr>
              <a:spLocks/>
            </p:cNvSpPr>
            <p:nvPr/>
          </p:nvSpPr>
          <p:spPr bwMode="auto">
            <a:xfrm>
              <a:off x="3982" y="3191"/>
              <a:ext cx="94" cy="127"/>
            </a:xfrm>
            <a:custGeom>
              <a:avLst/>
              <a:gdLst>
                <a:gd name="T0" fmla="*/ 1 w 159"/>
                <a:gd name="T1" fmla="*/ 1 h 244"/>
                <a:gd name="T2" fmla="*/ 1 w 159"/>
                <a:gd name="T3" fmla="*/ 1 h 244"/>
                <a:gd name="T4" fmla="*/ 1 w 159"/>
                <a:gd name="T5" fmla="*/ 1 h 244"/>
                <a:gd name="T6" fmla="*/ 1 w 159"/>
                <a:gd name="T7" fmla="*/ 1 h 244"/>
                <a:gd name="T8" fmla="*/ 0 w 159"/>
                <a:gd name="T9" fmla="*/ 2 h 244"/>
                <a:gd name="T10" fmla="*/ 1 w 159"/>
                <a:gd name="T11" fmla="*/ 2 h 244"/>
                <a:gd name="T12" fmla="*/ 1 w 159"/>
                <a:gd name="T13" fmla="*/ 2 h 244"/>
                <a:gd name="T14" fmla="*/ 1 w 159"/>
                <a:gd name="T15" fmla="*/ 2 h 244"/>
                <a:gd name="T16" fmla="*/ 1 w 159"/>
                <a:gd name="T17" fmla="*/ 2 h 244"/>
                <a:gd name="T18" fmla="*/ 1 w 159"/>
                <a:gd name="T19" fmla="*/ 2 h 244"/>
                <a:gd name="T20" fmla="*/ 1 w 159"/>
                <a:gd name="T21" fmla="*/ 2 h 244"/>
                <a:gd name="T22" fmla="*/ 1 w 159"/>
                <a:gd name="T23" fmla="*/ 2 h 244"/>
                <a:gd name="T24" fmla="*/ 1 w 159"/>
                <a:gd name="T25" fmla="*/ 3 h 244"/>
                <a:gd name="T26" fmla="*/ 1 w 159"/>
                <a:gd name="T27" fmla="*/ 3 h 244"/>
                <a:gd name="T28" fmla="*/ 2 w 159"/>
                <a:gd name="T29" fmla="*/ 3 h 244"/>
                <a:gd name="T30" fmla="*/ 2 w 159"/>
                <a:gd name="T31" fmla="*/ 3 h 244"/>
                <a:gd name="T32" fmla="*/ 2 w 159"/>
                <a:gd name="T33" fmla="*/ 2 h 244"/>
                <a:gd name="T34" fmla="*/ 3 w 159"/>
                <a:gd name="T35" fmla="*/ 2 h 244"/>
                <a:gd name="T36" fmla="*/ 3 w 159"/>
                <a:gd name="T37" fmla="*/ 2 h 244"/>
                <a:gd name="T38" fmla="*/ 4 w 159"/>
                <a:gd name="T39" fmla="*/ 2 h 244"/>
                <a:gd name="T40" fmla="*/ 4 w 159"/>
                <a:gd name="T41" fmla="*/ 2 h 244"/>
                <a:gd name="T42" fmla="*/ 3 w 159"/>
                <a:gd name="T43" fmla="*/ 2 h 244"/>
                <a:gd name="T44" fmla="*/ 4 w 159"/>
                <a:gd name="T45" fmla="*/ 2 h 244"/>
                <a:gd name="T46" fmla="*/ 4 w 159"/>
                <a:gd name="T47" fmla="*/ 2 h 244"/>
                <a:gd name="T48" fmla="*/ 4 w 159"/>
                <a:gd name="T49" fmla="*/ 1 h 244"/>
                <a:gd name="T50" fmla="*/ 4 w 159"/>
                <a:gd name="T51" fmla="*/ 1 h 244"/>
                <a:gd name="T52" fmla="*/ 4 w 159"/>
                <a:gd name="T53" fmla="*/ 1 h 244"/>
                <a:gd name="T54" fmla="*/ 1 w 159"/>
                <a:gd name="T55" fmla="*/ 0 h 244"/>
                <a:gd name="T56" fmla="*/ 1 w 159"/>
                <a:gd name="T57" fmla="*/ 1 h 244"/>
                <a:gd name="T58" fmla="*/ 1 w 159"/>
                <a:gd name="T59" fmla="*/ 1 h 24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9"/>
                <a:gd name="T91" fmla="*/ 0 h 244"/>
                <a:gd name="T92" fmla="*/ 159 w 159"/>
                <a:gd name="T93" fmla="*/ 244 h 24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9" h="244">
                  <a:moveTo>
                    <a:pt x="24" y="3"/>
                  </a:moveTo>
                  <a:lnTo>
                    <a:pt x="24" y="29"/>
                  </a:lnTo>
                  <a:lnTo>
                    <a:pt x="41" y="45"/>
                  </a:lnTo>
                  <a:lnTo>
                    <a:pt x="31" y="97"/>
                  </a:lnTo>
                  <a:lnTo>
                    <a:pt x="0" y="140"/>
                  </a:lnTo>
                  <a:lnTo>
                    <a:pt x="3" y="147"/>
                  </a:lnTo>
                  <a:lnTo>
                    <a:pt x="10" y="158"/>
                  </a:lnTo>
                  <a:lnTo>
                    <a:pt x="17" y="163"/>
                  </a:lnTo>
                  <a:lnTo>
                    <a:pt x="29" y="203"/>
                  </a:lnTo>
                  <a:lnTo>
                    <a:pt x="15" y="206"/>
                  </a:lnTo>
                  <a:lnTo>
                    <a:pt x="10" y="215"/>
                  </a:lnTo>
                  <a:lnTo>
                    <a:pt x="24" y="227"/>
                  </a:lnTo>
                  <a:lnTo>
                    <a:pt x="29" y="244"/>
                  </a:lnTo>
                  <a:lnTo>
                    <a:pt x="76" y="234"/>
                  </a:lnTo>
                  <a:lnTo>
                    <a:pt x="86" y="227"/>
                  </a:lnTo>
                  <a:lnTo>
                    <a:pt x="83" y="222"/>
                  </a:lnTo>
                  <a:lnTo>
                    <a:pt x="107" y="218"/>
                  </a:lnTo>
                  <a:lnTo>
                    <a:pt x="126" y="194"/>
                  </a:lnTo>
                  <a:lnTo>
                    <a:pt x="140" y="189"/>
                  </a:lnTo>
                  <a:lnTo>
                    <a:pt x="142" y="184"/>
                  </a:lnTo>
                  <a:lnTo>
                    <a:pt x="128" y="161"/>
                  </a:lnTo>
                  <a:lnTo>
                    <a:pt x="145" y="118"/>
                  </a:lnTo>
                  <a:lnTo>
                    <a:pt x="159" y="118"/>
                  </a:lnTo>
                  <a:lnTo>
                    <a:pt x="159" y="114"/>
                  </a:lnTo>
                  <a:lnTo>
                    <a:pt x="159" y="59"/>
                  </a:lnTo>
                  <a:lnTo>
                    <a:pt x="159" y="62"/>
                  </a:lnTo>
                  <a:lnTo>
                    <a:pt x="41" y="0"/>
                  </a:lnTo>
                  <a:lnTo>
                    <a:pt x="24" y="3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27" name="Freeform 155"/>
            <p:cNvSpPr>
              <a:spLocks/>
            </p:cNvSpPr>
            <p:nvPr/>
          </p:nvSpPr>
          <p:spPr bwMode="auto">
            <a:xfrm>
              <a:off x="3866" y="3188"/>
              <a:ext cx="140" cy="96"/>
            </a:xfrm>
            <a:custGeom>
              <a:avLst/>
              <a:gdLst>
                <a:gd name="T0" fmla="*/ 5 w 237"/>
                <a:gd name="T1" fmla="*/ 2 h 185"/>
                <a:gd name="T2" fmla="*/ 5 w 237"/>
                <a:gd name="T3" fmla="*/ 2 h 185"/>
                <a:gd name="T4" fmla="*/ 6 w 237"/>
                <a:gd name="T5" fmla="*/ 1 h 185"/>
                <a:gd name="T6" fmla="*/ 6 w 237"/>
                <a:gd name="T7" fmla="*/ 1 h 185"/>
                <a:gd name="T8" fmla="*/ 5 w 237"/>
                <a:gd name="T9" fmla="*/ 1 h 185"/>
                <a:gd name="T10" fmla="*/ 5 w 237"/>
                <a:gd name="T11" fmla="*/ 1 h 185"/>
                <a:gd name="T12" fmla="*/ 5 w 237"/>
                <a:gd name="T13" fmla="*/ 1 h 185"/>
                <a:gd name="T14" fmla="*/ 5 w 237"/>
                <a:gd name="T15" fmla="*/ 0 h 185"/>
                <a:gd name="T16" fmla="*/ 4 w 237"/>
                <a:gd name="T17" fmla="*/ 0 h 185"/>
                <a:gd name="T18" fmla="*/ 2 w 237"/>
                <a:gd name="T19" fmla="*/ 1 h 185"/>
                <a:gd name="T20" fmla="*/ 1 w 237"/>
                <a:gd name="T21" fmla="*/ 1 h 185"/>
                <a:gd name="T22" fmla="*/ 1 w 237"/>
                <a:gd name="T23" fmla="*/ 1 h 185"/>
                <a:gd name="T24" fmla="*/ 1 w 237"/>
                <a:gd name="T25" fmla="*/ 2 h 185"/>
                <a:gd name="T26" fmla="*/ 0 w 237"/>
                <a:gd name="T27" fmla="*/ 2 h 185"/>
                <a:gd name="T28" fmla="*/ 0 w 237"/>
                <a:gd name="T29" fmla="*/ 2 h 185"/>
                <a:gd name="T30" fmla="*/ 0 w 237"/>
                <a:gd name="T31" fmla="*/ 2 h 185"/>
                <a:gd name="T32" fmla="*/ 1 w 237"/>
                <a:gd name="T33" fmla="*/ 2 h 185"/>
                <a:gd name="T34" fmla="*/ 1 w 237"/>
                <a:gd name="T35" fmla="*/ 2 h 185"/>
                <a:gd name="T36" fmla="*/ 1 w 237"/>
                <a:gd name="T37" fmla="*/ 2 h 185"/>
                <a:gd name="T38" fmla="*/ 1 w 237"/>
                <a:gd name="T39" fmla="*/ 2 h 185"/>
                <a:gd name="T40" fmla="*/ 1 w 237"/>
                <a:gd name="T41" fmla="*/ 2 h 185"/>
                <a:gd name="T42" fmla="*/ 1 w 237"/>
                <a:gd name="T43" fmla="*/ 2 h 185"/>
                <a:gd name="T44" fmla="*/ 1 w 237"/>
                <a:gd name="T45" fmla="*/ 2 h 185"/>
                <a:gd name="T46" fmla="*/ 1 w 237"/>
                <a:gd name="T47" fmla="*/ 2 h 185"/>
                <a:gd name="T48" fmla="*/ 1 w 237"/>
                <a:gd name="T49" fmla="*/ 2 h 185"/>
                <a:gd name="T50" fmla="*/ 2 w 237"/>
                <a:gd name="T51" fmla="*/ 2 h 185"/>
                <a:gd name="T52" fmla="*/ 2 w 237"/>
                <a:gd name="T53" fmla="*/ 2 h 185"/>
                <a:gd name="T54" fmla="*/ 2 w 237"/>
                <a:gd name="T55" fmla="*/ 2 h 185"/>
                <a:gd name="T56" fmla="*/ 3 w 237"/>
                <a:gd name="T57" fmla="*/ 2 h 185"/>
                <a:gd name="T58" fmla="*/ 4 w 237"/>
                <a:gd name="T59" fmla="*/ 2 h 185"/>
                <a:gd name="T60" fmla="*/ 4 w 237"/>
                <a:gd name="T61" fmla="*/ 2 h 185"/>
                <a:gd name="T62" fmla="*/ 5 w 237"/>
                <a:gd name="T63" fmla="*/ 2 h 185"/>
                <a:gd name="T64" fmla="*/ 5 w 237"/>
                <a:gd name="T65" fmla="*/ 2 h 185"/>
                <a:gd name="T66" fmla="*/ 5 w 237"/>
                <a:gd name="T67" fmla="*/ 2 h 18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37"/>
                <a:gd name="T103" fmla="*/ 0 h 185"/>
                <a:gd name="T104" fmla="*/ 237 w 237"/>
                <a:gd name="T105" fmla="*/ 185 h 18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37" h="185">
                  <a:moveTo>
                    <a:pt x="199" y="152"/>
                  </a:moveTo>
                  <a:lnTo>
                    <a:pt x="196" y="145"/>
                  </a:lnTo>
                  <a:lnTo>
                    <a:pt x="227" y="102"/>
                  </a:lnTo>
                  <a:lnTo>
                    <a:pt x="237" y="50"/>
                  </a:lnTo>
                  <a:lnTo>
                    <a:pt x="220" y="34"/>
                  </a:lnTo>
                  <a:lnTo>
                    <a:pt x="220" y="8"/>
                  </a:lnTo>
                  <a:lnTo>
                    <a:pt x="206" y="0"/>
                  </a:lnTo>
                  <a:lnTo>
                    <a:pt x="173" y="0"/>
                  </a:lnTo>
                  <a:lnTo>
                    <a:pt x="81" y="64"/>
                  </a:lnTo>
                  <a:lnTo>
                    <a:pt x="59" y="69"/>
                  </a:lnTo>
                  <a:lnTo>
                    <a:pt x="59" y="116"/>
                  </a:lnTo>
                  <a:lnTo>
                    <a:pt x="52" y="123"/>
                  </a:lnTo>
                  <a:lnTo>
                    <a:pt x="0" y="135"/>
                  </a:lnTo>
                  <a:lnTo>
                    <a:pt x="0" y="149"/>
                  </a:lnTo>
                  <a:lnTo>
                    <a:pt x="19" y="171"/>
                  </a:lnTo>
                  <a:lnTo>
                    <a:pt x="26" y="168"/>
                  </a:lnTo>
                  <a:lnTo>
                    <a:pt x="33" y="180"/>
                  </a:lnTo>
                  <a:lnTo>
                    <a:pt x="33" y="175"/>
                  </a:lnTo>
                  <a:lnTo>
                    <a:pt x="43" y="175"/>
                  </a:lnTo>
                  <a:lnTo>
                    <a:pt x="50" y="185"/>
                  </a:lnTo>
                  <a:lnTo>
                    <a:pt x="52" y="171"/>
                  </a:lnTo>
                  <a:lnTo>
                    <a:pt x="67" y="154"/>
                  </a:lnTo>
                  <a:lnTo>
                    <a:pt x="81" y="152"/>
                  </a:lnTo>
                  <a:lnTo>
                    <a:pt x="102" y="166"/>
                  </a:lnTo>
                  <a:lnTo>
                    <a:pt x="114" y="161"/>
                  </a:lnTo>
                  <a:lnTo>
                    <a:pt x="135" y="168"/>
                  </a:lnTo>
                  <a:lnTo>
                    <a:pt x="154" y="161"/>
                  </a:lnTo>
                  <a:lnTo>
                    <a:pt x="180" y="161"/>
                  </a:lnTo>
                  <a:lnTo>
                    <a:pt x="194" y="152"/>
                  </a:lnTo>
                  <a:lnTo>
                    <a:pt x="199" y="15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28" name="Freeform 156"/>
            <p:cNvSpPr>
              <a:spLocks/>
            </p:cNvSpPr>
            <p:nvPr/>
          </p:nvSpPr>
          <p:spPr bwMode="auto">
            <a:xfrm>
              <a:off x="3757" y="3176"/>
              <a:ext cx="144" cy="121"/>
            </a:xfrm>
            <a:custGeom>
              <a:avLst/>
              <a:gdLst>
                <a:gd name="T0" fmla="*/ 3 w 243"/>
                <a:gd name="T1" fmla="*/ 0 h 231"/>
                <a:gd name="T2" fmla="*/ 5 w 243"/>
                <a:gd name="T3" fmla="*/ 1 h 231"/>
                <a:gd name="T4" fmla="*/ 5 w 243"/>
                <a:gd name="T5" fmla="*/ 1 h 231"/>
                <a:gd name="T6" fmla="*/ 6 w 243"/>
                <a:gd name="T7" fmla="*/ 1 h 231"/>
                <a:gd name="T8" fmla="*/ 6 w 243"/>
                <a:gd name="T9" fmla="*/ 1 h 231"/>
                <a:gd name="T10" fmla="*/ 7 w 243"/>
                <a:gd name="T11" fmla="*/ 1 h 231"/>
                <a:gd name="T12" fmla="*/ 7 w 243"/>
                <a:gd name="T13" fmla="*/ 1 h 231"/>
                <a:gd name="T14" fmla="*/ 7 w 243"/>
                <a:gd name="T15" fmla="*/ 2 h 231"/>
                <a:gd name="T16" fmla="*/ 6 w 243"/>
                <a:gd name="T17" fmla="*/ 2 h 231"/>
                <a:gd name="T18" fmla="*/ 5 w 243"/>
                <a:gd name="T19" fmla="*/ 2 h 231"/>
                <a:gd name="T20" fmla="*/ 5 w 243"/>
                <a:gd name="T21" fmla="*/ 2 h 231"/>
                <a:gd name="T22" fmla="*/ 4 w 243"/>
                <a:gd name="T23" fmla="*/ 2 h 231"/>
                <a:gd name="T24" fmla="*/ 4 w 243"/>
                <a:gd name="T25" fmla="*/ 2 h 231"/>
                <a:gd name="T26" fmla="*/ 3 w 243"/>
                <a:gd name="T27" fmla="*/ 2 h 231"/>
                <a:gd name="T28" fmla="*/ 3 w 243"/>
                <a:gd name="T29" fmla="*/ 2 h 231"/>
                <a:gd name="T30" fmla="*/ 3 w 243"/>
                <a:gd name="T31" fmla="*/ 3 h 231"/>
                <a:gd name="T32" fmla="*/ 3 w 243"/>
                <a:gd name="T33" fmla="*/ 3 h 231"/>
                <a:gd name="T34" fmla="*/ 2 w 243"/>
                <a:gd name="T35" fmla="*/ 3 h 231"/>
                <a:gd name="T36" fmla="*/ 2 w 243"/>
                <a:gd name="T37" fmla="*/ 3 h 231"/>
                <a:gd name="T38" fmla="*/ 2 w 243"/>
                <a:gd name="T39" fmla="*/ 3 h 231"/>
                <a:gd name="T40" fmla="*/ 2 w 243"/>
                <a:gd name="T41" fmla="*/ 3 h 231"/>
                <a:gd name="T42" fmla="*/ 1 w 243"/>
                <a:gd name="T43" fmla="*/ 2 h 231"/>
                <a:gd name="T44" fmla="*/ 1 w 243"/>
                <a:gd name="T45" fmla="*/ 2 h 231"/>
                <a:gd name="T46" fmla="*/ 1 w 243"/>
                <a:gd name="T47" fmla="*/ 2 h 231"/>
                <a:gd name="T48" fmla="*/ 1 w 243"/>
                <a:gd name="T49" fmla="*/ 2 h 231"/>
                <a:gd name="T50" fmla="*/ 0 w 243"/>
                <a:gd name="T51" fmla="*/ 2 h 231"/>
                <a:gd name="T52" fmla="*/ 1 w 243"/>
                <a:gd name="T53" fmla="*/ 2 h 231"/>
                <a:gd name="T54" fmla="*/ 1 w 243"/>
                <a:gd name="T55" fmla="*/ 2 h 231"/>
                <a:gd name="T56" fmla="*/ 1 w 243"/>
                <a:gd name="T57" fmla="*/ 2 h 231"/>
                <a:gd name="T58" fmla="*/ 2 w 243"/>
                <a:gd name="T59" fmla="*/ 2 h 231"/>
                <a:gd name="T60" fmla="*/ 2 w 243"/>
                <a:gd name="T61" fmla="*/ 0 h 231"/>
                <a:gd name="T62" fmla="*/ 3 w 243"/>
                <a:gd name="T63" fmla="*/ 0 h 231"/>
                <a:gd name="T64" fmla="*/ 3 w 243"/>
                <a:gd name="T65" fmla="*/ 0 h 23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43"/>
                <a:gd name="T100" fmla="*/ 0 h 231"/>
                <a:gd name="T101" fmla="*/ 243 w 243"/>
                <a:gd name="T102" fmla="*/ 231 h 23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43" h="231">
                  <a:moveTo>
                    <a:pt x="109" y="0"/>
                  </a:moveTo>
                  <a:lnTo>
                    <a:pt x="196" y="59"/>
                  </a:lnTo>
                  <a:lnTo>
                    <a:pt x="206" y="73"/>
                  </a:lnTo>
                  <a:lnTo>
                    <a:pt x="227" y="80"/>
                  </a:lnTo>
                  <a:lnTo>
                    <a:pt x="229" y="94"/>
                  </a:lnTo>
                  <a:lnTo>
                    <a:pt x="241" y="92"/>
                  </a:lnTo>
                  <a:lnTo>
                    <a:pt x="243" y="92"/>
                  </a:lnTo>
                  <a:lnTo>
                    <a:pt x="243" y="139"/>
                  </a:lnTo>
                  <a:lnTo>
                    <a:pt x="236" y="146"/>
                  </a:lnTo>
                  <a:lnTo>
                    <a:pt x="184" y="158"/>
                  </a:lnTo>
                  <a:lnTo>
                    <a:pt x="170" y="160"/>
                  </a:lnTo>
                  <a:lnTo>
                    <a:pt x="144" y="179"/>
                  </a:lnTo>
                  <a:lnTo>
                    <a:pt x="125" y="184"/>
                  </a:lnTo>
                  <a:lnTo>
                    <a:pt x="106" y="210"/>
                  </a:lnTo>
                  <a:lnTo>
                    <a:pt x="104" y="227"/>
                  </a:lnTo>
                  <a:lnTo>
                    <a:pt x="92" y="229"/>
                  </a:lnTo>
                  <a:lnTo>
                    <a:pt x="85" y="222"/>
                  </a:lnTo>
                  <a:lnTo>
                    <a:pt x="73" y="229"/>
                  </a:lnTo>
                  <a:lnTo>
                    <a:pt x="62" y="231"/>
                  </a:lnTo>
                  <a:lnTo>
                    <a:pt x="45" y="196"/>
                  </a:lnTo>
                  <a:lnTo>
                    <a:pt x="21" y="203"/>
                  </a:lnTo>
                  <a:lnTo>
                    <a:pt x="10" y="201"/>
                  </a:lnTo>
                  <a:lnTo>
                    <a:pt x="12" y="196"/>
                  </a:lnTo>
                  <a:lnTo>
                    <a:pt x="0" y="160"/>
                  </a:lnTo>
                  <a:lnTo>
                    <a:pt x="12" y="144"/>
                  </a:lnTo>
                  <a:lnTo>
                    <a:pt x="21" y="156"/>
                  </a:lnTo>
                  <a:lnTo>
                    <a:pt x="33" y="149"/>
                  </a:lnTo>
                  <a:lnTo>
                    <a:pt x="99" y="149"/>
                  </a:lnTo>
                  <a:lnTo>
                    <a:pt x="83" y="0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29" name="Freeform 157"/>
            <p:cNvSpPr>
              <a:spLocks/>
            </p:cNvSpPr>
            <p:nvPr/>
          </p:nvSpPr>
          <p:spPr bwMode="auto">
            <a:xfrm>
              <a:off x="3713" y="3156"/>
              <a:ext cx="108" cy="103"/>
            </a:xfrm>
            <a:custGeom>
              <a:avLst/>
              <a:gdLst>
                <a:gd name="T0" fmla="*/ 1 w 182"/>
                <a:gd name="T1" fmla="*/ 1 h 198"/>
                <a:gd name="T2" fmla="*/ 1 w 182"/>
                <a:gd name="T3" fmla="*/ 1 h 198"/>
                <a:gd name="T4" fmla="*/ 1 w 182"/>
                <a:gd name="T5" fmla="*/ 1 h 198"/>
                <a:gd name="T6" fmla="*/ 1 w 182"/>
                <a:gd name="T7" fmla="*/ 1 h 198"/>
                <a:gd name="T8" fmla="*/ 2 w 182"/>
                <a:gd name="T9" fmla="*/ 1 h 198"/>
                <a:gd name="T10" fmla="*/ 2 w 182"/>
                <a:gd name="T11" fmla="*/ 1 h 198"/>
                <a:gd name="T12" fmla="*/ 3 w 182"/>
                <a:gd name="T13" fmla="*/ 1 h 198"/>
                <a:gd name="T14" fmla="*/ 3 w 182"/>
                <a:gd name="T15" fmla="*/ 0 h 198"/>
                <a:gd name="T16" fmla="*/ 5 w 182"/>
                <a:gd name="T17" fmla="*/ 1 h 198"/>
                <a:gd name="T18" fmla="*/ 5 w 182"/>
                <a:gd name="T19" fmla="*/ 1 h 198"/>
                <a:gd name="T20" fmla="*/ 4 w 182"/>
                <a:gd name="T21" fmla="*/ 1 h 198"/>
                <a:gd name="T22" fmla="*/ 4 w 182"/>
                <a:gd name="T23" fmla="*/ 2 h 198"/>
                <a:gd name="T24" fmla="*/ 3 w 182"/>
                <a:gd name="T25" fmla="*/ 2 h 198"/>
                <a:gd name="T26" fmla="*/ 2 w 182"/>
                <a:gd name="T27" fmla="*/ 2 h 198"/>
                <a:gd name="T28" fmla="*/ 2 w 182"/>
                <a:gd name="T29" fmla="*/ 2 h 198"/>
                <a:gd name="T30" fmla="*/ 2 w 182"/>
                <a:gd name="T31" fmla="*/ 2 h 198"/>
                <a:gd name="T32" fmla="*/ 1 w 182"/>
                <a:gd name="T33" fmla="*/ 2 h 198"/>
                <a:gd name="T34" fmla="*/ 1 w 182"/>
                <a:gd name="T35" fmla="*/ 2 h 198"/>
                <a:gd name="T36" fmla="*/ 1 w 182"/>
                <a:gd name="T37" fmla="*/ 2 h 198"/>
                <a:gd name="T38" fmla="*/ 1 w 182"/>
                <a:gd name="T39" fmla="*/ 2 h 198"/>
                <a:gd name="T40" fmla="*/ 1 w 182"/>
                <a:gd name="T41" fmla="*/ 2 h 198"/>
                <a:gd name="T42" fmla="*/ 1 w 182"/>
                <a:gd name="T43" fmla="*/ 2 h 198"/>
                <a:gd name="T44" fmla="*/ 1 w 182"/>
                <a:gd name="T45" fmla="*/ 2 h 198"/>
                <a:gd name="T46" fmla="*/ 1 w 182"/>
                <a:gd name="T47" fmla="*/ 1 h 198"/>
                <a:gd name="T48" fmla="*/ 0 w 182"/>
                <a:gd name="T49" fmla="*/ 1 h 198"/>
                <a:gd name="T50" fmla="*/ 1 w 182"/>
                <a:gd name="T51" fmla="*/ 1 h 19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82"/>
                <a:gd name="T79" fmla="*/ 0 h 198"/>
                <a:gd name="T80" fmla="*/ 182 w 182"/>
                <a:gd name="T81" fmla="*/ 198 h 19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82" h="198">
                  <a:moveTo>
                    <a:pt x="2" y="99"/>
                  </a:moveTo>
                  <a:lnTo>
                    <a:pt x="9" y="95"/>
                  </a:lnTo>
                  <a:lnTo>
                    <a:pt x="61" y="95"/>
                  </a:lnTo>
                  <a:lnTo>
                    <a:pt x="59" y="71"/>
                  </a:lnTo>
                  <a:lnTo>
                    <a:pt x="78" y="59"/>
                  </a:lnTo>
                  <a:lnTo>
                    <a:pt x="78" y="19"/>
                  </a:lnTo>
                  <a:lnTo>
                    <a:pt x="125" y="19"/>
                  </a:lnTo>
                  <a:lnTo>
                    <a:pt x="125" y="0"/>
                  </a:lnTo>
                  <a:lnTo>
                    <a:pt x="182" y="38"/>
                  </a:lnTo>
                  <a:lnTo>
                    <a:pt x="156" y="38"/>
                  </a:lnTo>
                  <a:lnTo>
                    <a:pt x="172" y="187"/>
                  </a:lnTo>
                  <a:lnTo>
                    <a:pt x="106" y="187"/>
                  </a:lnTo>
                  <a:lnTo>
                    <a:pt x="94" y="194"/>
                  </a:lnTo>
                  <a:lnTo>
                    <a:pt x="85" y="182"/>
                  </a:lnTo>
                  <a:lnTo>
                    <a:pt x="73" y="198"/>
                  </a:lnTo>
                  <a:lnTo>
                    <a:pt x="57" y="180"/>
                  </a:lnTo>
                  <a:lnTo>
                    <a:pt x="35" y="170"/>
                  </a:lnTo>
                  <a:lnTo>
                    <a:pt x="14" y="170"/>
                  </a:lnTo>
                  <a:lnTo>
                    <a:pt x="7" y="180"/>
                  </a:lnTo>
                  <a:lnTo>
                    <a:pt x="16" y="142"/>
                  </a:lnTo>
                  <a:lnTo>
                    <a:pt x="7" y="125"/>
                  </a:lnTo>
                  <a:lnTo>
                    <a:pt x="12" y="113"/>
                  </a:lnTo>
                  <a:lnTo>
                    <a:pt x="0" y="102"/>
                  </a:lnTo>
                  <a:lnTo>
                    <a:pt x="2" y="99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30" name="Freeform 158"/>
            <p:cNvSpPr>
              <a:spLocks/>
            </p:cNvSpPr>
            <p:nvPr/>
          </p:nvSpPr>
          <p:spPr bwMode="auto">
            <a:xfrm>
              <a:off x="3713" y="3152"/>
              <a:ext cx="76" cy="58"/>
            </a:xfrm>
            <a:custGeom>
              <a:avLst/>
              <a:gdLst>
                <a:gd name="T0" fmla="*/ 1 w 127"/>
                <a:gd name="T1" fmla="*/ 1 h 111"/>
                <a:gd name="T2" fmla="*/ 1 w 127"/>
                <a:gd name="T3" fmla="*/ 1 h 111"/>
                <a:gd name="T4" fmla="*/ 2 w 127"/>
                <a:gd name="T5" fmla="*/ 1 h 111"/>
                <a:gd name="T6" fmla="*/ 2 w 127"/>
                <a:gd name="T7" fmla="*/ 1 h 111"/>
                <a:gd name="T8" fmla="*/ 2 w 127"/>
                <a:gd name="T9" fmla="*/ 1 h 111"/>
                <a:gd name="T10" fmla="*/ 2 w 127"/>
                <a:gd name="T11" fmla="*/ 1 h 111"/>
                <a:gd name="T12" fmla="*/ 4 w 127"/>
                <a:gd name="T13" fmla="*/ 1 h 111"/>
                <a:gd name="T14" fmla="*/ 4 w 127"/>
                <a:gd name="T15" fmla="*/ 1 h 111"/>
                <a:gd name="T16" fmla="*/ 4 w 127"/>
                <a:gd name="T17" fmla="*/ 1 h 111"/>
                <a:gd name="T18" fmla="*/ 4 w 127"/>
                <a:gd name="T19" fmla="*/ 1 h 111"/>
                <a:gd name="T20" fmla="*/ 2 w 127"/>
                <a:gd name="T21" fmla="*/ 0 h 111"/>
                <a:gd name="T22" fmla="*/ 2 w 127"/>
                <a:gd name="T23" fmla="*/ 0 h 111"/>
                <a:gd name="T24" fmla="*/ 1 w 127"/>
                <a:gd name="T25" fmla="*/ 1 h 111"/>
                <a:gd name="T26" fmla="*/ 1 w 127"/>
                <a:gd name="T27" fmla="*/ 1 h 111"/>
                <a:gd name="T28" fmla="*/ 1 w 127"/>
                <a:gd name="T29" fmla="*/ 1 h 111"/>
                <a:gd name="T30" fmla="*/ 1 w 127"/>
                <a:gd name="T31" fmla="*/ 1 h 111"/>
                <a:gd name="T32" fmla="*/ 0 w 127"/>
                <a:gd name="T33" fmla="*/ 1 h 111"/>
                <a:gd name="T34" fmla="*/ 1 w 127"/>
                <a:gd name="T35" fmla="*/ 1 h 11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27"/>
                <a:gd name="T55" fmla="*/ 0 h 111"/>
                <a:gd name="T56" fmla="*/ 127 w 127"/>
                <a:gd name="T57" fmla="*/ 111 h 11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27" h="111">
                  <a:moveTo>
                    <a:pt x="2" y="108"/>
                  </a:moveTo>
                  <a:lnTo>
                    <a:pt x="9" y="104"/>
                  </a:lnTo>
                  <a:lnTo>
                    <a:pt x="61" y="104"/>
                  </a:lnTo>
                  <a:lnTo>
                    <a:pt x="59" y="80"/>
                  </a:lnTo>
                  <a:lnTo>
                    <a:pt x="78" y="68"/>
                  </a:lnTo>
                  <a:lnTo>
                    <a:pt x="78" y="28"/>
                  </a:lnTo>
                  <a:lnTo>
                    <a:pt x="125" y="28"/>
                  </a:lnTo>
                  <a:lnTo>
                    <a:pt x="125" y="9"/>
                  </a:lnTo>
                  <a:lnTo>
                    <a:pt x="127" y="9"/>
                  </a:lnTo>
                  <a:lnTo>
                    <a:pt x="125" y="2"/>
                  </a:lnTo>
                  <a:lnTo>
                    <a:pt x="64" y="0"/>
                  </a:lnTo>
                  <a:lnTo>
                    <a:pt x="50" y="19"/>
                  </a:lnTo>
                  <a:lnTo>
                    <a:pt x="40" y="28"/>
                  </a:lnTo>
                  <a:lnTo>
                    <a:pt x="31" y="52"/>
                  </a:lnTo>
                  <a:lnTo>
                    <a:pt x="2" y="94"/>
                  </a:lnTo>
                  <a:lnTo>
                    <a:pt x="0" y="111"/>
                  </a:lnTo>
                  <a:lnTo>
                    <a:pt x="2" y="108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31" name="Freeform 159"/>
            <p:cNvSpPr>
              <a:spLocks/>
            </p:cNvSpPr>
            <p:nvPr/>
          </p:nvSpPr>
          <p:spPr bwMode="auto">
            <a:xfrm>
              <a:off x="3710" y="3245"/>
              <a:ext cx="54" cy="34"/>
            </a:xfrm>
            <a:custGeom>
              <a:avLst/>
              <a:gdLst>
                <a:gd name="T0" fmla="*/ 1 w 90"/>
                <a:gd name="T1" fmla="*/ 1 h 66"/>
                <a:gd name="T2" fmla="*/ 1 w 90"/>
                <a:gd name="T3" fmla="*/ 1 h 66"/>
                <a:gd name="T4" fmla="*/ 1 w 90"/>
                <a:gd name="T5" fmla="*/ 1 h 66"/>
                <a:gd name="T6" fmla="*/ 1 w 90"/>
                <a:gd name="T7" fmla="*/ 1 h 66"/>
                <a:gd name="T8" fmla="*/ 1 w 90"/>
                <a:gd name="T9" fmla="*/ 1 h 66"/>
                <a:gd name="T10" fmla="*/ 1 w 90"/>
                <a:gd name="T11" fmla="*/ 1 h 66"/>
                <a:gd name="T12" fmla="*/ 1 w 90"/>
                <a:gd name="T13" fmla="*/ 1 h 66"/>
                <a:gd name="T14" fmla="*/ 1 w 90"/>
                <a:gd name="T15" fmla="*/ 1 h 66"/>
                <a:gd name="T16" fmla="*/ 1 w 90"/>
                <a:gd name="T17" fmla="*/ 1 h 66"/>
                <a:gd name="T18" fmla="*/ 0 w 90"/>
                <a:gd name="T19" fmla="*/ 1 h 66"/>
                <a:gd name="T20" fmla="*/ 1 w 90"/>
                <a:gd name="T21" fmla="*/ 1 h 66"/>
                <a:gd name="T22" fmla="*/ 1 w 90"/>
                <a:gd name="T23" fmla="*/ 1 h 66"/>
                <a:gd name="T24" fmla="*/ 1 w 90"/>
                <a:gd name="T25" fmla="*/ 0 h 66"/>
                <a:gd name="T26" fmla="*/ 1 w 90"/>
                <a:gd name="T27" fmla="*/ 0 h 66"/>
                <a:gd name="T28" fmla="*/ 2 w 90"/>
                <a:gd name="T29" fmla="*/ 1 h 66"/>
                <a:gd name="T30" fmla="*/ 2 w 90"/>
                <a:gd name="T31" fmla="*/ 1 h 66"/>
                <a:gd name="T32" fmla="*/ 2 w 90"/>
                <a:gd name="T33" fmla="*/ 1 h 66"/>
                <a:gd name="T34" fmla="*/ 1 w 90"/>
                <a:gd name="T35" fmla="*/ 1 h 66"/>
                <a:gd name="T36" fmla="*/ 1 w 90"/>
                <a:gd name="T37" fmla="*/ 1 h 66"/>
                <a:gd name="T38" fmla="*/ 1 w 90"/>
                <a:gd name="T39" fmla="*/ 1 h 66"/>
                <a:gd name="T40" fmla="*/ 1 w 90"/>
                <a:gd name="T41" fmla="*/ 1 h 66"/>
                <a:gd name="T42" fmla="*/ 1 w 90"/>
                <a:gd name="T43" fmla="*/ 1 h 6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0"/>
                <a:gd name="T67" fmla="*/ 0 h 66"/>
                <a:gd name="T68" fmla="*/ 90 w 90"/>
                <a:gd name="T69" fmla="*/ 66 h 6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0" h="66">
                  <a:moveTo>
                    <a:pt x="10" y="54"/>
                  </a:moveTo>
                  <a:lnTo>
                    <a:pt x="19" y="52"/>
                  </a:lnTo>
                  <a:lnTo>
                    <a:pt x="33" y="47"/>
                  </a:lnTo>
                  <a:lnTo>
                    <a:pt x="50" y="52"/>
                  </a:lnTo>
                  <a:lnTo>
                    <a:pt x="52" y="47"/>
                  </a:lnTo>
                  <a:lnTo>
                    <a:pt x="33" y="43"/>
                  </a:lnTo>
                  <a:lnTo>
                    <a:pt x="12" y="47"/>
                  </a:lnTo>
                  <a:lnTo>
                    <a:pt x="10" y="40"/>
                  </a:lnTo>
                  <a:lnTo>
                    <a:pt x="0" y="28"/>
                  </a:lnTo>
                  <a:lnTo>
                    <a:pt x="12" y="10"/>
                  </a:lnTo>
                  <a:lnTo>
                    <a:pt x="19" y="0"/>
                  </a:lnTo>
                  <a:lnTo>
                    <a:pt x="40" y="0"/>
                  </a:lnTo>
                  <a:lnTo>
                    <a:pt x="62" y="10"/>
                  </a:lnTo>
                  <a:lnTo>
                    <a:pt x="78" y="28"/>
                  </a:lnTo>
                  <a:lnTo>
                    <a:pt x="90" y="64"/>
                  </a:lnTo>
                  <a:lnTo>
                    <a:pt x="55" y="59"/>
                  </a:lnTo>
                  <a:lnTo>
                    <a:pt x="10" y="64"/>
                  </a:lnTo>
                  <a:lnTo>
                    <a:pt x="10" y="66"/>
                  </a:lnTo>
                  <a:lnTo>
                    <a:pt x="10" y="57"/>
                  </a:lnTo>
                  <a:lnTo>
                    <a:pt x="10" y="54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32" name="Freeform 160"/>
            <p:cNvSpPr>
              <a:spLocks/>
            </p:cNvSpPr>
            <p:nvPr/>
          </p:nvSpPr>
          <p:spPr bwMode="auto">
            <a:xfrm>
              <a:off x="3716" y="3267"/>
              <a:ext cx="25" cy="8"/>
            </a:xfrm>
            <a:custGeom>
              <a:avLst/>
              <a:gdLst>
                <a:gd name="T0" fmla="*/ 0 w 42"/>
                <a:gd name="T1" fmla="*/ 1 h 14"/>
                <a:gd name="T2" fmla="*/ 1 w 42"/>
                <a:gd name="T3" fmla="*/ 1 h 14"/>
                <a:gd name="T4" fmla="*/ 1 w 42"/>
                <a:gd name="T5" fmla="*/ 1 h 14"/>
                <a:gd name="T6" fmla="*/ 1 w 42"/>
                <a:gd name="T7" fmla="*/ 1 h 14"/>
                <a:gd name="T8" fmla="*/ 1 w 42"/>
                <a:gd name="T9" fmla="*/ 1 h 14"/>
                <a:gd name="T10" fmla="*/ 1 w 42"/>
                <a:gd name="T11" fmla="*/ 0 h 14"/>
                <a:gd name="T12" fmla="*/ 1 w 42"/>
                <a:gd name="T13" fmla="*/ 1 h 14"/>
                <a:gd name="T14" fmla="*/ 1 w 42"/>
                <a:gd name="T15" fmla="*/ 1 h 14"/>
                <a:gd name="T16" fmla="*/ 0 w 42"/>
                <a:gd name="T17" fmla="*/ 1 h 14"/>
                <a:gd name="T18" fmla="*/ 0 w 42"/>
                <a:gd name="T19" fmla="*/ 1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2"/>
                <a:gd name="T31" fmla="*/ 0 h 14"/>
                <a:gd name="T32" fmla="*/ 42 w 42"/>
                <a:gd name="T33" fmla="*/ 14 h 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2" h="14">
                  <a:moveTo>
                    <a:pt x="0" y="11"/>
                  </a:moveTo>
                  <a:lnTo>
                    <a:pt x="9" y="9"/>
                  </a:lnTo>
                  <a:lnTo>
                    <a:pt x="23" y="4"/>
                  </a:lnTo>
                  <a:lnTo>
                    <a:pt x="40" y="9"/>
                  </a:lnTo>
                  <a:lnTo>
                    <a:pt x="42" y="4"/>
                  </a:lnTo>
                  <a:lnTo>
                    <a:pt x="23" y="0"/>
                  </a:lnTo>
                  <a:lnTo>
                    <a:pt x="2" y="4"/>
                  </a:lnTo>
                  <a:lnTo>
                    <a:pt x="0" y="14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33" name="Freeform 161"/>
            <p:cNvSpPr>
              <a:spLocks/>
            </p:cNvSpPr>
            <p:nvPr/>
          </p:nvSpPr>
          <p:spPr bwMode="auto">
            <a:xfrm>
              <a:off x="3716" y="3275"/>
              <a:ext cx="27" cy="16"/>
            </a:xfrm>
            <a:custGeom>
              <a:avLst/>
              <a:gdLst>
                <a:gd name="T0" fmla="*/ 1 w 45"/>
                <a:gd name="T1" fmla="*/ 1 h 29"/>
                <a:gd name="T2" fmla="*/ 1 w 45"/>
                <a:gd name="T3" fmla="*/ 1 h 29"/>
                <a:gd name="T4" fmla="*/ 1 w 45"/>
                <a:gd name="T5" fmla="*/ 0 h 29"/>
                <a:gd name="T6" fmla="*/ 0 w 45"/>
                <a:gd name="T7" fmla="*/ 1 h 29"/>
                <a:gd name="T8" fmla="*/ 0 w 45"/>
                <a:gd name="T9" fmla="*/ 1 h 29"/>
                <a:gd name="T10" fmla="*/ 1 w 45"/>
                <a:gd name="T11" fmla="*/ 1 h 29"/>
                <a:gd name="T12" fmla="*/ 1 w 45"/>
                <a:gd name="T13" fmla="*/ 1 h 29"/>
                <a:gd name="T14" fmla="*/ 1 w 45"/>
                <a:gd name="T15" fmla="*/ 1 h 29"/>
                <a:gd name="T16" fmla="*/ 1 w 45"/>
                <a:gd name="T17" fmla="*/ 1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5"/>
                <a:gd name="T28" fmla="*/ 0 h 29"/>
                <a:gd name="T29" fmla="*/ 45 w 45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5" h="29">
                  <a:moveTo>
                    <a:pt x="26" y="29"/>
                  </a:moveTo>
                  <a:lnTo>
                    <a:pt x="45" y="17"/>
                  </a:lnTo>
                  <a:lnTo>
                    <a:pt x="45" y="0"/>
                  </a:lnTo>
                  <a:lnTo>
                    <a:pt x="0" y="5"/>
                  </a:lnTo>
                  <a:lnTo>
                    <a:pt x="0" y="7"/>
                  </a:lnTo>
                  <a:lnTo>
                    <a:pt x="19" y="14"/>
                  </a:lnTo>
                  <a:lnTo>
                    <a:pt x="19" y="24"/>
                  </a:lnTo>
                  <a:lnTo>
                    <a:pt x="26" y="29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34" name="Freeform 162"/>
            <p:cNvSpPr>
              <a:spLocks/>
            </p:cNvSpPr>
            <p:nvPr/>
          </p:nvSpPr>
          <p:spPr bwMode="auto">
            <a:xfrm>
              <a:off x="3732" y="3275"/>
              <a:ext cx="64" cy="44"/>
            </a:xfrm>
            <a:custGeom>
              <a:avLst/>
              <a:gdLst>
                <a:gd name="T0" fmla="*/ 2 w 108"/>
                <a:gd name="T1" fmla="*/ 1 h 83"/>
                <a:gd name="T2" fmla="*/ 3 w 108"/>
                <a:gd name="T3" fmla="*/ 1 h 83"/>
                <a:gd name="T4" fmla="*/ 2 w 108"/>
                <a:gd name="T5" fmla="*/ 1 h 83"/>
                <a:gd name="T6" fmla="*/ 3 w 108"/>
                <a:gd name="T7" fmla="*/ 1 h 83"/>
                <a:gd name="T8" fmla="*/ 2 w 108"/>
                <a:gd name="T9" fmla="*/ 1 h 83"/>
                <a:gd name="T10" fmla="*/ 3 w 108"/>
                <a:gd name="T11" fmla="*/ 1 h 83"/>
                <a:gd name="T12" fmla="*/ 2 w 108"/>
                <a:gd name="T13" fmla="*/ 1 h 83"/>
                <a:gd name="T14" fmla="*/ 2 w 108"/>
                <a:gd name="T15" fmla="*/ 1 h 83"/>
                <a:gd name="T16" fmla="*/ 1 w 108"/>
                <a:gd name="T17" fmla="*/ 1 h 83"/>
                <a:gd name="T18" fmla="*/ 1 w 108"/>
                <a:gd name="T19" fmla="*/ 1 h 83"/>
                <a:gd name="T20" fmla="*/ 1 w 108"/>
                <a:gd name="T21" fmla="*/ 0 h 83"/>
                <a:gd name="T22" fmla="*/ 1 w 108"/>
                <a:gd name="T23" fmla="*/ 1 h 83"/>
                <a:gd name="T24" fmla="*/ 0 w 108"/>
                <a:gd name="T25" fmla="*/ 1 h 83"/>
                <a:gd name="T26" fmla="*/ 0 w 108"/>
                <a:gd name="T27" fmla="*/ 1 h 83"/>
                <a:gd name="T28" fmla="*/ 1 w 108"/>
                <a:gd name="T29" fmla="*/ 1 h 83"/>
                <a:gd name="T30" fmla="*/ 1 w 108"/>
                <a:gd name="T31" fmla="*/ 1 h 83"/>
                <a:gd name="T32" fmla="*/ 1 w 108"/>
                <a:gd name="T33" fmla="*/ 1 h 83"/>
                <a:gd name="T34" fmla="*/ 1 w 108"/>
                <a:gd name="T35" fmla="*/ 1 h 83"/>
                <a:gd name="T36" fmla="*/ 2 w 108"/>
                <a:gd name="T37" fmla="*/ 1 h 83"/>
                <a:gd name="T38" fmla="*/ 2 w 108"/>
                <a:gd name="T39" fmla="*/ 1 h 83"/>
                <a:gd name="T40" fmla="*/ 2 w 108"/>
                <a:gd name="T41" fmla="*/ 1 h 83"/>
                <a:gd name="T42" fmla="*/ 2 w 108"/>
                <a:gd name="T43" fmla="*/ 1 h 83"/>
                <a:gd name="T44" fmla="*/ 2 w 108"/>
                <a:gd name="T45" fmla="*/ 1 h 83"/>
                <a:gd name="T46" fmla="*/ 2 w 108"/>
                <a:gd name="T47" fmla="*/ 1 h 8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8"/>
                <a:gd name="T73" fmla="*/ 0 h 83"/>
                <a:gd name="T74" fmla="*/ 108 w 108"/>
                <a:gd name="T75" fmla="*/ 83 h 8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8" h="83">
                  <a:moveTo>
                    <a:pt x="96" y="78"/>
                  </a:moveTo>
                  <a:lnTo>
                    <a:pt x="104" y="76"/>
                  </a:lnTo>
                  <a:lnTo>
                    <a:pt x="101" y="69"/>
                  </a:lnTo>
                  <a:lnTo>
                    <a:pt x="108" y="64"/>
                  </a:lnTo>
                  <a:lnTo>
                    <a:pt x="101" y="47"/>
                  </a:lnTo>
                  <a:lnTo>
                    <a:pt x="104" y="40"/>
                  </a:lnTo>
                  <a:lnTo>
                    <a:pt x="87" y="5"/>
                  </a:lnTo>
                  <a:lnTo>
                    <a:pt x="63" y="12"/>
                  </a:lnTo>
                  <a:lnTo>
                    <a:pt x="52" y="10"/>
                  </a:lnTo>
                  <a:lnTo>
                    <a:pt x="54" y="5"/>
                  </a:lnTo>
                  <a:lnTo>
                    <a:pt x="19" y="0"/>
                  </a:lnTo>
                  <a:lnTo>
                    <a:pt x="19" y="17"/>
                  </a:lnTo>
                  <a:lnTo>
                    <a:pt x="0" y="29"/>
                  </a:lnTo>
                  <a:lnTo>
                    <a:pt x="26" y="55"/>
                  </a:lnTo>
                  <a:lnTo>
                    <a:pt x="37" y="43"/>
                  </a:lnTo>
                  <a:lnTo>
                    <a:pt x="52" y="43"/>
                  </a:lnTo>
                  <a:lnTo>
                    <a:pt x="66" y="59"/>
                  </a:lnTo>
                  <a:lnTo>
                    <a:pt x="66" y="66"/>
                  </a:lnTo>
                  <a:lnTo>
                    <a:pt x="70" y="66"/>
                  </a:lnTo>
                  <a:lnTo>
                    <a:pt x="80" y="64"/>
                  </a:lnTo>
                  <a:lnTo>
                    <a:pt x="89" y="83"/>
                  </a:lnTo>
                  <a:lnTo>
                    <a:pt x="96" y="78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35" name="Freeform 163"/>
            <p:cNvSpPr>
              <a:spLocks/>
            </p:cNvSpPr>
            <p:nvPr/>
          </p:nvSpPr>
          <p:spPr bwMode="auto">
            <a:xfrm>
              <a:off x="3747" y="3298"/>
              <a:ext cx="26" cy="24"/>
            </a:xfrm>
            <a:custGeom>
              <a:avLst/>
              <a:gdLst>
                <a:gd name="T0" fmla="*/ 0 w 44"/>
                <a:gd name="T1" fmla="*/ 1 h 45"/>
                <a:gd name="T2" fmla="*/ 1 w 44"/>
                <a:gd name="T3" fmla="*/ 0 h 45"/>
                <a:gd name="T4" fmla="*/ 1 w 44"/>
                <a:gd name="T5" fmla="*/ 0 h 45"/>
                <a:gd name="T6" fmla="*/ 1 w 44"/>
                <a:gd name="T7" fmla="*/ 1 h 45"/>
                <a:gd name="T8" fmla="*/ 1 w 44"/>
                <a:gd name="T9" fmla="*/ 1 h 45"/>
                <a:gd name="T10" fmla="*/ 1 w 44"/>
                <a:gd name="T11" fmla="*/ 1 h 45"/>
                <a:gd name="T12" fmla="*/ 1 w 44"/>
                <a:gd name="T13" fmla="*/ 1 h 45"/>
                <a:gd name="T14" fmla="*/ 1 w 44"/>
                <a:gd name="T15" fmla="*/ 1 h 45"/>
                <a:gd name="T16" fmla="*/ 1 w 44"/>
                <a:gd name="T17" fmla="*/ 1 h 45"/>
                <a:gd name="T18" fmla="*/ 1 w 44"/>
                <a:gd name="T19" fmla="*/ 1 h 45"/>
                <a:gd name="T20" fmla="*/ 0 w 44"/>
                <a:gd name="T21" fmla="*/ 1 h 45"/>
                <a:gd name="T22" fmla="*/ 0 w 44"/>
                <a:gd name="T23" fmla="*/ 1 h 4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4"/>
                <a:gd name="T37" fmla="*/ 0 h 45"/>
                <a:gd name="T38" fmla="*/ 44 w 44"/>
                <a:gd name="T39" fmla="*/ 45 h 4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4" h="45">
                  <a:moveTo>
                    <a:pt x="0" y="12"/>
                  </a:moveTo>
                  <a:lnTo>
                    <a:pt x="11" y="0"/>
                  </a:lnTo>
                  <a:lnTo>
                    <a:pt x="26" y="0"/>
                  </a:lnTo>
                  <a:lnTo>
                    <a:pt x="40" y="16"/>
                  </a:lnTo>
                  <a:lnTo>
                    <a:pt x="40" y="23"/>
                  </a:lnTo>
                  <a:lnTo>
                    <a:pt x="44" y="23"/>
                  </a:lnTo>
                  <a:lnTo>
                    <a:pt x="26" y="45"/>
                  </a:lnTo>
                  <a:lnTo>
                    <a:pt x="11" y="40"/>
                  </a:lnTo>
                  <a:lnTo>
                    <a:pt x="4" y="33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36" name="Freeform 164"/>
            <p:cNvSpPr>
              <a:spLocks/>
            </p:cNvSpPr>
            <p:nvPr/>
          </p:nvSpPr>
          <p:spPr bwMode="auto">
            <a:xfrm>
              <a:off x="3763" y="3309"/>
              <a:ext cx="36" cy="31"/>
            </a:xfrm>
            <a:custGeom>
              <a:avLst/>
              <a:gdLst>
                <a:gd name="T0" fmla="*/ 1 w 61"/>
                <a:gd name="T1" fmla="*/ 1 h 61"/>
                <a:gd name="T2" fmla="*/ 1 w 61"/>
                <a:gd name="T3" fmla="*/ 1 h 61"/>
                <a:gd name="T4" fmla="*/ 1 w 61"/>
                <a:gd name="T5" fmla="*/ 1 h 61"/>
                <a:gd name="T6" fmla="*/ 1 w 61"/>
                <a:gd name="T7" fmla="*/ 1 h 61"/>
                <a:gd name="T8" fmla="*/ 1 w 61"/>
                <a:gd name="T9" fmla="*/ 1 h 61"/>
                <a:gd name="T10" fmla="*/ 1 w 61"/>
                <a:gd name="T11" fmla="*/ 0 h 61"/>
                <a:gd name="T12" fmla="*/ 1 w 61"/>
                <a:gd name="T13" fmla="*/ 1 h 61"/>
                <a:gd name="T14" fmla="*/ 0 w 61"/>
                <a:gd name="T15" fmla="*/ 1 h 61"/>
                <a:gd name="T16" fmla="*/ 0 w 61"/>
                <a:gd name="T17" fmla="*/ 1 h 61"/>
                <a:gd name="T18" fmla="*/ 1 w 61"/>
                <a:gd name="T19" fmla="*/ 1 h 61"/>
                <a:gd name="T20" fmla="*/ 1 w 61"/>
                <a:gd name="T21" fmla="*/ 1 h 61"/>
                <a:gd name="T22" fmla="*/ 1 w 61"/>
                <a:gd name="T23" fmla="*/ 1 h 6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1"/>
                <a:gd name="T37" fmla="*/ 0 h 61"/>
                <a:gd name="T38" fmla="*/ 61 w 61"/>
                <a:gd name="T39" fmla="*/ 61 h 6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1" h="61">
                  <a:moveTo>
                    <a:pt x="59" y="61"/>
                  </a:moveTo>
                  <a:lnTo>
                    <a:pt x="61" y="42"/>
                  </a:lnTo>
                  <a:lnTo>
                    <a:pt x="47" y="33"/>
                  </a:lnTo>
                  <a:lnTo>
                    <a:pt x="44" y="14"/>
                  </a:lnTo>
                  <a:lnTo>
                    <a:pt x="37" y="19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0" y="24"/>
                  </a:lnTo>
                  <a:lnTo>
                    <a:pt x="47" y="61"/>
                  </a:lnTo>
                  <a:lnTo>
                    <a:pt x="59" y="61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37" name="Freeform 165"/>
            <p:cNvSpPr>
              <a:spLocks/>
            </p:cNvSpPr>
            <p:nvPr/>
          </p:nvSpPr>
          <p:spPr bwMode="auto">
            <a:xfrm>
              <a:off x="3789" y="3292"/>
              <a:ext cx="53" cy="48"/>
            </a:xfrm>
            <a:custGeom>
              <a:avLst/>
              <a:gdLst>
                <a:gd name="T0" fmla="*/ 2 w 90"/>
                <a:gd name="T1" fmla="*/ 1 h 94"/>
                <a:gd name="T2" fmla="*/ 2 w 90"/>
                <a:gd name="T3" fmla="*/ 1 h 94"/>
                <a:gd name="T4" fmla="*/ 2 w 90"/>
                <a:gd name="T5" fmla="*/ 1 h 94"/>
                <a:gd name="T6" fmla="*/ 2 w 90"/>
                <a:gd name="T7" fmla="*/ 1 h 94"/>
                <a:gd name="T8" fmla="*/ 2 w 90"/>
                <a:gd name="T9" fmla="*/ 1 h 94"/>
                <a:gd name="T10" fmla="*/ 2 w 90"/>
                <a:gd name="T11" fmla="*/ 1 h 94"/>
                <a:gd name="T12" fmla="*/ 1 w 90"/>
                <a:gd name="T13" fmla="*/ 1 h 94"/>
                <a:gd name="T14" fmla="*/ 1 w 90"/>
                <a:gd name="T15" fmla="*/ 1 h 94"/>
                <a:gd name="T16" fmla="*/ 1 w 90"/>
                <a:gd name="T17" fmla="*/ 1 h 94"/>
                <a:gd name="T18" fmla="*/ 1 w 90"/>
                <a:gd name="T19" fmla="*/ 0 h 94"/>
                <a:gd name="T20" fmla="*/ 1 w 90"/>
                <a:gd name="T21" fmla="*/ 1 h 94"/>
                <a:gd name="T22" fmla="*/ 1 w 90"/>
                <a:gd name="T23" fmla="*/ 1 h 94"/>
                <a:gd name="T24" fmla="*/ 1 w 90"/>
                <a:gd name="T25" fmla="*/ 1 h 94"/>
                <a:gd name="T26" fmla="*/ 1 w 90"/>
                <a:gd name="T27" fmla="*/ 1 h 94"/>
                <a:gd name="T28" fmla="*/ 1 w 90"/>
                <a:gd name="T29" fmla="*/ 1 h 94"/>
                <a:gd name="T30" fmla="*/ 1 w 90"/>
                <a:gd name="T31" fmla="*/ 1 h 94"/>
                <a:gd name="T32" fmla="*/ 0 w 90"/>
                <a:gd name="T33" fmla="*/ 1 h 94"/>
                <a:gd name="T34" fmla="*/ 1 w 90"/>
                <a:gd name="T35" fmla="*/ 1 h 94"/>
                <a:gd name="T36" fmla="*/ 1 w 90"/>
                <a:gd name="T37" fmla="*/ 1 h 94"/>
                <a:gd name="T38" fmla="*/ 1 w 90"/>
                <a:gd name="T39" fmla="*/ 1 h 94"/>
                <a:gd name="T40" fmla="*/ 1 w 90"/>
                <a:gd name="T41" fmla="*/ 1 h 94"/>
                <a:gd name="T42" fmla="*/ 1 w 90"/>
                <a:gd name="T43" fmla="*/ 1 h 94"/>
                <a:gd name="T44" fmla="*/ 2 w 90"/>
                <a:gd name="T45" fmla="*/ 1 h 94"/>
                <a:gd name="T46" fmla="*/ 2 w 90"/>
                <a:gd name="T47" fmla="*/ 1 h 94"/>
                <a:gd name="T48" fmla="*/ 2 w 90"/>
                <a:gd name="T49" fmla="*/ 1 h 9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90"/>
                <a:gd name="T76" fmla="*/ 0 h 94"/>
                <a:gd name="T77" fmla="*/ 90 w 90"/>
                <a:gd name="T78" fmla="*/ 94 h 9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90" h="94">
                  <a:moveTo>
                    <a:pt x="81" y="85"/>
                  </a:moveTo>
                  <a:lnTo>
                    <a:pt x="88" y="85"/>
                  </a:lnTo>
                  <a:lnTo>
                    <a:pt x="81" y="61"/>
                  </a:lnTo>
                  <a:lnTo>
                    <a:pt x="90" y="38"/>
                  </a:lnTo>
                  <a:lnTo>
                    <a:pt x="88" y="19"/>
                  </a:lnTo>
                  <a:lnTo>
                    <a:pt x="74" y="12"/>
                  </a:lnTo>
                  <a:lnTo>
                    <a:pt x="55" y="14"/>
                  </a:lnTo>
                  <a:lnTo>
                    <a:pt x="50" y="5"/>
                  </a:lnTo>
                  <a:lnTo>
                    <a:pt x="38" y="7"/>
                  </a:lnTo>
                  <a:lnTo>
                    <a:pt x="31" y="0"/>
                  </a:lnTo>
                  <a:lnTo>
                    <a:pt x="19" y="7"/>
                  </a:lnTo>
                  <a:lnTo>
                    <a:pt x="8" y="9"/>
                  </a:lnTo>
                  <a:lnTo>
                    <a:pt x="5" y="16"/>
                  </a:lnTo>
                  <a:lnTo>
                    <a:pt x="12" y="33"/>
                  </a:lnTo>
                  <a:lnTo>
                    <a:pt x="5" y="38"/>
                  </a:lnTo>
                  <a:lnTo>
                    <a:pt x="8" y="45"/>
                  </a:lnTo>
                  <a:lnTo>
                    <a:pt x="0" y="47"/>
                  </a:lnTo>
                  <a:lnTo>
                    <a:pt x="3" y="66"/>
                  </a:lnTo>
                  <a:lnTo>
                    <a:pt x="17" y="75"/>
                  </a:lnTo>
                  <a:lnTo>
                    <a:pt x="15" y="94"/>
                  </a:lnTo>
                  <a:lnTo>
                    <a:pt x="38" y="87"/>
                  </a:lnTo>
                  <a:lnTo>
                    <a:pt x="69" y="83"/>
                  </a:lnTo>
                  <a:lnTo>
                    <a:pt x="81" y="85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38" name="Freeform 166"/>
            <p:cNvSpPr>
              <a:spLocks/>
            </p:cNvSpPr>
            <p:nvPr/>
          </p:nvSpPr>
          <p:spPr bwMode="auto">
            <a:xfrm>
              <a:off x="3818" y="3258"/>
              <a:ext cx="67" cy="43"/>
            </a:xfrm>
            <a:custGeom>
              <a:avLst/>
              <a:gdLst>
                <a:gd name="T0" fmla="*/ 0 w 113"/>
                <a:gd name="T1" fmla="*/ 1 h 83"/>
                <a:gd name="T2" fmla="*/ 1 w 113"/>
                <a:gd name="T3" fmla="*/ 1 h 83"/>
                <a:gd name="T4" fmla="*/ 1 w 113"/>
                <a:gd name="T5" fmla="*/ 1 h 83"/>
                <a:gd name="T6" fmla="*/ 1 w 113"/>
                <a:gd name="T7" fmla="*/ 1 h 83"/>
                <a:gd name="T8" fmla="*/ 2 w 113"/>
                <a:gd name="T9" fmla="*/ 1 h 83"/>
                <a:gd name="T10" fmla="*/ 2 w 113"/>
                <a:gd name="T11" fmla="*/ 0 h 83"/>
                <a:gd name="T12" fmla="*/ 2 w 113"/>
                <a:gd name="T13" fmla="*/ 0 h 83"/>
                <a:gd name="T14" fmla="*/ 2 w 113"/>
                <a:gd name="T15" fmla="*/ 1 h 83"/>
                <a:gd name="T16" fmla="*/ 2 w 113"/>
                <a:gd name="T17" fmla="*/ 1 h 83"/>
                <a:gd name="T18" fmla="*/ 3 w 113"/>
                <a:gd name="T19" fmla="*/ 1 h 83"/>
                <a:gd name="T20" fmla="*/ 3 w 113"/>
                <a:gd name="T21" fmla="*/ 1 h 83"/>
                <a:gd name="T22" fmla="*/ 3 w 113"/>
                <a:gd name="T23" fmla="*/ 1 h 83"/>
                <a:gd name="T24" fmla="*/ 2 w 113"/>
                <a:gd name="T25" fmla="*/ 1 h 83"/>
                <a:gd name="T26" fmla="*/ 2 w 113"/>
                <a:gd name="T27" fmla="*/ 1 h 83"/>
                <a:gd name="T28" fmla="*/ 2 w 113"/>
                <a:gd name="T29" fmla="*/ 1 h 83"/>
                <a:gd name="T30" fmla="*/ 1 w 113"/>
                <a:gd name="T31" fmla="*/ 1 h 83"/>
                <a:gd name="T32" fmla="*/ 1 w 113"/>
                <a:gd name="T33" fmla="*/ 1 h 83"/>
                <a:gd name="T34" fmla="*/ 1 w 113"/>
                <a:gd name="T35" fmla="*/ 1 h 83"/>
                <a:gd name="T36" fmla="*/ 1 w 113"/>
                <a:gd name="T37" fmla="*/ 1 h 83"/>
                <a:gd name="T38" fmla="*/ 1 w 113"/>
                <a:gd name="T39" fmla="*/ 1 h 83"/>
                <a:gd name="T40" fmla="*/ 0 w 113"/>
                <a:gd name="T41" fmla="*/ 1 h 83"/>
                <a:gd name="T42" fmla="*/ 0 w 113"/>
                <a:gd name="T43" fmla="*/ 1 h 8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13"/>
                <a:gd name="T67" fmla="*/ 0 h 83"/>
                <a:gd name="T68" fmla="*/ 113 w 113"/>
                <a:gd name="T69" fmla="*/ 83 h 8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13" h="83">
                  <a:moveTo>
                    <a:pt x="0" y="69"/>
                  </a:moveTo>
                  <a:lnTo>
                    <a:pt x="2" y="52"/>
                  </a:lnTo>
                  <a:lnTo>
                    <a:pt x="21" y="26"/>
                  </a:lnTo>
                  <a:lnTo>
                    <a:pt x="40" y="21"/>
                  </a:lnTo>
                  <a:lnTo>
                    <a:pt x="66" y="2"/>
                  </a:lnTo>
                  <a:lnTo>
                    <a:pt x="80" y="0"/>
                  </a:lnTo>
                  <a:lnTo>
                    <a:pt x="80" y="14"/>
                  </a:lnTo>
                  <a:lnTo>
                    <a:pt x="99" y="36"/>
                  </a:lnTo>
                  <a:lnTo>
                    <a:pt x="106" y="33"/>
                  </a:lnTo>
                  <a:lnTo>
                    <a:pt x="113" y="45"/>
                  </a:lnTo>
                  <a:lnTo>
                    <a:pt x="90" y="59"/>
                  </a:lnTo>
                  <a:lnTo>
                    <a:pt x="73" y="59"/>
                  </a:lnTo>
                  <a:lnTo>
                    <a:pt x="38" y="59"/>
                  </a:lnTo>
                  <a:lnTo>
                    <a:pt x="33" y="64"/>
                  </a:lnTo>
                  <a:lnTo>
                    <a:pt x="38" y="83"/>
                  </a:lnTo>
                  <a:lnTo>
                    <a:pt x="24" y="76"/>
                  </a:lnTo>
                  <a:lnTo>
                    <a:pt x="5" y="78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39" name="Freeform 167"/>
            <p:cNvSpPr>
              <a:spLocks/>
            </p:cNvSpPr>
            <p:nvPr/>
          </p:nvSpPr>
          <p:spPr bwMode="auto">
            <a:xfrm>
              <a:off x="3837" y="3289"/>
              <a:ext cx="38" cy="50"/>
            </a:xfrm>
            <a:custGeom>
              <a:avLst/>
              <a:gdLst>
                <a:gd name="T0" fmla="*/ 1 w 64"/>
                <a:gd name="T1" fmla="*/ 1 h 95"/>
                <a:gd name="T2" fmla="*/ 1 w 64"/>
                <a:gd name="T3" fmla="*/ 1 h 95"/>
                <a:gd name="T4" fmla="*/ 1 w 64"/>
                <a:gd name="T5" fmla="*/ 0 h 95"/>
                <a:gd name="T6" fmla="*/ 1 w 64"/>
                <a:gd name="T7" fmla="*/ 0 h 95"/>
                <a:gd name="T8" fmla="*/ 1 w 64"/>
                <a:gd name="T9" fmla="*/ 1 h 95"/>
                <a:gd name="T10" fmla="*/ 1 w 64"/>
                <a:gd name="T11" fmla="*/ 1 h 95"/>
                <a:gd name="T12" fmla="*/ 2 w 64"/>
                <a:gd name="T13" fmla="*/ 1 h 95"/>
                <a:gd name="T14" fmla="*/ 2 w 64"/>
                <a:gd name="T15" fmla="*/ 1 h 95"/>
                <a:gd name="T16" fmla="*/ 1 w 64"/>
                <a:gd name="T17" fmla="*/ 1 h 95"/>
                <a:gd name="T18" fmla="*/ 0 w 64"/>
                <a:gd name="T19" fmla="*/ 1 h 95"/>
                <a:gd name="T20" fmla="*/ 0 w 64"/>
                <a:gd name="T21" fmla="*/ 1 h 95"/>
                <a:gd name="T22" fmla="*/ 1 w 64"/>
                <a:gd name="T23" fmla="*/ 1 h 95"/>
                <a:gd name="T24" fmla="*/ 0 w 64"/>
                <a:gd name="T25" fmla="*/ 1 h 95"/>
                <a:gd name="T26" fmla="*/ 1 w 64"/>
                <a:gd name="T27" fmla="*/ 1 h 95"/>
                <a:gd name="T28" fmla="*/ 1 w 64"/>
                <a:gd name="T29" fmla="*/ 1 h 9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4"/>
                <a:gd name="T46" fmla="*/ 0 h 95"/>
                <a:gd name="T47" fmla="*/ 64 w 64"/>
                <a:gd name="T48" fmla="*/ 95 h 9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4" h="95">
                  <a:moveTo>
                    <a:pt x="7" y="24"/>
                  </a:moveTo>
                  <a:lnTo>
                    <a:pt x="2" y="5"/>
                  </a:lnTo>
                  <a:lnTo>
                    <a:pt x="7" y="0"/>
                  </a:lnTo>
                  <a:lnTo>
                    <a:pt x="42" y="0"/>
                  </a:lnTo>
                  <a:lnTo>
                    <a:pt x="54" y="31"/>
                  </a:lnTo>
                  <a:lnTo>
                    <a:pt x="56" y="64"/>
                  </a:lnTo>
                  <a:lnTo>
                    <a:pt x="64" y="76"/>
                  </a:lnTo>
                  <a:lnTo>
                    <a:pt x="16" y="95"/>
                  </a:lnTo>
                  <a:lnTo>
                    <a:pt x="0" y="90"/>
                  </a:lnTo>
                  <a:lnTo>
                    <a:pt x="7" y="90"/>
                  </a:lnTo>
                  <a:lnTo>
                    <a:pt x="0" y="66"/>
                  </a:lnTo>
                  <a:lnTo>
                    <a:pt x="9" y="43"/>
                  </a:lnTo>
                  <a:lnTo>
                    <a:pt x="7" y="24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40" name="Freeform 168"/>
            <p:cNvSpPr>
              <a:spLocks/>
            </p:cNvSpPr>
            <p:nvPr/>
          </p:nvSpPr>
          <p:spPr bwMode="auto">
            <a:xfrm>
              <a:off x="3862" y="3289"/>
              <a:ext cx="18" cy="40"/>
            </a:xfrm>
            <a:custGeom>
              <a:avLst/>
              <a:gdLst>
                <a:gd name="T0" fmla="*/ 1 w 31"/>
                <a:gd name="T1" fmla="*/ 0 h 76"/>
                <a:gd name="T2" fmla="*/ 0 w 31"/>
                <a:gd name="T3" fmla="*/ 0 h 76"/>
                <a:gd name="T4" fmla="*/ 1 w 31"/>
                <a:gd name="T5" fmla="*/ 1 h 76"/>
                <a:gd name="T6" fmla="*/ 1 w 31"/>
                <a:gd name="T7" fmla="*/ 1 h 76"/>
                <a:gd name="T8" fmla="*/ 1 w 31"/>
                <a:gd name="T9" fmla="*/ 1 h 76"/>
                <a:gd name="T10" fmla="*/ 1 w 31"/>
                <a:gd name="T11" fmla="*/ 1 h 76"/>
                <a:gd name="T12" fmla="*/ 1 w 31"/>
                <a:gd name="T13" fmla="*/ 1 h 76"/>
                <a:gd name="T14" fmla="*/ 1 w 31"/>
                <a:gd name="T15" fmla="*/ 1 h 76"/>
                <a:gd name="T16" fmla="*/ 1 w 31"/>
                <a:gd name="T17" fmla="*/ 1 h 76"/>
                <a:gd name="T18" fmla="*/ 1 w 31"/>
                <a:gd name="T19" fmla="*/ 1 h 76"/>
                <a:gd name="T20" fmla="*/ 1 w 31"/>
                <a:gd name="T21" fmla="*/ 1 h 76"/>
                <a:gd name="T22" fmla="*/ 1 w 31"/>
                <a:gd name="T23" fmla="*/ 0 h 76"/>
                <a:gd name="T24" fmla="*/ 1 w 31"/>
                <a:gd name="T25" fmla="*/ 0 h 7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1"/>
                <a:gd name="T40" fmla="*/ 0 h 76"/>
                <a:gd name="T41" fmla="*/ 31 w 31"/>
                <a:gd name="T42" fmla="*/ 76 h 7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1" h="76">
                  <a:moveTo>
                    <a:pt x="17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4" y="64"/>
                  </a:lnTo>
                  <a:lnTo>
                    <a:pt x="22" y="76"/>
                  </a:lnTo>
                  <a:lnTo>
                    <a:pt x="31" y="71"/>
                  </a:lnTo>
                  <a:lnTo>
                    <a:pt x="31" y="38"/>
                  </a:lnTo>
                  <a:lnTo>
                    <a:pt x="24" y="19"/>
                  </a:lnTo>
                  <a:lnTo>
                    <a:pt x="14" y="1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41" name="Freeform 169"/>
            <p:cNvSpPr>
              <a:spLocks/>
            </p:cNvSpPr>
            <p:nvPr/>
          </p:nvSpPr>
          <p:spPr bwMode="auto">
            <a:xfrm>
              <a:off x="3870" y="3279"/>
              <a:ext cx="26" cy="47"/>
            </a:xfrm>
            <a:custGeom>
              <a:avLst/>
              <a:gdLst>
                <a:gd name="T0" fmla="*/ 1 w 45"/>
                <a:gd name="T1" fmla="*/ 1 h 90"/>
                <a:gd name="T2" fmla="*/ 1 w 45"/>
                <a:gd name="T3" fmla="*/ 1 h 90"/>
                <a:gd name="T4" fmla="*/ 1 w 45"/>
                <a:gd name="T5" fmla="*/ 1 h 90"/>
                <a:gd name="T6" fmla="*/ 0 w 45"/>
                <a:gd name="T7" fmla="*/ 1 h 90"/>
                <a:gd name="T8" fmla="*/ 1 w 45"/>
                <a:gd name="T9" fmla="*/ 1 h 90"/>
                <a:gd name="T10" fmla="*/ 1 w 45"/>
                <a:gd name="T11" fmla="*/ 1 h 90"/>
                <a:gd name="T12" fmla="*/ 1 w 45"/>
                <a:gd name="T13" fmla="*/ 1 h 90"/>
                <a:gd name="T14" fmla="*/ 1 w 45"/>
                <a:gd name="T15" fmla="*/ 1 h 90"/>
                <a:gd name="T16" fmla="*/ 1 w 45"/>
                <a:gd name="T17" fmla="*/ 1 h 90"/>
                <a:gd name="T18" fmla="*/ 1 w 45"/>
                <a:gd name="T19" fmla="*/ 1 h 90"/>
                <a:gd name="T20" fmla="*/ 1 w 45"/>
                <a:gd name="T21" fmla="*/ 1 h 90"/>
                <a:gd name="T22" fmla="*/ 1 w 45"/>
                <a:gd name="T23" fmla="*/ 1 h 90"/>
                <a:gd name="T24" fmla="*/ 1 w 45"/>
                <a:gd name="T25" fmla="*/ 1 h 90"/>
                <a:gd name="T26" fmla="*/ 1 w 45"/>
                <a:gd name="T27" fmla="*/ 1 h 90"/>
                <a:gd name="T28" fmla="*/ 1 w 45"/>
                <a:gd name="T29" fmla="*/ 0 h 90"/>
                <a:gd name="T30" fmla="*/ 1 w 45"/>
                <a:gd name="T31" fmla="*/ 0 h 90"/>
                <a:gd name="T32" fmla="*/ 1 w 45"/>
                <a:gd name="T33" fmla="*/ 1 h 90"/>
                <a:gd name="T34" fmla="*/ 1 w 45"/>
                <a:gd name="T35" fmla="*/ 1 h 9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5"/>
                <a:gd name="T55" fmla="*/ 0 h 90"/>
                <a:gd name="T56" fmla="*/ 45 w 45"/>
                <a:gd name="T57" fmla="*/ 90 h 9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5" h="90">
                  <a:moveTo>
                    <a:pt x="26" y="5"/>
                  </a:moveTo>
                  <a:lnTo>
                    <a:pt x="3" y="19"/>
                  </a:lnTo>
                  <a:lnTo>
                    <a:pt x="0" y="29"/>
                  </a:lnTo>
                  <a:lnTo>
                    <a:pt x="10" y="38"/>
                  </a:lnTo>
                  <a:lnTo>
                    <a:pt x="17" y="57"/>
                  </a:lnTo>
                  <a:lnTo>
                    <a:pt x="17" y="90"/>
                  </a:lnTo>
                  <a:lnTo>
                    <a:pt x="31" y="90"/>
                  </a:lnTo>
                  <a:lnTo>
                    <a:pt x="31" y="59"/>
                  </a:lnTo>
                  <a:lnTo>
                    <a:pt x="45" y="26"/>
                  </a:lnTo>
                  <a:lnTo>
                    <a:pt x="43" y="10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5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42" name="Freeform 170"/>
            <p:cNvSpPr>
              <a:spLocks/>
            </p:cNvSpPr>
            <p:nvPr/>
          </p:nvSpPr>
          <p:spPr bwMode="auto">
            <a:xfrm>
              <a:off x="3888" y="3267"/>
              <a:ext cx="104" cy="75"/>
            </a:xfrm>
            <a:custGeom>
              <a:avLst/>
              <a:gdLst>
                <a:gd name="T0" fmla="*/ 2 w 175"/>
                <a:gd name="T1" fmla="*/ 2 h 144"/>
                <a:gd name="T2" fmla="*/ 2 w 175"/>
                <a:gd name="T3" fmla="*/ 1 h 144"/>
                <a:gd name="T4" fmla="*/ 3 w 175"/>
                <a:gd name="T5" fmla="*/ 1 h 144"/>
                <a:gd name="T6" fmla="*/ 3 w 175"/>
                <a:gd name="T7" fmla="*/ 1 h 144"/>
                <a:gd name="T8" fmla="*/ 4 w 175"/>
                <a:gd name="T9" fmla="*/ 1 h 144"/>
                <a:gd name="T10" fmla="*/ 4 w 175"/>
                <a:gd name="T11" fmla="*/ 1 h 144"/>
                <a:gd name="T12" fmla="*/ 4 w 175"/>
                <a:gd name="T13" fmla="*/ 1 h 144"/>
                <a:gd name="T14" fmla="*/ 5 w 175"/>
                <a:gd name="T15" fmla="*/ 1 h 144"/>
                <a:gd name="T16" fmla="*/ 4 w 175"/>
                <a:gd name="T17" fmla="*/ 1 h 144"/>
                <a:gd name="T18" fmla="*/ 4 w 175"/>
                <a:gd name="T19" fmla="*/ 1 h 144"/>
                <a:gd name="T20" fmla="*/ 4 w 175"/>
                <a:gd name="T21" fmla="*/ 0 h 144"/>
                <a:gd name="T22" fmla="*/ 4 w 175"/>
                <a:gd name="T23" fmla="*/ 0 h 144"/>
                <a:gd name="T24" fmla="*/ 4 w 175"/>
                <a:gd name="T25" fmla="*/ 1 h 144"/>
                <a:gd name="T26" fmla="*/ 3 w 175"/>
                <a:gd name="T27" fmla="*/ 1 h 144"/>
                <a:gd name="T28" fmla="*/ 2 w 175"/>
                <a:gd name="T29" fmla="*/ 1 h 144"/>
                <a:gd name="T30" fmla="*/ 2 w 175"/>
                <a:gd name="T31" fmla="*/ 1 h 144"/>
                <a:gd name="T32" fmla="*/ 2 w 175"/>
                <a:gd name="T33" fmla="*/ 1 h 144"/>
                <a:gd name="T34" fmla="*/ 1 w 175"/>
                <a:gd name="T35" fmla="*/ 0 h 144"/>
                <a:gd name="T36" fmla="*/ 1 w 175"/>
                <a:gd name="T37" fmla="*/ 1 h 144"/>
                <a:gd name="T38" fmla="*/ 1 w 175"/>
                <a:gd name="T39" fmla="*/ 1 h 144"/>
                <a:gd name="T40" fmla="*/ 1 w 175"/>
                <a:gd name="T41" fmla="*/ 1 h 144"/>
                <a:gd name="T42" fmla="*/ 1 w 175"/>
                <a:gd name="T43" fmla="*/ 1 h 144"/>
                <a:gd name="T44" fmla="*/ 1 w 175"/>
                <a:gd name="T45" fmla="*/ 1 h 144"/>
                <a:gd name="T46" fmla="*/ 0 w 175"/>
                <a:gd name="T47" fmla="*/ 1 h 144"/>
                <a:gd name="T48" fmla="*/ 0 w 175"/>
                <a:gd name="T49" fmla="*/ 1 h 144"/>
                <a:gd name="T50" fmla="*/ 0 w 175"/>
                <a:gd name="T51" fmla="*/ 1 h 144"/>
                <a:gd name="T52" fmla="*/ 1 w 175"/>
                <a:gd name="T53" fmla="*/ 1 h 144"/>
                <a:gd name="T54" fmla="*/ 1 w 175"/>
                <a:gd name="T55" fmla="*/ 2 h 144"/>
                <a:gd name="T56" fmla="*/ 1 w 175"/>
                <a:gd name="T57" fmla="*/ 2 h 144"/>
                <a:gd name="T58" fmla="*/ 1 w 175"/>
                <a:gd name="T59" fmla="*/ 2 h 144"/>
                <a:gd name="T60" fmla="*/ 2 w 175"/>
                <a:gd name="T61" fmla="*/ 2 h 144"/>
                <a:gd name="T62" fmla="*/ 2 w 175"/>
                <a:gd name="T63" fmla="*/ 2 h 14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75"/>
                <a:gd name="T97" fmla="*/ 0 h 144"/>
                <a:gd name="T98" fmla="*/ 175 w 175"/>
                <a:gd name="T99" fmla="*/ 144 h 14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75" h="144">
                  <a:moveTo>
                    <a:pt x="83" y="137"/>
                  </a:moveTo>
                  <a:lnTo>
                    <a:pt x="102" y="106"/>
                  </a:lnTo>
                  <a:lnTo>
                    <a:pt x="116" y="104"/>
                  </a:lnTo>
                  <a:lnTo>
                    <a:pt x="123" y="111"/>
                  </a:lnTo>
                  <a:lnTo>
                    <a:pt x="130" y="108"/>
                  </a:lnTo>
                  <a:lnTo>
                    <a:pt x="149" y="75"/>
                  </a:lnTo>
                  <a:lnTo>
                    <a:pt x="158" y="45"/>
                  </a:lnTo>
                  <a:lnTo>
                    <a:pt x="175" y="33"/>
                  </a:lnTo>
                  <a:lnTo>
                    <a:pt x="168" y="21"/>
                  </a:lnTo>
                  <a:lnTo>
                    <a:pt x="168" y="11"/>
                  </a:lnTo>
                  <a:lnTo>
                    <a:pt x="161" y="0"/>
                  </a:lnTo>
                  <a:lnTo>
                    <a:pt x="156" y="0"/>
                  </a:lnTo>
                  <a:lnTo>
                    <a:pt x="142" y="9"/>
                  </a:lnTo>
                  <a:lnTo>
                    <a:pt x="116" y="9"/>
                  </a:lnTo>
                  <a:lnTo>
                    <a:pt x="97" y="16"/>
                  </a:lnTo>
                  <a:lnTo>
                    <a:pt x="76" y="9"/>
                  </a:lnTo>
                  <a:lnTo>
                    <a:pt x="64" y="14"/>
                  </a:lnTo>
                  <a:lnTo>
                    <a:pt x="43" y="0"/>
                  </a:lnTo>
                  <a:lnTo>
                    <a:pt x="29" y="2"/>
                  </a:lnTo>
                  <a:lnTo>
                    <a:pt x="14" y="19"/>
                  </a:lnTo>
                  <a:lnTo>
                    <a:pt x="12" y="33"/>
                  </a:lnTo>
                  <a:lnTo>
                    <a:pt x="14" y="49"/>
                  </a:lnTo>
                  <a:lnTo>
                    <a:pt x="0" y="82"/>
                  </a:lnTo>
                  <a:lnTo>
                    <a:pt x="0" y="113"/>
                  </a:lnTo>
                  <a:lnTo>
                    <a:pt x="26" y="113"/>
                  </a:lnTo>
                  <a:lnTo>
                    <a:pt x="33" y="120"/>
                  </a:lnTo>
                  <a:lnTo>
                    <a:pt x="40" y="139"/>
                  </a:lnTo>
                  <a:lnTo>
                    <a:pt x="47" y="144"/>
                  </a:lnTo>
                  <a:lnTo>
                    <a:pt x="83" y="139"/>
                  </a:lnTo>
                  <a:lnTo>
                    <a:pt x="83" y="137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43" name="Freeform 171"/>
            <p:cNvSpPr>
              <a:spLocks/>
            </p:cNvSpPr>
            <p:nvPr/>
          </p:nvSpPr>
          <p:spPr bwMode="auto">
            <a:xfrm>
              <a:off x="3937" y="3273"/>
              <a:ext cx="69" cy="90"/>
            </a:xfrm>
            <a:custGeom>
              <a:avLst/>
              <a:gdLst>
                <a:gd name="T0" fmla="*/ 0 w 116"/>
                <a:gd name="T1" fmla="*/ 2 h 173"/>
                <a:gd name="T2" fmla="*/ 1 w 116"/>
                <a:gd name="T3" fmla="*/ 1 h 173"/>
                <a:gd name="T4" fmla="*/ 1 w 116"/>
                <a:gd name="T5" fmla="*/ 1 h 173"/>
                <a:gd name="T6" fmla="*/ 1 w 116"/>
                <a:gd name="T7" fmla="*/ 1 h 173"/>
                <a:gd name="T8" fmla="*/ 1 w 116"/>
                <a:gd name="T9" fmla="*/ 1 h 173"/>
                <a:gd name="T10" fmla="*/ 2 w 116"/>
                <a:gd name="T11" fmla="*/ 1 h 173"/>
                <a:gd name="T12" fmla="*/ 2 w 116"/>
                <a:gd name="T13" fmla="*/ 1 h 173"/>
                <a:gd name="T14" fmla="*/ 2 w 116"/>
                <a:gd name="T15" fmla="*/ 1 h 173"/>
                <a:gd name="T16" fmla="*/ 2 w 116"/>
                <a:gd name="T17" fmla="*/ 1 h 173"/>
                <a:gd name="T18" fmla="*/ 2 w 116"/>
                <a:gd name="T19" fmla="*/ 0 h 173"/>
                <a:gd name="T20" fmla="*/ 2 w 116"/>
                <a:gd name="T21" fmla="*/ 1 h 173"/>
                <a:gd name="T22" fmla="*/ 2 w 116"/>
                <a:gd name="T23" fmla="*/ 1 h 173"/>
                <a:gd name="T24" fmla="*/ 3 w 116"/>
                <a:gd name="T25" fmla="*/ 1 h 173"/>
                <a:gd name="T26" fmla="*/ 2 w 116"/>
                <a:gd name="T27" fmla="*/ 1 h 173"/>
                <a:gd name="T28" fmla="*/ 2 w 116"/>
                <a:gd name="T29" fmla="*/ 1 h 173"/>
                <a:gd name="T30" fmla="*/ 2 w 116"/>
                <a:gd name="T31" fmla="*/ 1 h 173"/>
                <a:gd name="T32" fmla="*/ 3 w 116"/>
                <a:gd name="T33" fmla="*/ 1 h 173"/>
                <a:gd name="T34" fmla="*/ 3 w 116"/>
                <a:gd name="T35" fmla="*/ 1 h 173"/>
                <a:gd name="T36" fmla="*/ 2 w 116"/>
                <a:gd name="T37" fmla="*/ 1 h 173"/>
                <a:gd name="T38" fmla="*/ 2 w 116"/>
                <a:gd name="T39" fmla="*/ 2 h 173"/>
                <a:gd name="T40" fmla="*/ 3 w 116"/>
                <a:gd name="T41" fmla="*/ 2 h 173"/>
                <a:gd name="T42" fmla="*/ 3 w 116"/>
                <a:gd name="T43" fmla="*/ 2 h 173"/>
                <a:gd name="T44" fmla="*/ 3 w 116"/>
                <a:gd name="T45" fmla="*/ 2 h 173"/>
                <a:gd name="T46" fmla="*/ 2 w 116"/>
                <a:gd name="T47" fmla="*/ 2 h 173"/>
                <a:gd name="T48" fmla="*/ 2 w 116"/>
                <a:gd name="T49" fmla="*/ 2 h 173"/>
                <a:gd name="T50" fmla="*/ 1 w 116"/>
                <a:gd name="T51" fmla="*/ 2 h 173"/>
                <a:gd name="T52" fmla="*/ 1 w 116"/>
                <a:gd name="T53" fmla="*/ 2 h 173"/>
                <a:gd name="T54" fmla="*/ 1 w 116"/>
                <a:gd name="T55" fmla="*/ 2 h 173"/>
                <a:gd name="T56" fmla="*/ 1 w 116"/>
                <a:gd name="T57" fmla="*/ 2 h 173"/>
                <a:gd name="T58" fmla="*/ 1 w 116"/>
                <a:gd name="T59" fmla="*/ 2 h 173"/>
                <a:gd name="T60" fmla="*/ 1 w 116"/>
                <a:gd name="T61" fmla="*/ 2 h 173"/>
                <a:gd name="T62" fmla="*/ 1 w 116"/>
                <a:gd name="T63" fmla="*/ 2 h 173"/>
                <a:gd name="T64" fmla="*/ 0 w 116"/>
                <a:gd name="T65" fmla="*/ 2 h 173"/>
                <a:gd name="T66" fmla="*/ 0 w 116"/>
                <a:gd name="T67" fmla="*/ 2 h 1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6"/>
                <a:gd name="T103" fmla="*/ 0 h 173"/>
                <a:gd name="T104" fmla="*/ 116 w 116"/>
                <a:gd name="T105" fmla="*/ 173 h 17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6" h="173">
                  <a:moveTo>
                    <a:pt x="0" y="126"/>
                  </a:moveTo>
                  <a:lnTo>
                    <a:pt x="19" y="95"/>
                  </a:lnTo>
                  <a:lnTo>
                    <a:pt x="33" y="93"/>
                  </a:lnTo>
                  <a:lnTo>
                    <a:pt x="40" y="100"/>
                  </a:lnTo>
                  <a:lnTo>
                    <a:pt x="47" y="97"/>
                  </a:lnTo>
                  <a:lnTo>
                    <a:pt x="66" y="64"/>
                  </a:lnTo>
                  <a:lnTo>
                    <a:pt x="75" y="34"/>
                  </a:lnTo>
                  <a:lnTo>
                    <a:pt x="92" y="22"/>
                  </a:lnTo>
                  <a:lnTo>
                    <a:pt x="85" y="10"/>
                  </a:lnTo>
                  <a:lnTo>
                    <a:pt x="85" y="0"/>
                  </a:lnTo>
                  <a:lnTo>
                    <a:pt x="92" y="5"/>
                  </a:lnTo>
                  <a:lnTo>
                    <a:pt x="104" y="45"/>
                  </a:lnTo>
                  <a:lnTo>
                    <a:pt x="90" y="48"/>
                  </a:lnTo>
                  <a:lnTo>
                    <a:pt x="85" y="57"/>
                  </a:lnTo>
                  <a:lnTo>
                    <a:pt x="99" y="69"/>
                  </a:lnTo>
                  <a:lnTo>
                    <a:pt x="104" y="86"/>
                  </a:lnTo>
                  <a:lnTo>
                    <a:pt x="104" y="88"/>
                  </a:lnTo>
                  <a:lnTo>
                    <a:pt x="92" y="111"/>
                  </a:lnTo>
                  <a:lnTo>
                    <a:pt x="94" y="126"/>
                  </a:lnTo>
                  <a:lnTo>
                    <a:pt x="116" y="154"/>
                  </a:lnTo>
                  <a:lnTo>
                    <a:pt x="116" y="173"/>
                  </a:lnTo>
                  <a:lnTo>
                    <a:pt x="73" y="163"/>
                  </a:lnTo>
                  <a:lnTo>
                    <a:pt x="45" y="163"/>
                  </a:lnTo>
                  <a:lnTo>
                    <a:pt x="42" y="163"/>
                  </a:lnTo>
                  <a:lnTo>
                    <a:pt x="19" y="163"/>
                  </a:lnTo>
                  <a:lnTo>
                    <a:pt x="23" y="152"/>
                  </a:lnTo>
                  <a:lnTo>
                    <a:pt x="16" y="137"/>
                  </a:lnTo>
                  <a:lnTo>
                    <a:pt x="9" y="137"/>
                  </a:lnTo>
                  <a:lnTo>
                    <a:pt x="0" y="128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44" name="Freeform 172"/>
            <p:cNvSpPr>
              <a:spLocks/>
            </p:cNvSpPr>
            <p:nvPr/>
          </p:nvSpPr>
          <p:spPr bwMode="auto">
            <a:xfrm>
              <a:off x="3946" y="3358"/>
              <a:ext cx="18" cy="10"/>
            </a:xfrm>
            <a:custGeom>
              <a:avLst/>
              <a:gdLst>
                <a:gd name="T0" fmla="*/ 1 w 31"/>
                <a:gd name="T1" fmla="*/ 0 h 19"/>
                <a:gd name="T2" fmla="*/ 1 w 31"/>
                <a:gd name="T3" fmla="*/ 1 h 19"/>
                <a:gd name="T4" fmla="*/ 1 w 31"/>
                <a:gd name="T5" fmla="*/ 1 h 19"/>
                <a:gd name="T6" fmla="*/ 1 w 31"/>
                <a:gd name="T7" fmla="*/ 1 h 19"/>
                <a:gd name="T8" fmla="*/ 0 w 31"/>
                <a:gd name="T9" fmla="*/ 1 h 19"/>
                <a:gd name="T10" fmla="*/ 1 w 31"/>
                <a:gd name="T11" fmla="*/ 0 h 19"/>
                <a:gd name="T12" fmla="*/ 1 w 31"/>
                <a:gd name="T13" fmla="*/ 0 h 19"/>
                <a:gd name="T14" fmla="*/ 1 w 31"/>
                <a:gd name="T15" fmla="*/ 0 h 19"/>
                <a:gd name="T16" fmla="*/ 1 w 31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"/>
                <a:gd name="T28" fmla="*/ 0 h 19"/>
                <a:gd name="T29" fmla="*/ 31 w 31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" h="19">
                  <a:moveTo>
                    <a:pt x="28" y="0"/>
                  </a:moveTo>
                  <a:lnTo>
                    <a:pt x="31" y="17"/>
                  </a:lnTo>
                  <a:lnTo>
                    <a:pt x="5" y="19"/>
                  </a:lnTo>
                  <a:lnTo>
                    <a:pt x="0" y="17"/>
                  </a:lnTo>
                  <a:lnTo>
                    <a:pt x="5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45" name="Freeform 173"/>
            <p:cNvSpPr>
              <a:spLocks/>
            </p:cNvSpPr>
            <p:nvPr/>
          </p:nvSpPr>
          <p:spPr bwMode="auto">
            <a:xfrm>
              <a:off x="3942" y="3358"/>
              <a:ext cx="49" cy="48"/>
            </a:xfrm>
            <a:custGeom>
              <a:avLst/>
              <a:gdLst>
                <a:gd name="T0" fmla="*/ 1 w 83"/>
                <a:gd name="T1" fmla="*/ 1 h 93"/>
                <a:gd name="T2" fmla="*/ 1 w 83"/>
                <a:gd name="T3" fmla="*/ 1 h 93"/>
                <a:gd name="T4" fmla="*/ 1 w 83"/>
                <a:gd name="T5" fmla="*/ 0 h 93"/>
                <a:gd name="T6" fmla="*/ 1 w 83"/>
                <a:gd name="T7" fmla="*/ 0 h 93"/>
                <a:gd name="T8" fmla="*/ 2 w 83"/>
                <a:gd name="T9" fmla="*/ 0 h 93"/>
                <a:gd name="T10" fmla="*/ 2 w 83"/>
                <a:gd name="T11" fmla="*/ 1 h 93"/>
                <a:gd name="T12" fmla="*/ 2 w 83"/>
                <a:gd name="T13" fmla="*/ 1 h 93"/>
                <a:gd name="T14" fmla="*/ 2 w 83"/>
                <a:gd name="T15" fmla="*/ 1 h 93"/>
                <a:gd name="T16" fmla="*/ 2 w 83"/>
                <a:gd name="T17" fmla="*/ 1 h 93"/>
                <a:gd name="T18" fmla="*/ 2 w 83"/>
                <a:gd name="T19" fmla="*/ 1 h 93"/>
                <a:gd name="T20" fmla="*/ 1 w 83"/>
                <a:gd name="T21" fmla="*/ 1 h 93"/>
                <a:gd name="T22" fmla="*/ 1 w 83"/>
                <a:gd name="T23" fmla="*/ 1 h 93"/>
                <a:gd name="T24" fmla="*/ 1 w 83"/>
                <a:gd name="T25" fmla="*/ 1 h 93"/>
                <a:gd name="T26" fmla="*/ 1 w 83"/>
                <a:gd name="T27" fmla="*/ 1 h 93"/>
                <a:gd name="T28" fmla="*/ 1 w 83"/>
                <a:gd name="T29" fmla="*/ 1 h 93"/>
                <a:gd name="T30" fmla="*/ 1 w 83"/>
                <a:gd name="T31" fmla="*/ 1 h 93"/>
                <a:gd name="T32" fmla="*/ 1 w 83"/>
                <a:gd name="T33" fmla="*/ 1 h 93"/>
                <a:gd name="T34" fmla="*/ 0 w 83"/>
                <a:gd name="T35" fmla="*/ 1 h 93"/>
                <a:gd name="T36" fmla="*/ 1 w 83"/>
                <a:gd name="T37" fmla="*/ 1 h 93"/>
                <a:gd name="T38" fmla="*/ 1 w 83"/>
                <a:gd name="T39" fmla="*/ 1 h 93"/>
                <a:gd name="T40" fmla="*/ 1 w 83"/>
                <a:gd name="T41" fmla="*/ 1 h 93"/>
                <a:gd name="T42" fmla="*/ 1 w 83"/>
                <a:gd name="T43" fmla="*/ 1 h 9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3"/>
                <a:gd name="T67" fmla="*/ 0 h 93"/>
                <a:gd name="T68" fmla="*/ 83 w 83"/>
                <a:gd name="T69" fmla="*/ 93 h 9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3" h="93">
                  <a:moveTo>
                    <a:pt x="12" y="19"/>
                  </a:moveTo>
                  <a:lnTo>
                    <a:pt x="38" y="17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66" y="0"/>
                  </a:lnTo>
                  <a:lnTo>
                    <a:pt x="64" y="15"/>
                  </a:lnTo>
                  <a:lnTo>
                    <a:pt x="76" y="10"/>
                  </a:lnTo>
                  <a:lnTo>
                    <a:pt x="83" y="15"/>
                  </a:lnTo>
                  <a:lnTo>
                    <a:pt x="78" y="29"/>
                  </a:lnTo>
                  <a:lnTo>
                    <a:pt x="78" y="67"/>
                  </a:lnTo>
                  <a:lnTo>
                    <a:pt x="57" y="62"/>
                  </a:lnTo>
                  <a:lnTo>
                    <a:pt x="42" y="74"/>
                  </a:lnTo>
                  <a:lnTo>
                    <a:pt x="42" y="85"/>
                  </a:lnTo>
                  <a:lnTo>
                    <a:pt x="35" y="85"/>
                  </a:lnTo>
                  <a:lnTo>
                    <a:pt x="33" y="93"/>
                  </a:lnTo>
                  <a:lnTo>
                    <a:pt x="16" y="74"/>
                  </a:lnTo>
                  <a:lnTo>
                    <a:pt x="0" y="45"/>
                  </a:lnTo>
                  <a:lnTo>
                    <a:pt x="7" y="38"/>
                  </a:lnTo>
                  <a:lnTo>
                    <a:pt x="9" y="24"/>
                  </a:lnTo>
                  <a:lnTo>
                    <a:pt x="12" y="19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46" name="Freeform 174"/>
            <p:cNvSpPr>
              <a:spLocks/>
            </p:cNvSpPr>
            <p:nvPr/>
          </p:nvSpPr>
          <p:spPr bwMode="auto">
            <a:xfrm>
              <a:off x="3961" y="3347"/>
              <a:ext cx="67" cy="67"/>
            </a:xfrm>
            <a:custGeom>
              <a:avLst/>
              <a:gdLst>
                <a:gd name="T0" fmla="*/ 2 w 113"/>
                <a:gd name="T1" fmla="*/ 1 h 128"/>
                <a:gd name="T2" fmla="*/ 2 w 113"/>
                <a:gd name="T3" fmla="*/ 1 h 128"/>
                <a:gd name="T4" fmla="*/ 1 w 113"/>
                <a:gd name="T5" fmla="*/ 1 h 128"/>
                <a:gd name="T6" fmla="*/ 1 w 113"/>
                <a:gd name="T7" fmla="*/ 1 h 128"/>
                <a:gd name="T8" fmla="*/ 1 w 113"/>
                <a:gd name="T9" fmla="*/ 1 h 128"/>
                <a:gd name="T10" fmla="*/ 1 w 113"/>
                <a:gd name="T11" fmla="*/ 1 h 128"/>
                <a:gd name="T12" fmla="*/ 1 w 113"/>
                <a:gd name="T13" fmla="*/ 1 h 128"/>
                <a:gd name="T14" fmla="*/ 1 w 113"/>
                <a:gd name="T15" fmla="*/ 1 h 128"/>
                <a:gd name="T16" fmla="*/ 1 w 113"/>
                <a:gd name="T17" fmla="*/ 1 h 128"/>
                <a:gd name="T18" fmla="*/ 1 w 113"/>
                <a:gd name="T19" fmla="*/ 1 h 128"/>
                <a:gd name="T20" fmla="*/ 1 w 113"/>
                <a:gd name="T21" fmla="*/ 1 h 128"/>
                <a:gd name="T22" fmla="*/ 1 w 113"/>
                <a:gd name="T23" fmla="*/ 1 h 128"/>
                <a:gd name="T24" fmla="*/ 1 w 113"/>
                <a:gd name="T25" fmla="*/ 1 h 128"/>
                <a:gd name="T26" fmla="*/ 0 w 113"/>
                <a:gd name="T27" fmla="*/ 1 h 128"/>
                <a:gd name="T28" fmla="*/ 0 w 113"/>
                <a:gd name="T29" fmla="*/ 1 h 128"/>
                <a:gd name="T30" fmla="*/ 1 w 113"/>
                <a:gd name="T31" fmla="*/ 2 h 128"/>
                <a:gd name="T32" fmla="*/ 1 w 113"/>
                <a:gd name="T33" fmla="*/ 2 h 128"/>
                <a:gd name="T34" fmla="*/ 1 w 113"/>
                <a:gd name="T35" fmla="*/ 2 h 128"/>
                <a:gd name="T36" fmla="*/ 1 w 113"/>
                <a:gd name="T37" fmla="*/ 2 h 128"/>
                <a:gd name="T38" fmla="*/ 1 w 113"/>
                <a:gd name="T39" fmla="*/ 2 h 128"/>
                <a:gd name="T40" fmla="*/ 1 w 113"/>
                <a:gd name="T41" fmla="*/ 2 h 128"/>
                <a:gd name="T42" fmla="*/ 2 w 113"/>
                <a:gd name="T43" fmla="*/ 1 h 128"/>
                <a:gd name="T44" fmla="*/ 2 w 113"/>
                <a:gd name="T45" fmla="*/ 1 h 128"/>
                <a:gd name="T46" fmla="*/ 2 w 113"/>
                <a:gd name="T47" fmla="*/ 1 h 128"/>
                <a:gd name="T48" fmla="*/ 3 w 113"/>
                <a:gd name="T49" fmla="*/ 0 h 128"/>
                <a:gd name="T50" fmla="*/ 3 w 113"/>
                <a:gd name="T51" fmla="*/ 0 h 128"/>
                <a:gd name="T52" fmla="*/ 2 w 113"/>
                <a:gd name="T53" fmla="*/ 1 h 128"/>
                <a:gd name="T54" fmla="*/ 2 w 113"/>
                <a:gd name="T55" fmla="*/ 1 h 12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3"/>
                <a:gd name="T85" fmla="*/ 0 h 128"/>
                <a:gd name="T86" fmla="*/ 113 w 113"/>
                <a:gd name="T87" fmla="*/ 128 h 12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3" h="128">
                  <a:moveTo>
                    <a:pt x="76" y="12"/>
                  </a:moveTo>
                  <a:lnTo>
                    <a:pt x="76" y="31"/>
                  </a:lnTo>
                  <a:lnTo>
                    <a:pt x="33" y="21"/>
                  </a:lnTo>
                  <a:lnTo>
                    <a:pt x="31" y="36"/>
                  </a:lnTo>
                  <a:lnTo>
                    <a:pt x="43" y="31"/>
                  </a:lnTo>
                  <a:lnTo>
                    <a:pt x="50" y="36"/>
                  </a:lnTo>
                  <a:lnTo>
                    <a:pt x="45" y="50"/>
                  </a:lnTo>
                  <a:lnTo>
                    <a:pt x="45" y="88"/>
                  </a:lnTo>
                  <a:lnTo>
                    <a:pt x="24" y="83"/>
                  </a:lnTo>
                  <a:lnTo>
                    <a:pt x="9" y="95"/>
                  </a:lnTo>
                  <a:lnTo>
                    <a:pt x="9" y="106"/>
                  </a:lnTo>
                  <a:lnTo>
                    <a:pt x="2" y="106"/>
                  </a:lnTo>
                  <a:lnTo>
                    <a:pt x="0" y="114"/>
                  </a:lnTo>
                  <a:lnTo>
                    <a:pt x="19" y="128"/>
                  </a:lnTo>
                  <a:lnTo>
                    <a:pt x="19" y="125"/>
                  </a:lnTo>
                  <a:lnTo>
                    <a:pt x="26" y="121"/>
                  </a:lnTo>
                  <a:lnTo>
                    <a:pt x="28" y="123"/>
                  </a:lnTo>
                  <a:lnTo>
                    <a:pt x="50" y="121"/>
                  </a:lnTo>
                  <a:lnTo>
                    <a:pt x="52" y="125"/>
                  </a:lnTo>
                  <a:lnTo>
                    <a:pt x="71" y="111"/>
                  </a:lnTo>
                  <a:lnTo>
                    <a:pt x="80" y="85"/>
                  </a:lnTo>
                  <a:lnTo>
                    <a:pt x="99" y="66"/>
                  </a:lnTo>
                  <a:lnTo>
                    <a:pt x="113" y="0"/>
                  </a:lnTo>
                  <a:lnTo>
                    <a:pt x="83" y="5"/>
                  </a:lnTo>
                  <a:lnTo>
                    <a:pt x="76" y="12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47" name="Freeform 175"/>
            <p:cNvSpPr>
              <a:spLocks/>
            </p:cNvSpPr>
            <p:nvPr/>
          </p:nvSpPr>
          <p:spPr bwMode="auto">
            <a:xfrm>
              <a:off x="3975" y="3335"/>
              <a:ext cx="165" cy="143"/>
            </a:xfrm>
            <a:custGeom>
              <a:avLst/>
              <a:gdLst>
                <a:gd name="T0" fmla="*/ 5 w 278"/>
                <a:gd name="T1" fmla="*/ 0 h 274"/>
                <a:gd name="T2" fmla="*/ 4 w 278"/>
                <a:gd name="T3" fmla="*/ 1 h 274"/>
                <a:gd name="T4" fmla="*/ 4 w 278"/>
                <a:gd name="T5" fmla="*/ 1 h 274"/>
                <a:gd name="T6" fmla="*/ 3 w 278"/>
                <a:gd name="T7" fmla="*/ 1 h 274"/>
                <a:gd name="T8" fmla="*/ 3 w 278"/>
                <a:gd name="T9" fmla="*/ 1 h 274"/>
                <a:gd name="T10" fmla="*/ 3 w 278"/>
                <a:gd name="T11" fmla="*/ 0 h 274"/>
                <a:gd name="T12" fmla="*/ 2 w 278"/>
                <a:gd name="T13" fmla="*/ 1 h 274"/>
                <a:gd name="T14" fmla="*/ 2 w 278"/>
                <a:gd name="T15" fmla="*/ 1 h 274"/>
                <a:gd name="T16" fmla="*/ 2 w 278"/>
                <a:gd name="T17" fmla="*/ 1 h 274"/>
                <a:gd name="T18" fmla="*/ 1 w 278"/>
                <a:gd name="T19" fmla="*/ 1 h 274"/>
                <a:gd name="T20" fmla="*/ 1 w 278"/>
                <a:gd name="T21" fmla="*/ 2 h 274"/>
                <a:gd name="T22" fmla="*/ 1 w 278"/>
                <a:gd name="T23" fmla="*/ 2 h 274"/>
                <a:gd name="T24" fmla="*/ 1 w 278"/>
                <a:gd name="T25" fmla="*/ 2 h 274"/>
                <a:gd name="T26" fmla="*/ 1 w 278"/>
                <a:gd name="T27" fmla="*/ 2 h 274"/>
                <a:gd name="T28" fmla="*/ 0 w 278"/>
                <a:gd name="T29" fmla="*/ 2 h 274"/>
                <a:gd name="T30" fmla="*/ 0 w 278"/>
                <a:gd name="T31" fmla="*/ 2 h 274"/>
                <a:gd name="T32" fmla="*/ 0 w 278"/>
                <a:gd name="T33" fmla="*/ 2 h 274"/>
                <a:gd name="T34" fmla="*/ 0 w 278"/>
                <a:gd name="T35" fmla="*/ 2 h 274"/>
                <a:gd name="T36" fmla="*/ 1 w 278"/>
                <a:gd name="T37" fmla="*/ 2 h 274"/>
                <a:gd name="T38" fmla="*/ 1 w 278"/>
                <a:gd name="T39" fmla="*/ 2 h 274"/>
                <a:gd name="T40" fmla="*/ 1 w 278"/>
                <a:gd name="T41" fmla="*/ 2 h 274"/>
                <a:gd name="T42" fmla="*/ 2 w 278"/>
                <a:gd name="T43" fmla="*/ 2 h 274"/>
                <a:gd name="T44" fmla="*/ 2 w 278"/>
                <a:gd name="T45" fmla="*/ 2 h 274"/>
                <a:gd name="T46" fmla="*/ 2 w 278"/>
                <a:gd name="T47" fmla="*/ 2 h 274"/>
                <a:gd name="T48" fmla="*/ 3 w 278"/>
                <a:gd name="T49" fmla="*/ 2 h 274"/>
                <a:gd name="T50" fmla="*/ 3 w 278"/>
                <a:gd name="T51" fmla="*/ 2 h 274"/>
                <a:gd name="T52" fmla="*/ 3 w 278"/>
                <a:gd name="T53" fmla="*/ 2 h 274"/>
                <a:gd name="T54" fmla="*/ 4 w 278"/>
                <a:gd name="T55" fmla="*/ 2 h 274"/>
                <a:gd name="T56" fmla="*/ 4 w 278"/>
                <a:gd name="T57" fmla="*/ 2 h 274"/>
                <a:gd name="T58" fmla="*/ 4 w 278"/>
                <a:gd name="T59" fmla="*/ 3 h 274"/>
                <a:gd name="T60" fmla="*/ 4 w 278"/>
                <a:gd name="T61" fmla="*/ 3 h 274"/>
                <a:gd name="T62" fmla="*/ 4 w 278"/>
                <a:gd name="T63" fmla="*/ 3 h 274"/>
                <a:gd name="T64" fmla="*/ 4 w 278"/>
                <a:gd name="T65" fmla="*/ 3 h 274"/>
                <a:gd name="T66" fmla="*/ 5 w 278"/>
                <a:gd name="T67" fmla="*/ 3 h 274"/>
                <a:gd name="T68" fmla="*/ 5 w 278"/>
                <a:gd name="T69" fmla="*/ 3 h 274"/>
                <a:gd name="T70" fmla="*/ 7 w 278"/>
                <a:gd name="T71" fmla="*/ 3 h 274"/>
                <a:gd name="T72" fmla="*/ 7 w 278"/>
                <a:gd name="T73" fmla="*/ 3 h 274"/>
                <a:gd name="T74" fmla="*/ 7 w 278"/>
                <a:gd name="T75" fmla="*/ 3 h 274"/>
                <a:gd name="T76" fmla="*/ 7 w 278"/>
                <a:gd name="T77" fmla="*/ 3 h 274"/>
                <a:gd name="T78" fmla="*/ 7 w 278"/>
                <a:gd name="T79" fmla="*/ 3 h 274"/>
                <a:gd name="T80" fmla="*/ 7 w 278"/>
                <a:gd name="T81" fmla="*/ 2 h 274"/>
                <a:gd name="T82" fmla="*/ 7 w 278"/>
                <a:gd name="T83" fmla="*/ 2 h 274"/>
                <a:gd name="T84" fmla="*/ 7 w 278"/>
                <a:gd name="T85" fmla="*/ 2 h 274"/>
                <a:gd name="T86" fmla="*/ 7 w 278"/>
                <a:gd name="T87" fmla="*/ 2 h 274"/>
                <a:gd name="T88" fmla="*/ 7 w 278"/>
                <a:gd name="T89" fmla="*/ 2 h 274"/>
                <a:gd name="T90" fmla="*/ 7 w 278"/>
                <a:gd name="T91" fmla="*/ 2 h 274"/>
                <a:gd name="T92" fmla="*/ 7 w 278"/>
                <a:gd name="T93" fmla="*/ 2 h 274"/>
                <a:gd name="T94" fmla="*/ 7 w 278"/>
                <a:gd name="T95" fmla="*/ 2 h 274"/>
                <a:gd name="T96" fmla="*/ 7 w 278"/>
                <a:gd name="T97" fmla="*/ 1 h 274"/>
                <a:gd name="T98" fmla="*/ 7 w 278"/>
                <a:gd name="T99" fmla="*/ 1 h 274"/>
                <a:gd name="T100" fmla="*/ 7 w 278"/>
                <a:gd name="T101" fmla="*/ 1 h 274"/>
                <a:gd name="T102" fmla="*/ 7 w 278"/>
                <a:gd name="T103" fmla="*/ 1 h 274"/>
                <a:gd name="T104" fmla="*/ 7 w 278"/>
                <a:gd name="T105" fmla="*/ 1 h 274"/>
                <a:gd name="T106" fmla="*/ 7 w 278"/>
                <a:gd name="T107" fmla="*/ 1 h 274"/>
                <a:gd name="T108" fmla="*/ 7 w 278"/>
                <a:gd name="T109" fmla="*/ 1 h 274"/>
                <a:gd name="T110" fmla="*/ 7 w 278"/>
                <a:gd name="T111" fmla="*/ 1 h 274"/>
                <a:gd name="T112" fmla="*/ 6 w 278"/>
                <a:gd name="T113" fmla="*/ 1 h 274"/>
                <a:gd name="T114" fmla="*/ 5 w 278"/>
                <a:gd name="T115" fmla="*/ 0 h 274"/>
                <a:gd name="T116" fmla="*/ 5 w 278"/>
                <a:gd name="T117" fmla="*/ 0 h 2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8"/>
                <a:gd name="T178" fmla="*/ 0 h 274"/>
                <a:gd name="T179" fmla="*/ 278 w 278"/>
                <a:gd name="T180" fmla="*/ 274 h 27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8" h="274">
                  <a:moveTo>
                    <a:pt x="222" y="0"/>
                  </a:moveTo>
                  <a:lnTo>
                    <a:pt x="153" y="7"/>
                  </a:lnTo>
                  <a:lnTo>
                    <a:pt x="146" y="14"/>
                  </a:lnTo>
                  <a:lnTo>
                    <a:pt x="118" y="11"/>
                  </a:lnTo>
                  <a:lnTo>
                    <a:pt x="111" y="2"/>
                  </a:lnTo>
                  <a:lnTo>
                    <a:pt x="104" y="0"/>
                  </a:lnTo>
                  <a:lnTo>
                    <a:pt x="89" y="23"/>
                  </a:lnTo>
                  <a:lnTo>
                    <a:pt x="75" y="89"/>
                  </a:lnTo>
                  <a:lnTo>
                    <a:pt x="56" y="108"/>
                  </a:lnTo>
                  <a:lnTo>
                    <a:pt x="47" y="134"/>
                  </a:lnTo>
                  <a:lnTo>
                    <a:pt x="28" y="148"/>
                  </a:lnTo>
                  <a:lnTo>
                    <a:pt x="26" y="144"/>
                  </a:lnTo>
                  <a:lnTo>
                    <a:pt x="4" y="146"/>
                  </a:lnTo>
                  <a:lnTo>
                    <a:pt x="0" y="163"/>
                  </a:lnTo>
                  <a:lnTo>
                    <a:pt x="0" y="172"/>
                  </a:lnTo>
                  <a:lnTo>
                    <a:pt x="14" y="163"/>
                  </a:lnTo>
                  <a:lnTo>
                    <a:pt x="52" y="163"/>
                  </a:lnTo>
                  <a:lnTo>
                    <a:pt x="59" y="167"/>
                  </a:lnTo>
                  <a:lnTo>
                    <a:pt x="63" y="186"/>
                  </a:lnTo>
                  <a:lnTo>
                    <a:pt x="80" y="198"/>
                  </a:lnTo>
                  <a:lnTo>
                    <a:pt x="99" y="196"/>
                  </a:lnTo>
                  <a:lnTo>
                    <a:pt x="104" y="181"/>
                  </a:lnTo>
                  <a:lnTo>
                    <a:pt x="122" y="179"/>
                  </a:lnTo>
                  <a:lnTo>
                    <a:pt x="122" y="184"/>
                  </a:lnTo>
                  <a:lnTo>
                    <a:pt x="137" y="191"/>
                  </a:lnTo>
                  <a:lnTo>
                    <a:pt x="137" y="219"/>
                  </a:lnTo>
                  <a:lnTo>
                    <a:pt x="144" y="233"/>
                  </a:lnTo>
                  <a:lnTo>
                    <a:pt x="139" y="243"/>
                  </a:lnTo>
                  <a:lnTo>
                    <a:pt x="141" y="245"/>
                  </a:lnTo>
                  <a:lnTo>
                    <a:pt x="170" y="238"/>
                  </a:lnTo>
                  <a:lnTo>
                    <a:pt x="203" y="255"/>
                  </a:lnTo>
                  <a:lnTo>
                    <a:pt x="215" y="252"/>
                  </a:lnTo>
                  <a:lnTo>
                    <a:pt x="241" y="271"/>
                  </a:lnTo>
                  <a:lnTo>
                    <a:pt x="252" y="274"/>
                  </a:lnTo>
                  <a:lnTo>
                    <a:pt x="252" y="259"/>
                  </a:lnTo>
                  <a:lnTo>
                    <a:pt x="245" y="259"/>
                  </a:lnTo>
                  <a:lnTo>
                    <a:pt x="238" y="252"/>
                  </a:lnTo>
                  <a:lnTo>
                    <a:pt x="241" y="212"/>
                  </a:lnTo>
                  <a:lnTo>
                    <a:pt x="245" y="205"/>
                  </a:lnTo>
                  <a:lnTo>
                    <a:pt x="267" y="198"/>
                  </a:lnTo>
                  <a:lnTo>
                    <a:pt x="271" y="198"/>
                  </a:lnTo>
                  <a:lnTo>
                    <a:pt x="255" y="170"/>
                  </a:lnTo>
                  <a:lnTo>
                    <a:pt x="252" y="144"/>
                  </a:lnTo>
                  <a:lnTo>
                    <a:pt x="250" y="127"/>
                  </a:lnTo>
                  <a:lnTo>
                    <a:pt x="248" y="118"/>
                  </a:lnTo>
                  <a:lnTo>
                    <a:pt x="245" y="113"/>
                  </a:lnTo>
                  <a:lnTo>
                    <a:pt x="255" y="96"/>
                  </a:lnTo>
                  <a:lnTo>
                    <a:pt x="260" y="70"/>
                  </a:lnTo>
                  <a:lnTo>
                    <a:pt x="267" y="59"/>
                  </a:lnTo>
                  <a:lnTo>
                    <a:pt x="278" y="44"/>
                  </a:lnTo>
                  <a:lnTo>
                    <a:pt x="271" y="37"/>
                  </a:lnTo>
                  <a:lnTo>
                    <a:pt x="274" y="23"/>
                  </a:lnTo>
                  <a:lnTo>
                    <a:pt x="257" y="11"/>
                  </a:lnTo>
                  <a:lnTo>
                    <a:pt x="234" y="11"/>
                  </a:lnTo>
                  <a:lnTo>
                    <a:pt x="222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48" name="Freeform 176"/>
            <p:cNvSpPr>
              <a:spLocks/>
            </p:cNvSpPr>
            <p:nvPr/>
          </p:nvSpPr>
          <p:spPr bwMode="auto">
            <a:xfrm>
              <a:off x="4120" y="3383"/>
              <a:ext cx="18" cy="13"/>
            </a:xfrm>
            <a:custGeom>
              <a:avLst/>
              <a:gdLst>
                <a:gd name="T0" fmla="*/ 1 w 29"/>
                <a:gd name="T1" fmla="*/ 1 h 26"/>
                <a:gd name="T2" fmla="*/ 1 w 29"/>
                <a:gd name="T3" fmla="*/ 1 h 26"/>
                <a:gd name="T4" fmla="*/ 0 w 29"/>
                <a:gd name="T5" fmla="*/ 1 h 26"/>
                <a:gd name="T6" fmla="*/ 1 w 29"/>
                <a:gd name="T7" fmla="*/ 1 h 26"/>
                <a:gd name="T8" fmla="*/ 1 w 29"/>
                <a:gd name="T9" fmla="*/ 0 h 26"/>
                <a:gd name="T10" fmla="*/ 1 w 29"/>
                <a:gd name="T11" fmla="*/ 0 h 26"/>
                <a:gd name="T12" fmla="*/ 1 w 29"/>
                <a:gd name="T13" fmla="*/ 1 h 26"/>
                <a:gd name="T14" fmla="*/ 1 w 29"/>
                <a:gd name="T15" fmla="*/ 1 h 2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9"/>
                <a:gd name="T25" fmla="*/ 0 h 26"/>
                <a:gd name="T26" fmla="*/ 29 w 29"/>
                <a:gd name="T27" fmla="*/ 26 h 2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9" h="26">
                  <a:moveTo>
                    <a:pt x="24" y="21"/>
                  </a:moveTo>
                  <a:lnTo>
                    <a:pt x="3" y="26"/>
                  </a:lnTo>
                  <a:lnTo>
                    <a:pt x="0" y="21"/>
                  </a:lnTo>
                  <a:lnTo>
                    <a:pt x="10" y="4"/>
                  </a:lnTo>
                  <a:lnTo>
                    <a:pt x="22" y="0"/>
                  </a:lnTo>
                  <a:lnTo>
                    <a:pt x="29" y="1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49" name="Freeform 177"/>
            <p:cNvSpPr>
              <a:spLocks/>
            </p:cNvSpPr>
            <p:nvPr/>
          </p:nvSpPr>
          <p:spPr bwMode="auto">
            <a:xfrm>
              <a:off x="4122" y="3394"/>
              <a:ext cx="14" cy="16"/>
            </a:xfrm>
            <a:custGeom>
              <a:avLst/>
              <a:gdLst>
                <a:gd name="T0" fmla="*/ 1 w 23"/>
                <a:gd name="T1" fmla="*/ 0 h 31"/>
                <a:gd name="T2" fmla="*/ 1 w 23"/>
                <a:gd name="T3" fmla="*/ 1 h 31"/>
                <a:gd name="T4" fmla="*/ 1 w 23"/>
                <a:gd name="T5" fmla="*/ 1 h 31"/>
                <a:gd name="T6" fmla="*/ 1 w 23"/>
                <a:gd name="T7" fmla="*/ 1 h 31"/>
                <a:gd name="T8" fmla="*/ 1 w 23"/>
                <a:gd name="T9" fmla="*/ 1 h 31"/>
                <a:gd name="T10" fmla="*/ 0 w 23"/>
                <a:gd name="T11" fmla="*/ 1 h 31"/>
                <a:gd name="T12" fmla="*/ 1 w 23"/>
                <a:gd name="T13" fmla="*/ 0 h 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31"/>
                <a:gd name="T23" fmla="*/ 23 w 23"/>
                <a:gd name="T24" fmla="*/ 31 h 3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31">
                  <a:moveTo>
                    <a:pt x="21" y="0"/>
                  </a:moveTo>
                  <a:lnTo>
                    <a:pt x="23" y="14"/>
                  </a:lnTo>
                  <a:lnTo>
                    <a:pt x="7" y="28"/>
                  </a:lnTo>
                  <a:lnTo>
                    <a:pt x="4" y="31"/>
                  </a:lnTo>
                  <a:lnTo>
                    <a:pt x="2" y="14"/>
                  </a:lnTo>
                  <a:lnTo>
                    <a:pt x="0" y="5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50" name="Freeform 178"/>
            <p:cNvSpPr>
              <a:spLocks/>
            </p:cNvSpPr>
            <p:nvPr/>
          </p:nvSpPr>
          <p:spPr bwMode="auto">
            <a:xfrm>
              <a:off x="4125" y="3383"/>
              <a:ext cx="96" cy="83"/>
            </a:xfrm>
            <a:custGeom>
              <a:avLst/>
              <a:gdLst>
                <a:gd name="T0" fmla="*/ 1 w 163"/>
                <a:gd name="T1" fmla="*/ 2 h 160"/>
                <a:gd name="T2" fmla="*/ 1 w 163"/>
                <a:gd name="T3" fmla="*/ 1 h 160"/>
                <a:gd name="T4" fmla="*/ 1 w 163"/>
                <a:gd name="T5" fmla="*/ 1 h 160"/>
                <a:gd name="T6" fmla="*/ 1 w 163"/>
                <a:gd name="T7" fmla="*/ 1 h 160"/>
                <a:gd name="T8" fmla="*/ 1 w 163"/>
                <a:gd name="T9" fmla="*/ 1 h 160"/>
                <a:gd name="T10" fmla="*/ 0 w 163"/>
                <a:gd name="T11" fmla="*/ 1 h 160"/>
                <a:gd name="T12" fmla="*/ 1 w 163"/>
                <a:gd name="T13" fmla="*/ 1 h 160"/>
                <a:gd name="T14" fmla="*/ 1 w 163"/>
                <a:gd name="T15" fmla="*/ 1 h 160"/>
                <a:gd name="T16" fmla="*/ 1 w 163"/>
                <a:gd name="T17" fmla="*/ 1 h 160"/>
                <a:gd name="T18" fmla="*/ 1 w 163"/>
                <a:gd name="T19" fmla="*/ 1 h 160"/>
                <a:gd name="T20" fmla="*/ 1 w 163"/>
                <a:gd name="T21" fmla="*/ 0 h 160"/>
                <a:gd name="T22" fmla="*/ 1 w 163"/>
                <a:gd name="T23" fmla="*/ 0 h 160"/>
                <a:gd name="T24" fmla="*/ 1 w 163"/>
                <a:gd name="T25" fmla="*/ 0 h 160"/>
                <a:gd name="T26" fmla="*/ 1 w 163"/>
                <a:gd name="T27" fmla="*/ 0 h 160"/>
                <a:gd name="T28" fmla="*/ 2 w 163"/>
                <a:gd name="T29" fmla="*/ 0 h 160"/>
                <a:gd name="T30" fmla="*/ 2 w 163"/>
                <a:gd name="T31" fmla="*/ 0 h 160"/>
                <a:gd name="T32" fmla="*/ 3 w 163"/>
                <a:gd name="T33" fmla="*/ 1 h 160"/>
                <a:gd name="T34" fmla="*/ 3 w 163"/>
                <a:gd name="T35" fmla="*/ 1 h 160"/>
                <a:gd name="T36" fmla="*/ 4 w 163"/>
                <a:gd name="T37" fmla="*/ 1 h 160"/>
                <a:gd name="T38" fmla="*/ 4 w 163"/>
                <a:gd name="T39" fmla="*/ 1 h 160"/>
                <a:gd name="T40" fmla="*/ 3 w 163"/>
                <a:gd name="T41" fmla="*/ 1 h 160"/>
                <a:gd name="T42" fmla="*/ 4 w 163"/>
                <a:gd name="T43" fmla="*/ 1 h 160"/>
                <a:gd name="T44" fmla="*/ 4 w 163"/>
                <a:gd name="T45" fmla="*/ 2 h 160"/>
                <a:gd name="T46" fmla="*/ 4 w 163"/>
                <a:gd name="T47" fmla="*/ 2 h 160"/>
                <a:gd name="T48" fmla="*/ 4 w 163"/>
                <a:gd name="T49" fmla="*/ 2 h 160"/>
                <a:gd name="T50" fmla="*/ 4 w 163"/>
                <a:gd name="T51" fmla="*/ 2 h 160"/>
                <a:gd name="T52" fmla="*/ 4 w 163"/>
                <a:gd name="T53" fmla="*/ 2 h 160"/>
                <a:gd name="T54" fmla="*/ 2 w 163"/>
                <a:gd name="T55" fmla="*/ 2 h 160"/>
                <a:gd name="T56" fmla="*/ 2 w 163"/>
                <a:gd name="T57" fmla="*/ 2 h 160"/>
                <a:gd name="T58" fmla="*/ 2 w 163"/>
                <a:gd name="T59" fmla="*/ 2 h 160"/>
                <a:gd name="T60" fmla="*/ 2 w 163"/>
                <a:gd name="T61" fmla="*/ 2 h 160"/>
                <a:gd name="T62" fmla="*/ 1 w 163"/>
                <a:gd name="T63" fmla="*/ 2 h 1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63"/>
                <a:gd name="T97" fmla="*/ 0 h 160"/>
                <a:gd name="T98" fmla="*/ 163 w 163"/>
                <a:gd name="T99" fmla="*/ 160 h 1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63" h="160">
                  <a:moveTo>
                    <a:pt x="52" y="125"/>
                  </a:moveTo>
                  <a:lnTo>
                    <a:pt x="26" y="113"/>
                  </a:lnTo>
                  <a:lnTo>
                    <a:pt x="19" y="106"/>
                  </a:lnTo>
                  <a:lnTo>
                    <a:pt x="3" y="78"/>
                  </a:lnTo>
                  <a:lnTo>
                    <a:pt x="0" y="52"/>
                  </a:lnTo>
                  <a:lnTo>
                    <a:pt x="3" y="49"/>
                  </a:lnTo>
                  <a:lnTo>
                    <a:pt x="19" y="35"/>
                  </a:lnTo>
                  <a:lnTo>
                    <a:pt x="17" y="21"/>
                  </a:lnTo>
                  <a:lnTo>
                    <a:pt x="22" y="11"/>
                  </a:lnTo>
                  <a:lnTo>
                    <a:pt x="15" y="0"/>
                  </a:lnTo>
                  <a:lnTo>
                    <a:pt x="36" y="0"/>
                  </a:lnTo>
                  <a:lnTo>
                    <a:pt x="67" y="0"/>
                  </a:lnTo>
                  <a:lnTo>
                    <a:pt x="71" y="0"/>
                  </a:lnTo>
                  <a:lnTo>
                    <a:pt x="121" y="28"/>
                  </a:lnTo>
                  <a:lnTo>
                    <a:pt x="126" y="40"/>
                  </a:lnTo>
                  <a:lnTo>
                    <a:pt x="147" y="54"/>
                  </a:lnTo>
                  <a:lnTo>
                    <a:pt x="137" y="75"/>
                  </a:lnTo>
                  <a:lnTo>
                    <a:pt x="149" y="89"/>
                  </a:lnTo>
                  <a:lnTo>
                    <a:pt x="147" y="118"/>
                  </a:lnTo>
                  <a:lnTo>
                    <a:pt x="154" y="132"/>
                  </a:lnTo>
                  <a:lnTo>
                    <a:pt x="163" y="141"/>
                  </a:lnTo>
                  <a:lnTo>
                    <a:pt x="145" y="156"/>
                  </a:lnTo>
                  <a:lnTo>
                    <a:pt x="104" y="160"/>
                  </a:lnTo>
                  <a:lnTo>
                    <a:pt x="81" y="158"/>
                  </a:lnTo>
                  <a:lnTo>
                    <a:pt x="74" y="132"/>
                  </a:lnTo>
                  <a:lnTo>
                    <a:pt x="67" y="127"/>
                  </a:lnTo>
                  <a:lnTo>
                    <a:pt x="52" y="125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51" name="Freeform 179"/>
            <p:cNvSpPr>
              <a:spLocks/>
            </p:cNvSpPr>
            <p:nvPr/>
          </p:nvSpPr>
          <p:spPr bwMode="auto">
            <a:xfrm>
              <a:off x="4059" y="3438"/>
              <a:ext cx="102" cy="78"/>
            </a:xfrm>
            <a:custGeom>
              <a:avLst/>
              <a:gdLst>
                <a:gd name="T0" fmla="*/ 1 w 173"/>
                <a:gd name="T1" fmla="*/ 1 h 149"/>
                <a:gd name="T2" fmla="*/ 2 w 173"/>
                <a:gd name="T3" fmla="*/ 1 h 149"/>
                <a:gd name="T4" fmla="*/ 2 w 173"/>
                <a:gd name="T5" fmla="*/ 1 h 149"/>
                <a:gd name="T6" fmla="*/ 2 w 173"/>
                <a:gd name="T7" fmla="*/ 1 h 149"/>
                <a:gd name="T8" fmla="*/ 3 w 173"/>
                <a:gd name="T9" fmla="*/ 1 h 149"/>
                <a:gd name="T10" fmla="*/ 3 w 173"/>
                <a:gd name="T11" fmla="*/ 1 h 149"/>
                <a:gd name="T12" fmla="*/ 2 w 173"/>
                <a:gd name="T13" fmla="*/ 1 h 149"/>
                <a:gd name="T14" fmla="*/ 2 w 173"/>
                <a:gd name="T15" fmla="*/ 1 h 149"/>
                <a:gd name="T16" fmla="*/ 2 w 173"/>
                <a:gd name="T17" fmla="*/ 1 h 149"/>
                <a:gd name="T18" fmla="*/ 2 w 173"/>
                <a:gd name="T19" fmla="*/ 1 h 149"/>
                <a:gd name="T20" fmla="*/ 3 w 173"/>
                <a:gd name="T21" fmla="*/ 0 h 149"/>
                <a:gd name="T22" fmla="*/ 3 w 173"/>
                <a:gd name="T23" fmla="*/ 0 h 149"/>
                <a:gd name="T24" fmla="*/ 4 w 173"/>
                <a:gd name="T25" fmla="*/ 1 h 149"/>
                <a:gd name="T26" fmla="*/ 4 w 173"/>
                <a:gd name="T27" fmla="*/ 1 h 149"/>
                <a:gd name="T28" fmla="*/ 4 w 173"/>
                <a:gd name="T29" fmla="*/ 1 h 149"/>
                <a:gd name="T30" fmla="*/ 4 w 173"/>
                <a:gd name="T31" fmla="*/ 1 h 149"/>
                <a:gd name="T32" fmla="*/ 4 w 173"/>
                <a:gd name="T33" fmla="*/ 1 h 149"/>
                <a:gd name="T34" fmla="*/ 4 w 173"/>
                <a:gd name="T35" fmla="*/ 1 h 149"/>
                <a:gd name="T36" fmla="*/ 4 w 173"/>
                <a:gd name="T37" fmla="*/ 1 h 149"/>
                <a:gd name="T38" fmla="*/ 4 w 173"/>
                <a:gd name="T39" fmla="*/ 1 h 149"/>
                <a:gd name="T40" fmla="*/ 4 w 173"/>
                <a:gd name="T41" fmla="*/ 1 h 149"/>
                <a:gd name="T42" fmla="*/ 3 w 173"/>
                <a:gd name="T43" fmla="*/ 1 h 149"/>
                <a:gd name="T44" fmla="*/ 3 w 173"/>
                <a:gd name="T45" fmla="*/ 1 h 149"/>
                <a:gd name="T46" fmla="*/ 3 w 173"/>
                <a:gd name="T47" fmla="*/ 1 h 149"/>
                <a:gd name="T48" fmla="*/ 2 w 173"/>
                <a:gd name="T49" fmla="*/ 2 h 149"/>
                <a:gd name="T50" fmla="*/ 2 w 173"/>
                <a:gd name="T51" fmla="*/ 2 h 149"/>
                <a:gd name="T52" fmla="*/ 2 w 173"/>
                <a:gd name="T53" fmla="*/ 2 h 149"/>
                <a:gd name="T54" fmla="*/ 1 w 173"/>
                <a:gd name="T55" fmla="*/ 2 h 149"/>
                <a:gd name="T56" fmla="*/ 1 w 173"/>
                <a:gd name="T57" fmla="*/ 2 h 149"/>
                <a:gd name="T58" fmla="*/ 1 w 173"/>
                <a:gd name="T59" fmla="*/ 2 h 149"/>
                <a:gd name="T60" fmla="*/ 1 w 173"/>
                <a:gd name="T61" fmla="*/ 2 h 149"/>
                <a:gd name="T62" fmla="*/ 0 w 173"/>
                <a:gd name="T63" fmla="*/ 2 h 149"/>
                <a:gd name="T64" fmla="*/ 0 w 173"/>
                <a:gd name="T65" fmla="*/ 1 h 149"/>
                <a:gd name="T66" fmla="*/ 1 w 173"/>
                <a:gd name="T67" fmla="*/ 1 h 149"/>
                <a:gd name="T68" fmla="*/ 1 w 173"/>
                <a:gd name="T69" fmla="*/ 1 h 14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3"/>
                <a:gd name="T106" fmla="*/ 0 h 149"/>
                <a:gd name="T107" fmla="*/ 173 w 173"/>
                <a:gd name="T108" fmla="*/ 149 h 14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3" h="149">
                  <a:moveTo>
                    <a:pt x="29" y="40"/>
                  </a:moveTo>
                  <a:lnTo>
                    <a:pt x="62" y="57"/>
                  </a:lnTo>
                  <a:lnTo>
                    <a:pt x="74" y="54"/>
                  </a:lnTo>
                  <a:lnTo>
                    <a:pt x="100" y="73"/>
                  </a:lnTo>
                  <a:lnTo>
                    <a:pt x="111" y="76"/>
                  </a:lnTo>
                  <a:lnTo>
                    <a:pt x="111" y="61"/>
                  </a:lnTo>
                  <a:lnTo>
                    <a:pt x="104" y="61"/>
                  </a:lnTo>
                  <a:lnTo>
                    <a:pt x="97" y="54"/>
                  </a:lnTo>
                  <a:lnTo>
                    <a:pt x="100" y="14"/>
                  </a:lnTo>
                  <a:lnTo>
                    <a:pt x="104" y="7"/>
                  </a:lnTo>
                  <a:lnTo>
                    <a:pt x="126" y="0"/>
                  </a:lnTo>
                  <a:lnTo>
                    <a:pt x="130" y="0"/>
                  </a:lnTo>
                  <a:lnTo>
                    <a:pt x="137" y="7"/>
                  </a:lnTo>
                  <a:lnTo>
                    <a:pt x="163" y="19"/>
                  </a:lnTo>
                  <a:lnTo>
                    <a:pt x="173" y="40"/>
                  </a:lnTo>
                  <a:lnTo>
                    <a:pt x="168" y="50"/>
                  </a:lnTo>
                  <a:lnTo>
                    <a:pt x="170" y="64"/>
                  </a:lnTo>
                  <a:lnTo>
                    <a:pt x="161" y="83"/>
                  </a:lnTo>
                  <a:lnTo>
                    <a:pt x="166" y="90"/>
                  </a:lnTo>
                  <a:lnTo>
                    <a:pt x="119" y="104"/>
                  </a:lnTo>
                  <a:lnTo>
                    <a:pt x="121" y="113"/>
                  </a:lnTo>
                  <a:lnTo>
                    <a:pt x="123" y="113"/>
                  </a:lnTo>
                  <a:lnTo>
                    <a:pt x="104" y="116"/>
                  </a:lnTo>
                  <a:lnTo>
                    <a:pt x="97" y="130"/>
                  </a:lnTo>
                  <a:lnTo>
                    <a:pt x="69" y="149"/>
                  </a:lnTo>
                  <a:lnTo>
                    <a:pt x="45" y="149"/>
                  </a:lnTo>
                  <a:lnTo>
                    <a:pt x="45" y="146"/>
                  </a:lnTo>
                  <a:lnTo>
                    <a:pt x="29" y="139"/>
                  </a:lnTo>
                  <a:lnTo>
                    <a:pt x="17" y="144"/>
                  </a:lnTo>
                  <a:lnTo>
                    <a:pt x="0" y="130"/>
                  </a:lnTo>
                  <a:lnTo>
                    <a:pt x="0" y="76"/>
                  </a:lnTo>
                  <a:lnTo>
                    <a:pt x="31" y="73"/>
                  </a:lnTo>
                  <a:lnTo>
                    <a:pt x="29" y="4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52" name="Freeform 180"/>
            <p:cNvSpPr>
              <a:spLocks/>
            </p:cNvSpPr>
            <p:nvPr/>
          </p:nvSpPr>
          <p:spPr bwMode="auto">
            <a:xfrm>
              <a:off x="3966" y="3509"/>
              <a:ext cx="119" cy="100"/>
            </a:xfrm>
            <a:custGeom>
              <a:avLst/>
              <a:gdLst>
                <a:gd name="T0" fmla="*/ 2 w 201"/>
                <a:gd name="T1" fmla="*/ 2 h 193"/>
                <a:gd name="T2" fmla="*/ 1 w 201"/>
                <a:gd name="T3" fmla="*/ 2 h 193"/>
                <a:gd name="T4" fmla="*/ 1 w 201"/>
                <a:gd name="T5" fmla="*/ 1 h 193"/>
                <a:gd name="T6" fmla="*/ 1 w 201"/>
                <a:gd name="T7" fmla="*/ 1 h 193"/>
                <a:gd name="T8" fmla="*/ 1 w 201"/>
                <a:gd name="T9" fmla="*/ 1 h 193"/>
                <a:gd name="T10" fmla="*/ 0 w 201"/>
                <a:gd name="T11" fmla="*/ 1 h 193"/>
                <a:gd name="T12" fmla="*/ 0 w 201"/>
                <a:gd name="T13" fmla="*/ 1 h 193"/>
                <a:gd name="T14" fmla="*/ 1 w 201"/>
                <a:gd name="T15" fmla="*/ 0 h 193"/>
                <a:gd name="T16" fmla="*/ 1 w 201"/>
                <a:gd name="T17" fmla="*/ 1 h 193"/>
                <a:gd name="T18" fmla="*/ 2 w 201"/>
                <a:gd name="T19" fmla="*/ 1 h 193"/>
                <a:gd name="T20" fmla="*/ 3 w 201"/>
                <a:gd name="T21" fmla="*/ 1 h 193"/>
                <a:gd name="T22" fmla="*/ 4 w 201"/>
                <a:gd name="T23" fmla="*/ 1 h 193"/>
                <a:gd name="T24" fmla="*/ 4 w 201"/>
                <a:gd name="T25" fmla="*/ 1 h 193"/>
                <a:gd name="T26" fmla="*/ 5 w 201"/>
                <a:gd name="T27" fmla="*/ 1 h 193"/>
                <a:gd name="T28" fmla="*/ 5 w 201"/>
                <a:gd name="T29" fmla="*/ 1 h 193"/>
                <a:gd name="T30" fmla="*/ 5 w 201"/>
                <a:gd name="T31" fmla="*/ 1 h 193"/>
                <a:gd name="T32" fmla="*/ 4 w 201"/>
                <a:gd name="T33" fmla="*/ 1 h 193"/>
                <a:gd name="T34" fmla="*/ 4 w 201"/>
                <a:gd name="T35" fmla="*/ 1 h 193"/>
                <a:gd name="T36" fmla="*/ 4 w 201"/>
                <a:gd name="T37" fmla="*/ 1 h 193"/>
                <a:gd name="T38" fmla="*/ 3 w 201"/>
                <a:gd name="T39" fmla="*/ 1 h 193"/>
                <a:gd name="T40" fmla="*/ 3 w 201"/>
                <a:gd name="T41" fmla="*/ 2 h 193"/>
                <a:gd name="T42" fmla="*/ 3 w 201"/>
                <a:gd name="T43" fmla="*/ 2 h 193"/>
                <a:gd name="T44" fmla="*/ 3 w 201"/>
                <a:gd name="T45" fmla="*/ 2 h 193"/>
                <a:gd name="T46" fmla="*/ 2 w 201"/>
                <a:gd name="T47" fmla="*/ 2 h 193"/>
                <a:gd name="T48" fmla="*/ 2 w 201"/>
                <a:gd name="T49" fmla="*/ 2 h 193"/>
                <a:gd name="T50" fmla="*/ 2 w 201"/>
                <a:gd name="T51" fmla="*/ 2 h 193"/>
                <a:gd name="T52" fmla="*/ 2 w 201"/>
                <a:gd name="T53" fmla="*/ 2 h 1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01"/>
                <a:gd name="T82" fmla="*/ 0 h 193"/>
                <a:gd name="T83" fmla="*/ 201 w 201"/>
                <a:gd name="T84" fmla="*/ 193 h 19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01" h="193">
                  <a:moveTo>
                    <a:pt x="71" y="189"/>
                  </a:moveTo>
                  <a:lnTo>
                    <a:pt x="55" y="170"/>
                  </a:lnTo>
                  <a:lnTo>
                    <a:pt x="43" y="111"/>
                  </a:lnTo>
                  <a:lnTo>
                    <a:pt x="43" y="87"/>
                  </a:lnTo>
                  <a:lnTo>
                    <a:pt x="3" y="14"/>
                  </a:lnTo>
                  <a:lnTo>
                    <a:pt x="0" y="4"/>
                  </a:lnTo>
                  <a:lnTo>
                    <a:pt x="24" y="0"/>
                  </a:lnTo>
                  <a:lnTo>
                    <a:pt x="36" y="4"/>
                  </a:lnTo>
                  <a:lnTo>
                    <a:pt x="100" y="7"/>
                  </a:lnTo>
                  <a:lnTo>
                    <a:pt x="114" y="11"/>
                  </a:lnTo>
                  <a:lnTo>
                    <a:pt x="149" y="16"/>
                  </a:lnTo>
                  <a:lnTo>
                    <a:pt x="173" y="9"/>
                  </a:lnTo>
                  <a:lnTo>
                    <a:pt x="185" y="4"/>
                  </a:lnTo>
                  <a:lnTo>
                    <a:pt x="201" y="11"/>
                  </a:lnTo>
                  <a:lnTo>
                    <a:pt x="178" y="26"/>
                  </a:lnTo>
                  <a:lnTo>
                    <a:pt x="171" y="16"/>
                  </a:lnTo>
                  <a:lnTo>
                    <a:pt x="140" y="21"/>
                  </a:lnTo>
                  <a:lnTo>
                    <a:pt x="137" y="75"/>
                  </a:lnTo>
                  <a:lnTo>
                    <a:pt x="123" y="82"/>
                  </a:lnTo>
                  <a:lnTo>
                    <a:pt x="123" y="122"/>
                  </a:lnTo>
                  <a:lnTo>
                    <a:pt x="123" y="184"/>
                  </a:lnTo>
                  <a:lnTo>
                    <a:pt x="109" y="193"/>
                  </a:lnTo>
                  <a:lnTo>
                    <a:pt x="90" y="193"/>
                  </a:lnTo>
                  <a:lnTo>
                    <a:pt x="78" y="181"/>
                  </a:lnTo>
                  <a:lnTo>
                    <a:pt x="71" y="189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53" name="Freeform 181"/>
            <p:cNvSpPr>
              <a:spLocks/>
            </p:cNvSpPr>
            <p:nvPr/>
          </p:nvSpPr>
          <p:spPr bwMode="auto">
            <a:xfrm>
              <a:off x="3966" y="3420"/>
              <a:ext cx="111" cy="97"/>
            </a:xfrm>
            <a:custGeom>
              <a:avLst/>
              <a:gdLst>
                <a:gd name="T0" fmla="*/ 0 w 187"/>
                <a:gd name="T1" fmla="*/ 2 h 186"/>
                <a:gd name="T2" fmla="*/ 1 w 187"/>
                <a:gd name="T3" fmla="*/ 2 h 186"/>
                <a:gd name="T4" fmla="*/ 1 w 187"/>
                <a:gd name="T5" fmla="*/ 2 h 186"/>
                <a:gd name="T6" fmla="*/ 2 w 187"/>
                <a:gd name="T7" fmla="*/ 2 h 186"/>
                <a:gd name="T8" fmla="*/ 3 w 187"/>
                <a:gd name="T9" fmla="*/ 2 h 186"/>
                <a:gd name="T10" fmla="*/ 4 w 187"/>
                <a:gd name="T11" fmla="*/ 2 h 186"/>
                <a:gd name="T12" fmla="*/ 4 w 187"/>
                <a:gd name="T13" fmla="*/ 2 h 186"/>
                <a:gd name="T14" fmla="*/ 4 w 187"/>
                <a:gd name="T15" fmla="*/ 2 h 186"/>
                <a:gd name="T16" fmla="*/ 4 w 187"/>
                <a:gd name="T17" fmla="*/ 1 h 186"/>
                <a:gd name="T18" fmla="*/ 5 w 187"/>
                <a:gd name="T19" fmla="*/ 1 h 186"/>
                <a:gd name="T20" fmla="*/ 5 w 187"/>
                <a:gd name="T21" fmla="*/ 1 h 186"/>
                <a:gd name="T22" fmla="*/ 4 w 187"/>
                <a:gd name="T23" fmla="*/ 1 h 186"/>
                <a:gd name="T24" fmla="*/ 4 w 187"/>
                <a:gd name="T25" fmla="*/ 1 h 186"/>
                <a:gd name="T26" fmla="*/ 4 w 187"/>
                <a:gd name="T27" fmla="*/ 1 h 186"/>
                <a:gd name="T28" fmla="*/ 4 w 187"/>
                <a:gd name="T29" fmla="*/ 1 h 186"/>
                <a:gd name="T30" fmla="*/ 4 w 187"/>
                <a:gd name="T31" fmla="*/ 1 h 186"/>
                <a:gd name="T32" fmla="*/ 4 w 187"/>
                <a:gd name="T33" fmla="*/ 1 h 186"/>
                <a:gd name="T34" fmla="*/ 4 w 187"/>
                <a:gd name="T35" fmla="*/ 1 h 186"/>
                <a:gd name="T36" fmla="*/ 3 w 187"/>
                <a:gd name="T37" fmla="*/ 1 h 186"/>
                <a:gd name="T38" fmla="*/ 3 w 187"/>
                <a:gd name="T39" fmla="*/ 1 h 186"/>
                <a:gd name="T40" fmla="*/ 2 w 187"/>
                <a:gd name="T41" fmla="*/ 1 h 186"/>
                <a:gd name="T42" fmla="*/ 2 w 187"/>
                <a:gd name="T43" fmla="*/ 1 h 186"/>
                <a:gd name="T44" fmla="*/ 2 w 187"/>
                <a:gd name="T45" fmla="*/ 1 h 186"/>
                <a:gd name="T46" fmla="*/ 2 w 187"/>
                <a:gd name="T47" fmla="*/ 0 h 186"/>
                <a:gd name="T48" fmla="*/ 1 w 187"/>
                <a:gd name="T49" fmla="*/ 0 h 186"/>
                <a:gd name="T50" fmla="*/ 1 w 187"/>
                <a:gd name="T51" fmla="*/ 1 h 186"/>
                <a:gd name="T52" fmla="*/ 1 w 187"/>
                <a:gd name="T53" fmla="*/ 1 h 186"/>
                <a:gd name="T54" fmla="*/ 1 w 187"/>
                <a:gd name="T55" fmla="*/ 1 h 186"/>
                <a:gd name="T56" fmla="*/ 1 w 187"/>
                <a:gd name="T57" fmla="*/ 1 h 186"/>
                <a:gd name="T58" fmla="*/ 1 w 187"/>
                <a:gd name="T59" fmla="*/ 1 h 186"/>
                <a:gd name="T60" fmla="*/ 1 w 187"/>
                <a:gd name="T61" fmla="*/ 1 h 186"/>
                <a:gd name="T62" fmla="*/ 1 w 187"/>
                <a:gd name="T63" fmla="*/ 1 h 186"/>
                <a:gd name="T64" fmla="*/ 1 w 187"/>
                <a:gd name="T65" fmla="*/ 2 h 186"/>
                <a:gd name="T66" fmla="*/ 0 w 187"/>
                <a:gd name="T67" fmla="*/ 2 h 186"/>
                <a:gd name="T68" fmla="*/ 0 w 187"/>
                <a:gd name="T69" fmla="*/ 2 h 18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87"/>
                <a:gd name="T106" fmla="*/ 0 h 186"/>
                <a:gd name="T107" fmla="*/ 187 w 187"/>
                <a:gd name="T108" fmla="*/ 186 h 18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87" h="186">
                  <a:moveTo>
                    <a:pt x="0" y="174"/>
                  </a:moveTo>
                  <a:lnTo>
                    <a:pt x="24" y="170"/>
                  </a:lnTo>
                  <a:lnTo>
                    <a:pt x="36" y="174"/>
                  </a:lnTo>
                  <a:lnTo>
                    <a:pt x="100" y="177"/>
                  </a:lnTo>
                  <a:lnTo>
                    <a:pt x="114" y="181"/>
                  </a:lnTo>
                  <a:lnTo>
                    <a:pt x="149" y="186"/>
                  </a:lnTo>
                  <a:lnTo>
                    <a:pt x="173" y="179"/>
                  </a:lnTo>
                  <a:lnTo>
                    <a:pt x="156" y="165"/>
                  </a:lnTo>
                  <a:lnTo>
                    <a:pt x="156" y="111"/>
                  </a:lnTo>
                  <a:lnTo>
                    <a:pt x="187" y="108"/>
                  </a:lnTo>
                  <a:lnTo>
                    <a:pt x="185" y="75"/>
                  </a:lnTo>
                  <a:lnTo>
                    <a:pt x="156" y="82"/>
                  </a:lnTo>
                  <a:lnTo>
                    <a:pt x="154" y="80"/>
                  </a:lnTo>
                  <a:lnTo>
                    <a:pt x="159" y="70"/>
                  </a:lnTo>
                  <a:lnTo>
                    <a:pt x="152" y="56"/>
                  </a:lnTo>
                  <a:lnTo>
                    <a:pt x="152" y="28"/>
                  </a:lnTo>
                  <a:lnTo>
                    <a:pt x="137" y="21"/>
                  </a:lnTo>
                  <a:lnTo>
                    <a:pt x="137" y="16"/>
                  </a:lnTo>
                  <a:lnTo>
                    <a:pt x="119" y="18"/>
                  </a:lnTo>
                  <a:lnTo>
                    <a:pt x="114" y="33"/>
                  </a:lnTo>
                  <a:lnTo>
                    <a:pt x="95" y="35"/>
                  </a:lnTo>
                  <a:lnTo>
                    <a:pt x="78" y="23"/>
                  </a:lnTo>
                  <a:lnTo>
                    <a:pt x="74" y="4"/>
                  </a:lnTo>
                  <a:lnTo>
                    <a:pt x="67" y="0"/>
                  </a:lnTo>
                  <a:lnTo>
                    <a:pt x="29" y="0"/>
                  </a:lnTo>
                  <a:lnTo>
                    <a:pt x="15" y="9"/>
                  </a:lnTo>
                  <a:lnTo>
                    <a:pt x="19" y="37"/>
                  </a:lnTo>
                  <a:lnTo>
                    <a:pt x="22" y="52"/>
                  </a:lnTo>
                  <a:lnTo>
                    <a:pt x="34" y="82"/>
                  </a:lnTo>
                  <a:lnTo>
                    <a:pt x="26" y="103"/>
                  </a:lnTo>
                  <a:lnTo>
                    <a:pt x="15" y="113"/>
                  </a:lnTo>
                  <a:lnTo>
                    <a:pt x="3" y="155"/>
                  </a:lnTo>
                  <a:lnTo>
                    <a:pt x="0" y="174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54" name="Freeform 182"/>
            <p:cNvSpPr>
              <a:spLocks/>
            </p:cNvSpPr>
            <p:nvPr/>
          </p:nvSpPr>
          <p:spPr bwMode="auto">
            <a:xfrm>
              <a:off x="3972" y="3410"/>
              <a:ext cx="6" cy="10"/>
            </a:xfrm>
            <a:custGeom>
              <a:avLst/>
              <a:gdLst>
                <a:gd name="T0" fmla="*/ 1 w 9"/>
                <a:gd name="T1" fmla="*/ 1 h 19"/>
                <a:gd name="T2" fmla="*/ 1 w 9"/>
                <a:gd name="T3" fmla="*/ 1 h 19"/>
                <a:gd name="T4" fmla="*/ 1 w 9"/>
                <a:gd name="T5" fmla="*/ 1 h 19"/>
                <a:gd name="T6" fmla="*/ 0 w 9"/>
                <a:gd name="T7" fmla="*/ 1 h 19"/>
                <a:gd name="T8" fmla="*/ 0 w 9"/>
                <a:gd name="T9" fmla="*/ 1 h 19"/>
                <a:gd name="T10" fmla="*/ 1 w 9"/>
                <a:gd name="T11" fmla="*/ 0 h 19"/>
                <a:gd name="T12" fmla="*/ 1 w 9"/>
                <a:gd name="T13" fmla="*/ 1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9"/>
                <a:gd name="T23" fmla="*/ 9 w 9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9">
                  <a:moveTo>
                    <a:pt x="9" y="2"/>
                  </a:moveTo>
                  <a:lnTo>
                    <a:pt x="5" y="19"/>
                  </a:lnTo>
                  <a:lnTo>
                    <a:pt x="0" y="7"/>
                  </a:lnTo>
                  <a:lnTo>
                    <a:pt x="0" y="4"/>
                  </a:lnTo>
                  <a:lnTo>
                    <a:pt x="7" y="0"/>
                  </a:lnTo>
                  <a:lnTo>
                    <a:pt x="9" y="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55" name="Freeform 183"/>
            <p:cNvSpPr>
              <a:spLocks/>
            </p:cNvSpPr>
            <p:nvPr/>
          </p:nvSpPr>
          <p:spPr bwMode="auto">
            <a:xfrm>
              <a:off x="4008" y="3550"/>
              <a:ext cx="146" cy="112"/>
            </a:xfrm>
            <a:custGeom>
              <a:avLst/>
              <a:gdLst>
                <a:gd name="T0" fmla="*/ 6 w 246"/>
                <a:gd name="T1" fmla="*/ 1 h 215"/>
                <a:gd name="T2" fmla="*/ 6 w 246"/>
                <a:gd name="T3" fmla="*/ 1 h 215"/>
                <a:gd name="T4" fmla="*/ 5 w 246"/>
                <a:gd name="T5" fmla="*/ 1 h 215"/>
                <a:gd name="T6" fmla="*/ 5 w 246"/>
                <a:gd name="T7" fmla="*/ 1 h 215"/>
                <a:gd name="T8" fmla="*/ 6 w 246"/>
                <a:gd name="T9" fmla="*/ 1 h 215"/>
                <a:gd name="T10" fmla="*/ 6 w 246"/>
                <a:gd name="T11" fmla="*/ 1 h 215"/>
                <a:gd name="T12" fmla="*/ 7 w 246"/>
                <a:gd name="T13" fmla="*/ 1 h 215"/>
                <a:gd name="T14" fmla="*/ 7 w 246"/>
                <a:gd name="T15" fmla="*/ 1 h 215"/>
                <a:gd name="T16" fmla="*/ 7 w 246"/>
                <a:gd name="T17" fmla="*/ 1 h 215"/>
                <a:gd name="T18" fmla="*/ 7 w 246"/>
                <a:gd name="T19" fmla="*/ 1 h 215"/>
                <a:gd name="T20" fmla="*/ 6 w 246"/>
                <a:gd name="T21" fmla="*/ 1 h 215"/>
                <a:gd name="T22" fmla="*/ 5 w 246"/>
                <a:gd name="T23" fmla="*/ 2 h 215"/>
                <a:gd name="T24" fmla="*/ 5 w 246"/>
                <a:gd name="T25" fmla="*/ 2 h 215"/>
                <a:gd name="T26" fmla="*/ 4 w 246"/>
                <a:gd name="T27" fmla="*/ 2 h 215"/>
                <a:gd name="T28" fmla="*/ 3 w 246"/>
                <a:gd name="T29" fmla="*/ 2 h 215"/>
                <a:gd name="T30" fmla="*/ 3 w 246"/>
                <a:gd name="T31" fmla="*/ 2 h 215"/>
                <a:gd name="T32" fmla="*/ 2 w 246"/>
                <a:gd name="T33" fmla="*/ 2 h 215"/>
                <a:gd name="T34" fmla="*/ 1 w 246"/>
                <a:gd name="T35" fmla="*/ 2 h 215"/>
                <a:gd name="T36" fmla="*/ 1 w 246"/>
                <a:gd name="T37" fmla="*/ 2 h 215"/>
                <a:gd name="T38" fmla="*/ 1 w 246"/>
                <a:gd name="T39" fmla="*/ 2 h 215"/>
                <a:gd name="T40" fmla="*/ 1 w 246"/>
                <a:gd name="T41" fmla="*/ 2 h 215"/>
                <a:gd name="T42" fmla="*/ 1 w 246"/>
                <a:gd name="T43" fmla="*/ 2 h 215"/>
                <a:gd name="T44" fmla="*/ 1 w 246"/>
                <a:gd name="T45" fmla="*/ 2 h 215"/>
                <a:gd name="T46" fmla="*/ 1 w 246"/>
                <a:gd name="T47" fmla="*/ 2 h 215"/>
                <a:gd name="T48" fmla="*/ 1 w 246"/>
                <a:gd name="T49" fmla="*/ 1 h 215"/>
                <a:gd name="T50" fmla="*/ 0 w 246"/>
                <a:gd name="T51" fmla="*/ 1 h 215"/>
                <a:gd name="T52" fmla="*/ 0 w 246"/>
                <a:gd name="T53" fmla="*/ 1 h 215"/>
                <a:gd name="T54" fmla="*/ 1 w 246"/>
                <a:gd name="T55" fmla="*/ 1 h 215"/>
                <a:gd name="T56" fmla="*/ 1 w 246"/>
                <a:gd name="T57" fmla="*/ 1 h 215"/>
                <a:gd name="T58" fmla="*/ 1 w 246"/>
                <a:gd name="T59" fmla="*/ 1 h 215"/>
                <a:gd name="T60" fmla="*/ 1 w 246"/>
                <a:gd name="T61" fmla="*/ 1 h 215"/>
                <a:gd name="T62" fmla="*/ 1 w 246"/>
                <a:gd name="T63" fmla="*/ 1 h 215"/>
                <a:gd name="T64" fmla="*/ 1 w 246"/>
                <a:gd name="T65" fmla="*/ 1 h 215"/>
                <a:gd name="T66" fmla="*/ 2 w 246"/>
                <a:gd name="T67" fmla="*/ 1 h 215"/>
                <a:gd name="T68" fmla="*/ 2 w 246"/>
                <a:gd name="T69" fmla="*/ 1 h 215"/>
                <a:gd name="T70" fmla="*/ 2 w 246"/>
                <a:gd name="T71" fmla="*/ 1 h 215"/>
                <a:gd name="T72" fmla="*/ 3 w 246"/>
                <a:gd name="T73" fmla="*/ 1 h 215"/>
                <a:gd name="T74" fmla="*/ 3 w 246"/>
                <a:gd name="T75" fmla="*/ 1 h 215"/>
                <a:gd name="T76" fmla="*/ 4 w 246"/>
                <a:gd name="T77" fmla="*/ 1 h 215"/>
                <a:gd name="T78" fmla="*/ 4 w 246"/>
                <a:gd name="T79" fmla="*/ 1 h 215"/>
                <a:gd name="T80" fmla="*/ 5 w 246"/>
                <a:gd name="T81" fmla="*/ 0 h 215"/>
                <a:gd name="T82" fmla="*/ 5 w 246"/>
                <a:gd name="T83" fmla="*/ 1 h 215"/>
                <a:gd name="T84" fmla="*/ 6 w 246"/>
                <a:gd name="T85" fmla="*/ 1 h 21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46"/>
                <a:gd name="T130" fmla="*/ 0 h 215"/>
                <a:gd name="T131" fmla="*/ 246 w 246"/>
                <a:gd name="T132" fmla="*/ 215 h 21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46" h="215">
                  <a:moveTo>
                    <a:pt x="227" y="9"/>
                  </a:moveTo>
                  <a:lnTo>
                    <a:pt x="232" y="61"/>
                  </a:lnTo>
                  <a:lnTo>
                    <a:pt x="220" y="61"/>
                  </a:lnTo>
                  <a:lnTo>
                    <a:pt x="215" y="76"/>
                  </a:lnTo>
                  <a:lnTo>
                    <a:pt x="225" y="83"/>
                  </a:lnTo>
                  <a:lnTo>
                    <a:pt x="234" y="76"/>
                  </a:lnTo>
                  <a:lnTo>
                    <a:pt x="246" y="76"/>
                  </a:lnTo>
                  <a:lnTo>
                    <a:pt x="246" y="80"/>
                  </a:lnTo>
                  <a:lnTo>
                    <a:pt x="239" y="106"/>
                  </a:lnTo>
                  <a:lnTo>
                    <a:pt x="225" y="116"/>
                  </a:lnTo>
                  <a:lnTo>
                    <a:pt x="208" y="146"/>
                  </a:lnTo>
                  <a:lnTo>
                    <a:pt x="180" y="179"/>
                  </a:lnTo>
                  <a:lnTo>
                    <a:pt x="161" y="194"/>
                  </a:lnTo>
                  <a:lnTo>
                    <a:pt x="126" y="205"/>
                  </a:lnTo>
                  <a:lnTo>
                    <a:pt x="109" y="201"/>
                  </a:lnTo>
                  <a:lnTo>
                    <a:pt x="85" y="203"/>
                  </a:lnTo>
                  <a:lnTo>
                    <a:pt x="57" y="215"/>
                  </a:lnTo>
                  <a:lnTo>
                    <a:pt x="48" y="215"/>
                  </a:lnTo>
                  <a:lnTo>
                    <a:pt x="36" y="203"/>
                  </a:lnTo>
                  <a:lnTo>
                    <a:pt x="31" y="205"/>
                  </a:lnTo>
                  <a:lnTo>
                    <a:pt x="22" y="179"/>
                  </a:lnTo>
                  <a:lnTo>
                    <a:pt x="29" y="175"/>
                  </a:lnTo>
                  <a:lnTo>
                    <a:pt x="29" y="165"/>
                  </a:lnTo>
                  <a:lnTo>
                    <a:pt x="5" y="113"/>
                  </a:lnTo>
                  <a:lnTo>
                    <a:pt x="0" y="109"/>
                  </a:lnTo>
                  <a:lnTo>
                    <a:pt x="7" y="101"/>
                  </a:lnTo>
                  <a:lnTo>
                    <a:pt x="19" y="113"/>
                  </a:lnTo>
                  <a:lnTo>
                    <a:pt x="38" y="113"/>
                  </a:lnTo>
                  <a:lnTo>
                    <a:pt x="52" y="104"/>
                  </a:lnTo>
                  <a:lnTo>
                    <a:pt x="52" y="42"/>
                  </a:lnTo>
                  <a:lnTo>
                    <a:pt x="64" y="54"/>
                  </a:lnTo>
                  <a:lnTo>
                    <a:pt x="64" y="73"/>
                  </a:lnTo>
                  <a:lnTo>
                    <a:pt x="85" y="76"/>
                  </a:lnTo>
                  <a:lnTo>
                    <a:pt x="107" y="52"/>
                  </a:lnTo>
                  <a:lnTo>
                    <a:pt x="121" y="59"/>
                  </a:lnTo>
                  <a:lnTo>
                    <a:pt x="133" y="57"/>
                  </a:lnTo>
                  <a:lnTo>
                    <a:pt x="166" y="19"/>
                  </a:lnTo>
                  <a:lnTo>
                    <a:pt x="194" y="0"/>
                  </a:lnTo>
                  <a:lnTo>
                    <a:pt x="218" y="2"/>
                  </a:lnTo>
                  <a:lnTo>
                    <a:pt x="227" y="9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56" name="Freeform 184"/>
            <p:cNvSpPr>
              <a:spLocks/>
            </p:cNvSpPr>
            <p:nvPr/>
          </p:nvSpPr>
          <p:spPr bwMode="auto">
            <a:xfrm>
              <a:off x="4039" y="3514"/>
              <a:ext cx="84" cy="76"/>
            </a:xfrm>
            <a:custGeom>
              <a:avLst/>
              <a:gdLst>
                <a:gd name="T0" fmla="*/ 0 w 142"/>
                <a:gd name="T1" fmla="*/ 1 h 145"/>
                <a:gd name="T2" fmla="*/ 1 w 142"/>
                <a:gd name="T3" fmla="*/ 2 h 145"/>
                <a:gd name="T4" fmla="*/ 1 w 142"/>
                <a:gd name="T5" fmla="*/ 2 h 145"/>
                <a:gd name="T6" fmla="*/ 1 w 142"/>
                <a:gd name="T7" fmla="*/ 2 h 145"/>
                <a:gd name="T8" fmla="*/ 1 w 142"/>
                <a:gd name="T9" fmla="*/ 2 h 145"/>
                <a:gd name="T10" fmla="*/ 2 w 142"/>
                <a:gd name="T11" fmla="*/ 2 h 145"/>
                <a:gd name="T12" fmla="*/ 2 w 142"/>
                <a:gd name="T13" fmla="*/ 2 h 145"/>
                <a:gd name="T14" fmla="*/ 3 w 142"/>
                <a:gd name="T15" fmla="*/ 1 h 145"/>
                <a:gd name="T16" fmla="*/ 4 w 142"/>
                <a:gd name="T17" fmla="*/ 1 h 145"/>
                <a:gd name="T18" fmla="*/ 3 w 142"/>
                <a:gd name="T19" fmla="*/ 1 h 145"/>
                <a:gd name="T20" fmla="*/ 3 w 142"/>
                <a:gd name="T21" fmla="*/ 1 h 145"/>
                <a:gd name="T22" fmla="*/ 2 w 142"/>
                <a:gd name="T23" fmla="*/ 1 h 145"/>
                <a:gd name="T24" fmla="*/ 2 w 142"/>
                <a:gd name="T25" fmla="*/ 0 h 145"/>
                <a:gd name="T26" fmla="*/ 1 w 142"/>
                <a:gd name="T27" fmla="*/ 1 h 145"/>
                <a:gd name="T28" fmla="*/ 1 w 142"/>
                <a:gd name="T29" fmla="*/ 1 h 145"/>
                <a:gd name="T30" fmla="*/ 1 w 142"/>
                <a:gd name="T31" fmla="*/ 1 h 145"/>
                <a:gd name="T32" fmla="*/ 1 w 142"/>
                <a:gd name="T33" fmla="*/ 1 h 145"/>
                <a:gd name="T34" fmla="*/ 0 w 142"/>
                <a:gd name="T35" fmla="*/ 1 h 145"/>
                <a:gd name="T36" fmla="*/ 0 w 142"/>
                <a:gd name="T37" fmla="*/ 1 h 145"/>
                <a:gd name="T38" fmla="*/ 0 w 142"/>
                <a:gd name="T39" fmla="*/ 1 h 14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2"/>
                <a:gd name="T61" fmla="*/ 0 h 145"/>
                <a:gd name="T62" fmla="*/ 142 w 142"/>
                <a:gd name="T63" fmla="*/ 145 h 14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2" h="145">
                  <a:moveTo>
                    <a:pt x="0" y="111"/>
                  </a:moveTo>
                  <a:lnTo>
                    <a:pt x="12" y="123"/>
                  </a:lnTo>
                  <a:lnTo>
                    <a:pt x="12" y="142"/>
                  </a:lnTo>
                  <a:lnTo>
                    <a:pt x="33" y="145"/>
                  </a:lnTo>
                  <a:lnTo>
                    <a:pt x="55" y="121"/>
                  </a:lnTo>
                  <a:lnTo>
                    <a:pt x="69" y="128"/>
                  </a:lnTo>
                  <a:lnTo>
                    <a:pt x="81" y="126"/>
                  </a:lnTo>
                  <a:lnTo>
                    <a:pt x="114" y="88"/>
                  </a:lnTo>
                  <a:lnTo>
                    <a:pt x="142" y="69"/>
                  </a:lnTo>
                  <a:lnTo>
                    <a:pt x="123" y="62"/>
                  </a:lnTo>
                  <a:lnTo>
                    <a:pt x="116" y="45"/>
                  </a:lnTo>
                  <a:lnTo>
                    <a:pt x="92" y="26"/>
                  </a:lnTo>
                  <a:lnTo>
                    <a:pt x="78" y="0"/>
                  </a:lnTo>
                  <a:lnTo>
                    <a:pt x="55" y="15"/>
                  </a:lnTo>
                  <a:lnTo>
                    <a:pt x="48" y="5"/>
                  </a:lnTo>
                  <a:lnTo>
                    <a:pt x="17" y="10"/>
                  </a:lnTo>
                  <a:lnTo>
                    <a:pt x="14" y="64"/>
                  </a:lnTo>
                  <a:lnTo>
                    <a:pt x="0" y="71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57" name="Freeform 185"/>
            <p:cNvSpPr>
              <a:spLocks/>
            </p:cNvSpPr>
            <p:nvPr/>
          </p:nvSpPr>
          <p:spPr bwMode="auto">
            <a:xfrm>
              <a:off x="4085" y="3497"/>
              <a:ext cx="70" cy="58"/>
            </a:xfrm>
            <a:custGeom>
              <a:avLst/>
              <a:gdLst>
                <a:gd name="T0" fmla="*/ 2 w 118"/>
                <a:gd name="T1" fmla="*/ 0 h 111"/>
                <a:gd name="T2" fmla="*/ 1 w 118"/>
                <a:gd name="T3" fmla="*/ 1 h 111"/>
                <a:gd name="T4" fmla="*/ 1 w 118"/>
                <a:gd name="T5" fmla="*/ 1 h 111"/>
                <a:gd name="T6" fmla="*/ 1 w 118"/>
                <a:gd name="T7" fmla="*/ 1 h 111"/>
                <a:gd name="T8" fmla="*/ 0 w 118"/>
                <a:gd name="T9" fmla="*/ 1 h 111"/>
                <a:gd name="T10" fmla="*/ 0 w 118"/>
                <a:gd name="T11" fmla="*/ 1 h 111"/>
                <a:gd name="T12" fmla="*/ 1 w 118"/>
                <a:gd name="T13" fmla="*/ 1 h 111"/>
                <a:gd name="T14" fmla="*/ 1 w 118"/>
                <a:gd name="T15" fmla="*/ 1 h 111"/>
                <a:gd name="T16" fmla="*/ 1 w 118"/>
                <a:gd name="T17" fmla="*/ 1 h 111"/>
                <a:gd name="T18" fmla="*/ 2 w 118"/>
                <a:gd name="T19" fmla="*/ 1 h 111"/>
                <a:gd name="T20" fmla="*/ 2 w 118"/>
                <a:gd name="T21" fmla="*/ 1 h 111"/>
                <a:gd name="T22" fmla="*/ 2 w 118"/>
                <a:gd name="T23" fmla="*/ 1 h 111"/>
                <a:gd name="T24" fmla="*/ 3 w 118"/>
                <a:gd name="T25" fmla="*/ 1 h 111"/>
                <a:gd name="T26" fmla="*/ 3 w 118"/>
                <a:gd name="T27" fmla="*/ 1 h 111"/>
                <a:gd name="T28" fmla="*/ 3 w 118"/>
                <a:gd name="T29" fmla="*/ 1 h 111"/>
                <a:gd name="T30" fmla="*/ 2 w 118"/>
                <a:gd name="T31" fmla="*/ 1 h 111"/>
                <a:gd name="T32" fmla="*/ 2 w 118"/>
                <a:gd name="T33" fmla="*/ 1 h 111"/>
                <a:gd name="T34" fmla="*/ 2 w 118"/>
                <a:gd name="T35" fmla="*/ 0 h 111"/>
                <a:gd name="T36" fmla="*/ 2 w 118"/>
                <a:gd name="T37" fmla="*/ 0 h 11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8"/>
                <a:gd name="T58" fmla="*/ 0 h 111"/>
                <a:gd name="T59" fmla="*/ 118 w 118"/>
                <a:gd name="T60" fmla="*/ 111 h 11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8" h="111">
                  <a:moveTo>
                    <a:pt x="78" y="0"/>
                  </a:moveTo>
                  <a:lnTo>
                    <a:pt x="59" y="3"/>
                  </a:lnTo>
                  <a:lnTo>
                    <a:pt x="52" y="17"/>
                  </a:lnTo>
                  <a:lnTo>
                    <a:pt x="24" y="36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14" y="59"/>
                  </a:lnTo>
                  <a:lnTo>
                    <a:pt x="38" y="78"/>
                  </a:lnTo>
                  <a:lnTo>
                    <a:pt x="45" y="95"/>
                  </a:lnTo>
                  <a:lnTo>
                    <a:pt x="64" y="102"/>
                  </a:lnTo>
                  <a:lnTo>
                    <a:pt x="88" y="104"/>
                  </a:lnTo>
                  <a:lnTo>
                    <a:pt x="97" y="111"/>
                  </a:lnTo>
                  <a:lnTo>
                    <a:pt x="116" y="69"/>
                  </a:lnTo>
                  <a:lnTo>
                    <a:pt x="118" y="29"/>
                  </a:lnTo>
                  <a:lnTo>
                    <a:pt x="116" y="17"/>
                  </a:lnTo>
                  <a:lnTo>
                    <a:pt x="92" y="7"/>
                  </a:lnTo>
                  <a:lnTo>
                    <a:pt x="78" y="5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58" name="Freeform 186"/>
            <p:cNvSpPr>
              <a:spLocks/>
            </p:cNvSpPr>
            <p:nvPr/>
          </p:nvSpPr>
          <p:spPr bwMode="auto">
            <a:xfrm>
              <a:off x="4129" y="3457"/>
              <a:ext cx="94" cy="133"/>
            </a:xfrm>
            <a:custGeom>
              <a:avLst/>
              <a:gdLst>
                <a:gd name="T0" fmla="*/ 1 w 158"/>
                <a:gd name="T1" fmla="*/ 3 h 256"/>
                <a:gd name="T2" fmla="*/ 1 w 158"/>
                <a:gd name="T3" fmla="*/ 3 h 256"/>
                <a:gd name="T4" fmla="*/ 1 w 158"/>
                <a:gd name="T5" fmla="*/ 3 h 256"/>
                <a:gd name="T6" fmla="*/ 1 w 158"/>
                <a:gd name="T7" fmla="*/ 3 h 256"/>
                <a:gd name="T8" fmla="*/ 2 w 158"/>
                <a:gd name="T9" fmla="*/ 2 h 256"/>
                <a:gd name="T10" fmla="*/ 2 w 158"/>
                <a:gd name="T11" fmla="*/ 2 h 256"/>
                <a:gd name="T12" fmla="*/ 2 w 158"/>
                <a:gd name="T13" fmla="*/ 2 h 256"/>
                <a:gd name="T14" fmla="*/ 2 w 158"/>
                <a:gd name="T15" fmla="*/ 2 h 256"/>
                <a:gd name="T16" fmla="*/ 3 w 158"/>
                <a:gd name="T17" fmla="*/ 1 h 256"/>
                <a:gd name="T18" fmla="*/ 4 w 158"/>
                <a:gd name="T19" fmla="*/ 1 h 256"/>
                <a:gd name="T20" fmla="*/ 4 w 158"/>
                <a:gd name="T21" fmla="*/ 1 h 256"/>
                <a:gd name="T22" fmla="*/ 4 w 158"/>
                <a:gd name="T23" fmla="*/ 0 h 256"/>
                <a:gd name="T24" fmla="*/ 4 w 158"/>
                <a:gd name="T25" fmla="*/ 0 h 256"/>
                <a:gd name="T26" fmla="*/ 4 w 158"/>
                <a:gd name="T27" fmla="*/ 1 h 256"/>
                <a:gd name="T28" fmla="*/ 2 w 158"/>
                <a:gd name="T29" fmla="*/ 1 h 256"/>
                <a:gd name="T30" fmla="*/ 2 w 158"/>
                <a:gd name="T31" fmla="*/ 1 h 256"/>
                <a:gd name="T32" fmla="*/ 2 w 158"/>
                <a:gd name="T33" fmla="*/ 1 h 256"/>
                <a:gd name="T34" fmla="*/ 2 w 158"/>
                <a:gd name="T35" fmla="*/ 1 h 256"/>
                <a:gd name="T36" fmla="*/ 2 w 158"/>
                <a:gd name="T37" fmla="*/ 1 h 256"/>
                <a:gd name="T38" fmla="*/ 2 w 158"/>
                <a:gd name="T39" fmla="*/ 1 h 256"/>
                <a:gd name="T40" fmla="*/ 2 w 158"/>
                <a:gd name="T41" fmla="*/ 1 h 256"/>
                <a:gd name="T42" fmla="*/ 2 w 158"/>
                <a:gd name="T43" fmla="*/ 1 h 256"/>
                <a:gd name="T44" fmla="*/ 2 w 158"/>
                <a:gd name="T45" fmla="*/ 1 h 256"/>
                <a:gd name="T46" fmla="*/ 1 w 158"/>
                <a:gd name="T47" fmla="*/ 1 h 256"/>
                <a:gd name="T48" fmla="*/ 1 w 158"/>
                <a:gd name="T49" fmla="*/ 1 h 256"/>
                <a:gd name="T50" fmla="*/ 1 w 158"/>
                <a:gd name="T51" fmla="*/ 1 h 256"/>
                <a:gd name="T52" fmla="*/ 0 w 158"/>
                <a:gd name="T53" fmla="*/ 1 h 256"/>
                <a:gd name="T54" fmla="*/ 1 w 158"/>
                <a:gd name="T55" fmla="*/ 1 h 256"/>
                <a:gd name="T56" fmla="*/ 1 w 158"/>
                <a:gd name="T57" fmla="*/ 1 h 256"/>
                <a:gd name="T58" fmla="*/ 1 w 158"/>
                <a:gd name="T59" fmla="*/ 1 h 256"/>
                <a:gd name="T60" fmla="*/ 1 w 158"/>
                <a:gd name="T61" fmla="*/ 1 h 256"/>
                <a:gd name="T62" fmla="*/ 1 w 158"/>
                <a:gd name="T63" fmla="*/ 1 h 256"/>
                <a:gd name="T64" fmla="*/ 1 w 158"/>
                <a:gd name="T65" fmla="*/ 1 h 256"/>
                <a:gd name="T66" fmla="*/ 1 w 158"/>
                <a:gd name="T67" fmla="*/ 2 h 256"/>
                <a:gd name="T68" fmla="*/ 1 w 158"/>
                <a:gd name="T69" fmla="*/ 2 h 256"/>
                <a:gd name="T70" fmla="*/ 1 w 158"/>
                <a:gd name="T71" fmla="*/ 3 h 256"/>
                <a:gd name="T72" fmla="*/ 1 w 158"/>
                <a:gd name="T73" fmla="*/ 3 h 256"/>
                <a:gd name="T74" fmla="*/ 1 w 158"/>
                <a:gd name="T75" fmla="*/ 3 h 25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58"/>
                <a:gd name="T115" fmla="*/ 0 h 256"/>
                <a:gd name="T116" fmla="*/ 158 w 158"/>
                <a:gd name="T117" fmla="*/ 256 h 25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58" h="256">
                  <a:moveTo>
                    <a:pt x="42" y="256"/>
                  </a:moveTo>
                  <a:lnTo>
                    <a:pt x="42" y="248"/>
                  </a:lnTo>
                  <a:lnTo>
                    <a:pt x="37" y="246"/>
                  </a:lnTo>
                  <a:lnTo>
                    <a:pt x="42" y="237"/>
                  </a:lnTo>
                  <a:lnTo>
                    <a:pt x="73" y="222"/>
                  </a:lnTo>
                  <a:lnTo>
                    <a:pt x="82" y="211"/>
                  </a:lnTo>
                  <a:lnTo>
                    <a:pt x="82" y="187"/>
                  </a:lnTo>
                  <a:lnTo>
                    <a:pt x="70" y="147"/>
                  </a:lnTo>
                  <a:lnTo>
                    <a:pt x="108" y="109"/>
                  </a:lnTo>
                  <a:lnTo>
                    <a:pt x="132" y="102"/>
                  </a:lnTo>
                  <a:lnTo>
                    <a:pt x="158" y="71"/>
                  </a:lnTo>
                  <a:lnTo>
                    <a:pt x="155" y="0"/>
                  </a:lnTo>
                  <a:lnTo>
                    <a:pt x="137" y="15"/>
                  </a:lnTo>
                  <a:lnTo>
                    <a:pt x="96" y="19"/>
                  </a:lnTo>
                  <a:lnTo>
                    <a:pt x="73" y="17"/>
                  </a:lnTo>
                  <a:lnTo>
                    <a:pt x="66" y="26"/>
                  </a:lnTo>
                  <a:lnTo>
                    <a:pt x="73" y="48"/>
                  </a:lnTo>
                  <a:lnTo>
                    <a:pt x="89" y="67"/>
                  </a:lnTo>
                  <a:lnTo>
                    <a:pt x="87" y="81"/>
                  </a:lnTo>
                  <a:lnTo>
                    <a:pt x="75" y="97"/>
                  </a:lnTo>
                  <a:lnTo>
                    <a:pt x="63" y="83"/>
                  </a:lnTo>
                  <a:lnTo>
                    <a:pt x="66" y="62"/>
                  </a:lnTo>
                  <a:lnTo>
                    <a:pt x="54" y="62"/>
                  </a:lnTo>
                  <a:lnTo>
                    <a:pt x="47" y="55"/>
                  </a:lnTo>
                  <a:lnTo>
                    <a:pt x="0" y="69"/>
                  </a:lnTo>
                  <a:lnTo>
                    <a:pt x="2" y="78"/>
                  </a:lnTo>
                  <a:lnTo>
                    <a:pt x="4" y="78"/>
                  </a:lnTo>
                  <a:lnTo>
                    <a:pt x="4" y="83"/>
                  </a:lnTo>
                  <a:lnTo>
                    <a:pt x="18" y="85"/>
                  </a:lnTo>
                  <a:lnTo>
                    <a:pt x="42" y="95"/>
                  </a:lnTo>
                  <a:lnTo>
                    <a:pt x="44" y="107"/>
                  </a:lnTo>
                  <a:lnTo>
                    <a:pt x="42" y="147"/>
                  </a:lnTo>
                  <a:lnTo>
                    <a:pt x="23" y="189"/>
                  </a:lnTo>
                  <a:lnTo>
                    <a:pt x="28" y="241"/>
                  </a:lnTo>
                  <a:lnTo>
                    <a:pt x="30" y="256"/>
                  </a:lnTo>
                  <a:lnTo>
                    <a:pt x="42" y="256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59" name="Freeform 187"/>
            <p:cNvSpPr>
              <a:spLocks/>
            </p:cNvSpPr>
            <p:nvPr/>
          </p:nvSpPr>
          <p:spPr bwMode="auto">
            <a:xfrm>
              <a:off x="4154" y="3448"/>
              <a:ext cx="28" cy="59"/>
            </a:xfrm>
            <a:custGeom>
              <a:avLst/>
              <a:gdLst>
                <a:gd name="T0" fmla="*/ 1 w 47"/>
                <a:gd name="T1" fmla="*/ 1 h 113"/>
                <a:gd name="T2" fmla="*/ 0 w 47"/>
                <a:gd name="T3" fmla="*/ 1 h 113"/>
                <a:gd name="T4" fmla="*/ 1 w 47"/>
                <a:gd name="T5" fmla="*/ 1 h 113"/>
                <a:gd name="T6" fmla="*/ 1 w 47"/>
                <a:gd name="T7" fmla="*/ 1 h 113"/>
                <a:gd name="T8" fmla="*/ 1 w 47"/>
                <a:gd name="T9" fmla="*/ 1 h 113"/>
                <a:gd name="T10" fmla="*/ 1 w 47"/>
                <a:gd name="T11" fmla="*/ 0 h 113"/>
                <a:gd name="T12" fmla="*/ 1 w 47"/>
                <a:gd name="T13" fmla="*/ 1 h 113"/>
                <a:gd name="T14" fmla="*/ 1 w 47"/>
                <a:gd name="T15" fmla="*/ 1 h 113"/>
                <a:gd name="T16" fmla="*/ 1 w 47"/>
                <a:gd name="T17" fmla="*/ 1 h 113"/>
                <a:gd name="T18" fmla="*/ 1 w 47"/>
                <a:gd name="T19" fmla="*/ 1 h 113"/>
                <a:gd name="T20" fmla="*/ 1 w 47"/>
                <a:gd name="T21" fmla="*/ 1 h 113"/>
                <a:gd name="T22" fmla="*/ 1 w 47"/>
                <a:gd name="T23" fmla="*/ 1 h 113"/>
                <a:gd name="T24" fmla="*/ 1 w 47"/>
                <a:gd name="T25" fmla="*/ 1 h 113"/>
                <a:gd name="T26" fmla="*/ 1 w 47"/>
                <a:gd name="T27" fmla="*/ 1 h 113"/>
                <a:gd name="T28" fmla="*/ 1 w 47"/>
                <a:gd name="T29" fmla="*/ 1 h 113"/>
                <a:gd name="T30" fmla="*/ 1 w 47"/>
                <a:gd name="T31" fmla="*/ 1 h 113"/>
                <a:gd name="T32" fmla="*/ 1 w 47"/>
                <a:gd name="T33" fmla="*/ 1 h 113"/>
                <a:gd name="T34" fmla="*/ 1 w 47"/>
                <a:gd name="T35" fmla="*/ 1 h 11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7"/>
                <a:gd name="T55" fmla="*/ 0 h 113"/>
                <a:gd name="T56" fmla="*/ 47 w 47"/>
                <a:gd name="T57" fmla="*/ 113 h 11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7" h="113">
                  <a:moveTo>
                    <a:pt x="5" y="71"/>
                  </a:moveTo>
                  <a:lnTo>
                    <a:pt x="0" y="64"/>
                  </a:lnTo>
                  <a:lnTo>
                    <a:pt x="9" y="45"/>
                  </a:lnTo>
                  <a:lnTo>
                    <a:pt x="7" y="31"/>
                  </a:lnTo>
                  <a:lnTo>
                    <a:pt x="12" y="21"/>
                  </a:lnTo>
                  <a:lnTo>
                    <a:pt x="2" y="0"/>
                  </a:lnTo>
                  <a:lnTo>
                    <a:pt x="17" y="2"/>
                  </a:lnTo>
                  <a:lnTo>
                    <a:pt x="24" y="7"/>
                  </a:lnTo>
                  <a:lnTo>
                    <a:pt x="31" y="33"/>
                  </a:lnTo>
                  <a:lnTo>
                    <a:pt x="24" y="42"/>
                  </a:lnTo>
                  <a:lnTo>
                    <a:pt x="31" y="64"/>
                  </a:lnTo>
                  <a:lnTo>
                    <a:pt x="47" y="83"/>
                  </a:lnTo>
                  <a:lnTo>
                    <a:pt x="45" y="97"/>
                  </a:lnTo>
                  <a:lnTo>
                    <a:pt x="33" y="113"/>
                  </a:lnTo>
                  <a:lnTo>
                    <a:pt x="21" y="99"/>
                  </a:lnTo>
                  <a:lnTo>
                    <a:pt x="24" y="78"/>
                  </a:lnTo>
                  <a:lnTo>
                    <a:pt x="12" y="78"/>
                  </a:lnTo>
                  <a:lnTo>
                    <a:pt x="5" y="71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60" name="Freeform 188"/>
            <p:cNvSpPr>
              <a:spLocks/>
            </p:cNvSpPr>
            <p:nvPr/>
          </p:nvSpPr>
          <p:spPr bwMode="auto">
            <a:xfrm>
              <a:off x="4136" y="3582"/>
              <a:ext cx="11" cy="11"/>
            </a:xfrm>
            <a:custGeom>
              <a:avLst/>
              <a:gdLst>
                <a:gd name="T0" fmla="*/ 1 w 19"/>
                <a:gd name="T1" fmla="*/ 1 h 22"/>
                <a:gd name="T2" fmla="*/ 1 w 19"/>
                <a:gd name="T3" fmla="*/ 0 h 22"/>
                <a:gd name="T4" fmla="*/ 1 w 19"/>
                <a:gd name="T5" fmla="*/ 0 h 22"/>
                <a:gd name="T6" fmla="*/ 0 w 19"/>
                <a:gd name="T7" fmla="*/ 1 h 22"/>
                <a:gd name="T8" fmla="*/ 1 w 19"/>
                <a:gd name="T9" fmla="*/ 1 h 22"/>
                <a:gd name="T10" fmla="*/ 1 w 19"/>
                <a:gd name="T11" fmla="*/ 1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22"/>
                <a:gd name="T20" fmla="*/ 19 w 19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22">
                  <a:moveTo>
                    <a:pt x="19" y="15"/>
                  </a:moveTo>
                  <a:lnTo>
                    <a:pt x="17" y="0"/>
                  </a:lnTo>
                  <a:lnTo>
                    <a:pt x="5" y="0"/>
                  </a:lnTo>
                  <a:lnTo>
                    <a:pt x="0" y="15"/>
                  </a:lnTo>
                  <a:lnTo>
                    <a:pt x="10" y="22"/>
                  </a:lnTo>
                  <a:lnTo>
                    <a:pt x="19" y="15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61" name="Freeform 189"/>
            <p:cNvSpPr>
              <a:spLocks/>
            </p:cNvSpPr>
            <p:nvPr/>
          </p:nvSpPr>
          <p:spPr bwMode="auto">
            <a:xfrm>
              <a:off x="3056" y="3375"/>
              <a:ext cx="5" cy="9"/>
            </a:xfrm>
            <a:custGeom>
              <a:avLst/>
              <a:gdLst>
                <a:gd name="T0" fmla="*/ 1 w 9"/>
                <a:gd name="T1" fmla="*/ 0 h 16"/>
                <a:gd name="T2" fmla="*/ 0 w 9"/>
                <a:gd name="T3" fmla="*/ 1 h 16"/>
                <a:gd name="T4" fmla="*/ 1 w 9"/>
                <a:gd name="T5" fmla="*/ 1 h 16"/>
                <a:gd name="T6" fmla="*/ 0 w 9"/>
                <a:gd name="T7" fmla="*/ 1 h 16"/>
                <a:gd name="T8" fmla="*/ 1 w 9"/>
                <a:gd name="T9" fmla="*/ 1 h 16"/>
                <a:gd name="T10" fmla="*/ 1 w 9"/>
                <a:gd name="T11" fmla="*/ 1 h 16"/>
                <a:gd name="T12" fmla="*/ 1 w 9"/>
                <a:gd name="T13" fmla="*/ 0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6"/>
                <a:gd name="T23" fmla="*/ 9 w 9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6">
                  <a:moveTo>
                    <a:pt x="2" y="0"/>
                  </a:moveTo>
                  <a:lnTo>
                    <a:pt x="0" y="4"/>
                  </a:lnTo>
                  <a:lnTo>
                    <a:pt x="4" y="9"/>
                  </a:lnTo>
                  <a:lnTo>
                    <a:pt x="0" y="14"/>
                  </a:lnTo>
                  <a:lnTo>
                    <a:pt x="4" y="16"/>
                  </a:lnTo>
                  <a:lnTo>
                    <a:pt x="9" y="1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62" name="Freeform 190"/>
            <p:cNvSpPr>
              <a:spLocks/>
            </p:cNvSpPr>
            <p:nvPr/>
          </p:nvSpPr>
          <p:spPr bwMode="auto">
            <a:xfrm>
              <a:off x="3208" y="3732"/>
              <a:ext cx="8" cy="16"/>
            </a:xfrm>
            <a:custGeom>
              <a:avLst/>
              <a:gdLst>
                <a:gd name="T0" fmla="*/ 1 w 14"/>
                <a:gd name="T1" fmla="*/ 0 h 31"/>
                <a:gd name="T2" fmla="*/ 0 w 14"/>
                <a:gd name="T3" fmla="*/ 1 h 31"/>
                <a:gd name="T4" fmla="*/ 1 w 14"/>
                <a:gd name="T5" fmla="*/ 1 h 31"/>
                <a:gd name="T6" fmla="*/ 1 w 14"/>
                <a:gd name="T7" fmla="*/ 1 h 31"/>
                <a:gd name="T8" fmla="*/ 1 w 14"/>
                <a:gd name="T9" fmla="*/ 1 h 31"/>
                <a:gd name="T10" fmla="*/ 1 w 14"/>
                <a:gd name="T11" fmla="*/ 0 h 3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31"/>
                <a:gd name="T20" fmla="*/ 14 w 14"/>
                <a:gd name="T21" fmla="*/ 31 h 3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31">
                  <a:moveTo>
                    <a:pt x="5" y="0"/>
                  </a:moveTo>
                  <a:lnTo>
                    <a:pt x="0" y="29"/>
                  </a:lnTo>
                  <a:lnTo>
                    <a:pt x="7" y="31"/>
                  </a:lnTo>
                  <a:lnTo>
                    <a:pt x="14" y="10"/>
                  </a:lnTo>
                  <a:lnTo>
                    <a:pt x="12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63" name="Freeform 191"/>
            <p:cNvSpPr>
              <a:spLocks/>
            </p:cNvSpPr>
            <p:nvPr/>
          </p:nvSpPr>
          <p:spPr bwMode="auto">
            <a:xfrm>
              <a:off x="3323" y="3839"/>
              <a:ext cx="31" cy="13"/>
            </a:xfrm>
            <a:custGeom>
              <a:avLst/>
              <a:gdLst>
                <a:gd name="T0" fmla="*/ 0 w 52"/>
                <a:gd name="T1" fmla="*/ 1 h 24"/>
                <a:gd name="T2" fmla="*/ 1 w 52"/>
                <a:gd name="T3" fmla="*/ 1 h 24"/>
                <a:gd name="T4" fmla="*/ 1 w 52"/>
                <a:gd name="T5" fmla="*/ 1 h 24"/>
                <a:gd name="T6" fmla="*/ 1 w 52"/>
                <a:gd name="T7" fmla="*/ 1 h 24"/>
                <a:gd name="T8" fmla="*/ 1 w 52"/>
                <a:gd name="T9" fmla="*/ 1 h 24"/>
                <a:gd name="T10" fmla="*/ 1 w 52"/>
                <a:gd name="T11" fmla="*/ 1 h 24"/>
                <a:gd name="T12" fmla="*/ 1 w 52"/>
                <a:gd name="T13" fmla="*/ 0 h 24"/>
                <a:gd name="T14" fmla="*/ 1 w 52"/>
                <a:gd name="T15" fmla="*/ 1 h 24"/>
                <a:gd name="T16" fmla="*/ 1 w 52"/>
                <a:gd name="T17" fmla="*/ 1 h 24"/>
                <a:gd name="T18" fmla="*/ 1 w 52"/>
                <a:gd name="T19" fmla="*/ 1 h 24"/>
                <a:gd name="T20" fmla="*/ 0 w 52"/>
                <a:gd name="T21" fmla="*/ 1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24"/>
                <a:gd name="T35" fmla="*/ 52 w 52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24">
                  <a:moveTo>
                    <a:pt x="0" y="12"/>
                  </a:moveTo>
                  <a:lnTo>
                    <a:pt x="12" y="21"/>
                  </a:lnTo>
                  <a:lnTo>
                    <a:pt x="19" y="17"/>
                  </a:lnTo>
                  <a:lnTo>
                    <a:pt x="26" y="24"/>
                  </a:lnTo>
                  <a:lnTo>
                    <a:pt x="52" y="12"/>
                  </a:lnTo>
                  <a:lnTo>
                    <a:pt x="52" y="2"/>
                  </a:lnTo>
                  <a:lnTo>
                    <a:pt x="23" y="0"/>
                  </a:lnTo>
                  <a:lnTo>
                    <a:pt x="12" y="2"/>
                  </a:lnTo>
                  <a:lnTo>
                    <a:pt x="16" y="9"/>
                  </a:lnTo>
                  <a:lnTo>
                    <a:pt x="12" y="17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64" name="Freeform 192"/>
            <p:cNvSpPr>
              <a:spLocks/>
            </p:cNvSpPr>
            <p:nvPr/>
          </p:nvSpPr>
          <p:spPr bwMode="auto">
            <a:xfrm>
              <a:off x="3317" y="3292"/>
              <a:ext cx="9" cy="6"/>
            </a:xfrm>
            <a:custGeom>
              <a:avLst/>
              <a:gdLst>
                <a:gd name="T0" fmla="*/ 0 w 15"/>
                <a:gd name="T1" fmla="*/ 1 h 12"/>
                <a:gd name="T2" fmla="*/ 1 w 15"/>
                <a:gd name="T3" fmla="*/ 1 h 12"/>
                <a:gd name="T4" fmla="*/ 1 w 15"/>
                <a:gd name="T5" fmla="*/ 0 h 12"/>
                <a:gd name="T6" fmla="*/ 1 w 15"/>
                <a:gd name="T7" fmla="*/ 1 h 12"/>
                <a:gd name="T8" fmla="*/ 1 w 15"/>
                <a:gd name="T9" fmla="*/ 1 h 12"/>
                <a:gd name="T10" fmla="*/ 0 w 15"/>
                <a:gd name="T11" fmla="*/ 1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12"/>
                <a:gd name="T20" fmla="*/ 15 w 15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12">
                  <a:moveTo>
                    <a:pt x="0" y="12"/>
                  </a:moveTo>
                  <a:lnTo>
                    <a:pt x="10" y="12"/>
                  </a:lnTo>
                  <a:lnTo>
                    <a:pt x="15" y="0"/>
                  </a:lnTo>
                  <a:lnTo>
                    <a:pt x="3" y="2"/>
                  </a:lnTo>
                  <a:lnTo>
                    <a:pt x="5" y="9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65" name="Freeform 193"/>
            <p:cNvSpPr>
              <a:spLocks/>
            </p:cNvSpPr>
            <p:nvPr/>
          </p:nvSpPr>
          <p:spPr bwMode="auto">
            <a:xfrm>
              <a:off x="3172" y="3230"/>
              <a:ext cx="18" cy="6"/>
            </a:xfrm>
            <a:custGeom>
              <a:avLst/>
              <a:gdLst>
                <a:gd name="T0" fmla="*/ 0 w 30"/>
                <a:gd name="T1" fmla="*/ 1 h 12"/>
                <a:gd name="T2" fmla="*/ 1 w 30"/>
                <a:gd name="T3" fmla="*/ 1 h 12"/>
                <a:gd name="T4" fmla="*/ 1 w 30"/>
                <a:gd name="T5" fmla="*/ 1 h 12"/>
                <a:gd name="T6" fmla="*/ 1 w 30"/>
                <a:gd name="T7" fmla="*/ 1 h 12"/>
                <a:gd name="T8" fmla="*/ 1 w 30"/>
                <a:gd name="T9" fmla="*/ 0 h 12"/>
                <a:gd name="T10" fmla="*/ 0 w 30"/>
                <a:gd name="T11" fmla="*/ 1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2"/>
                <a:gd name="T20" fmla="*/ 30 w 30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2">
                  <a:moveTo>
                    <a:pt x="0" y="5"/>
                  </a:moveTo>
                  <a:lnTo>
                    <a:pt x="16" y="12"/>
                  </a:lnTo>
                  <a:lnTo>
                    <a:pt x="30" y="9"/>
                  </a:lnTo>
                  <a:lnTo>
                    <a:pt x="28" y="5"/>
                  </a:lnTo>
                  <a:lnTo>
                    <a:pt x="7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66" name="Freeform 194"/>
            <p:cNvSpPr>
              <a:spLocks/>
            </p:cNvSpPr>
            <p:nvPr/>
          </p:nvSpPr>
          <p:spPr bwMode="auto">
            <a:xfrm>
              <a:off x="3130" y="3202"/>
              <a:ext cx="5" cy="4"/>
            </a:xfrm>
            <a:custGeom>
              <a:avLst/>
              <a:gdLst>
                <a:gd name="T0" fmla="*/ 0 w 9"/>
                <a:gd name="T1" fmla="*/ 1 h 8"/>
                <a:gd name="T2" fmla="*/ 0 w 9"/>
                <a:gd name="T3" fmla="*/ 1 h 8"/>
                <a:gd name="T4" fmla="*/ 1 w 9"/>
                <a:gd name="T5" fmla="*/ 1 h 8"/>
                <a:gd name="T6" fmla="*/ 1 w 9"/>
                <a:gd name="T7" fmla="*/ 0 h 8"/>
                <a:gd name="T8" fmla="*/ 0 w 9"/>
                <a:gd name="T9" fmla="*/ 1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8"/>
                <a:gd name="T17" fmla="*/ 9 w 9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8">
                  <a:moveTo>
                    <a:pt x="0" y="3"/>
                  </a:moveTo>
                  <a:lnTo>
                    <a:pt x="0" y="8"/>
                  </a:lnTo>
                  <a:lnTo>
                    <a:pt x="9" y="8"/>
                  </a:lnTo>
                  <a:lnTo>
                    <a:pt x="5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67" name="Freeform 195"/>
            <p:cNvSpPr>
              <a:spLocks/>
            </p:cNvSpPr>
            <p:nvPr/>
          </p:nvSpPr>
          <p:spPr bwMode="auto">
            <a:xfrm>
              <a:off x="3115" y="3191"/>
              <a:ext cx="93" cy="28"/>
            </a:xfrm>
            <a:custGeom>
              <a:avLst/>
              <a:gdLst>
                <a:gd name="T0" fmla="*/ 0 w 158"/>
                <a:gd name="T1" fmla="*/ 1 h 55"/>
                <a:gd name="T2" fmla="*/ 1 w 158"/>
                <a:gd name="T3" fmla="*/ 1 h 55"/>
                <a:gd name="T4" fmla="*/ 1 w 158"/>
                <a:gd name="T5" fmla="*/ 1 h 55"/>
                <a:gd name="T6" fmla="*/ 1 w 158"/>
                <a:gd name="T7" fmla="*/ 1 h 55"/>
                <a:gd name="T8" fmla="*/ 1 w 158"/>
                <a:gd name="T9" fmla="*/ 1 h 55"/>
                <a:gd name="T10" fmla="*/ 1 w 158"/>
                <a:gd name="T11" fmla="*/ 1 h 55"/>
                <a:gd name="T12" fmla="*/ 2 w 158"/>
                <a:gd name="T13" fmla="*/ 1 h 55"/>
                <a:gd name="T14" fmla="*/ 2 w 158"/>
                <a:gd name="T15" fmla="*/ 1 h 55"/>
                <a:gd name="T16" fmla="*/ 3 w 158"/>
                <a:gd name="T17" fmla="*/ 1 h 55"/>
                <a:gd name="T18" fmla="*/ 3 w 158"/>
                <a:gd name="T19" fmla="*/ 1 h 55"/>
                <a:gd name="T20" fmla="*/ 2 w 158"/>
                <a:gd name="T21" fmla="*/ 1 h 55"/>
                <a:gd name="T22" fmla="*/ 4 w 158"/>
                <a:gd name="T23" fmla="*/ 1 h 55"/>
                <a:gd name="T24" fmla="*/ 4 w 158"/>
                <a:gd name="T25" fmla="*/ 1 h 55"/>
                <a:gd name="T26" fmla="*/ 3 w 158"/>
                <a:gd name="T27" fmla="*/ 1 h 55"/>
                <a:gd name="T28" fmla="*/ 3 w 158"/>
                <a:gd name="T29" fmla="*/ 1 h 55"/>
                <a:gd name="T30" fmla="*/ 2 w 158"/>
                <a:gd name="T31" fmla="*/ 1 h 55"/>
                <a:gd name="T32" fmla="*/ 1 w 158"/>
                <a:gd name="T33" fmla="*/ 0 h 55"/>
                <a:gd name="T34" fmla="*/ 1 w 158"/>
                <a:gd name="T35" fmla="*/ 1 h 55"/>
                <a:gd name="T36" fmla="*/ 0 w 158"/>
                <a:gd name="T37" fmla="*/ 1 h 5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8"/>
                <a:gd name="T58" fmla="*/ 0 h 55"/>
                <a:gd name="T59" fmla="*/ 158 w 158"/>
                <a:gd name="T60" fmla="*/ 55 h 5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8" h="55">
                  <a:moveTo>
                    <a:pt x="0" y="24"/>
                  </a:moveTo>
                  <a:lnTo>
                    <a:pt x="9" y="24"/>
                  </a:lnTo>
                  <a:lnTo>
                    <a:pt x="31" y="10"/>
                  </a:lnTo>
                  <a:lnTo>
                    <a:pt x="49" y="12"/>
                  </a:lnTo>
                  <a:lnTo>
                    <a:pt x="40" y="14"/>
                  </a:lnTo>
                  <a:lnTo>
                    <a:pt x="47" y="19"/>
                  </a:lnTo>
                  <a:lnTo>
                    <a:pt x="92" y="26"/>
                  </a:lnTo>
                  <a:lnTo>
                    <a:pt x="101" y="43"/>
                  </a:lnTo>
                  <a:lnTo>
                    <a:pt x="113" y="43"/>
                  </a:lnTo>
                  <a:lnTo>
                    <a:pt x="116" y="47"/>
                  </a:lnTo>
                  <a:lnTo>
                    <a:pt x="106" y="55"/>
                  </a:lnTo>
                  <a:lnTo>
                    <a:pt x="158" y="50"/>
                  </a:lnTo>
                  <a:lnTo>
                    <a:pt x="149" y="43"/>
                  </a:lnTo>
                  <a:lnTo>
                    <a:pt x="137" y="43"/>
                  </a:lnTo>
                  <a:lnTo>
                    <a:pt x="139" y="36"/>
                  </a:lnTo>
                  <a:lnTo>
                    <a:pt x="97" y="19"/>
                  </a:lnTo>
                  <a:lnTo>
                    <a:pt x="49" y="0"/>
                  </a:lnTo>
                  <a:lnTo>
                    <a:pt x="21" y="7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68" name="Freeform 196"/>
            <p:cNvSpPr>
              <a:spLocks/>
            </p:cNvSpPr>
            <p:nvPr/>
          </p:nvSpPr>
          <p:spPr bwMode="auto">
            <a:xfrm>
              <a:off x="3271" y="3230"/>
              <a:ext cx="13" cy="4"/>
            </a:xfrm>
            <a:custGeom>
              <a:avLst/>
              <a:gdLst>
                <a:gd name="T0" fmla="*/ 0 w 22"/>
                <a:gd name="T1" fmla="*/ 1 h 7"/>
                <a:gd name="T2" fmla="*/ 1 w 22"/>
                <a:gd name="T3" fmla="*/ 1 h 7"/>
                <a:gd name="T4" fmla="*/ 0 w 22"/>
                <a:gd name="T5" fmla="*/ 0 h 7"/>
                <a:gd name="T6" fmla="*/ 0 w 22"/>
                <a:gd name="T7" fmla="*/ 1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2"/>
                <a:gd name="T13" fmla="*/ 0 h 7"/>
                <a:gd name="T14" fmla="*/ 22 w 22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2" h="7">
                  <a:moveTo>
                    <a:pt x="0" y="7"/>
                  </a:moveTo>
                  <a:lnTo>
                    <a:pt x="22" y="5"/>
                  </a:lnTo>
                  <a:lnTo>
                    <a:pt x="0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69" name="Freeform 197"/>
            <p:cNvSpPr>
              <a:spLocks/>
            </p:cNvSpPr>
            <p:nvPr/>
          </p:nvSpPr>
          <p:spPr bwMode="auto">
            <a:xfrm>
              <a:off x="3317" y="3249"/>
              <a:ext cx="6" cy="2"/>
            </a:xfrm>
            <a:custGeom>
              <a:avLst/>
              <a:gdLst>
                <a:gd name="T0" fmla="*/ 0 w 10"/>
                <a:gd name="T1" fmla="*/ 0 h 5"/>
                <a:gd name="T2" fmla="*/ 1 w 10"/>
                <a:gd name="T3" fmla="*/ 0 h 5"/>
                <a:gd name="T4" fmla="*/ 1 w 10"/>
                <a:gd name="T5" fmla="*/ 0 h 5"/>
                <a:gd name="T6" fmla="*/ 0 w 10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5"/>
                <a:gd name="T14" fmla="*/ 10 w 10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5">
                  <a:moveTo>
                    <a:pt x="0" y="0"/>
                  </a:moveTo>
                  <a:lnTo>
                    <a:pt x="3" y="5"/>
                  </a:lnTo>
                  <a:lnTo>
                    <a:pt x="1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lIns="27432" tIns="27432" rIns="27432" bIns="27432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70" name="Freeform 198"/>
            <p:cNvSpPr>
              <a:spLocks/>
            </p:cNvSpPr>
            <p:nvPr/>
          </p:nvSpPr>
          <p:spPr bwMode="auto">
            <a:xfrm>
              <a:off x="3172" y="3175"/>
              <a:ext cx="5" cy="12"/>
            </a:xfrm>
            <a:custGeom>
              <a:avLst/>
              <a:gdLst>
                <a:gd name="T0" fmla="*/ 1 w 9"/>
                <a:gd name="T1" fmla="*/ 0 h 23"/>
                <a:gd name="T2" fmla="*/ 0 w 9"/>
                <a:gd name="T3" fmla="*/ 1 h 23"/>
                <a:gd name="T4" fmla="*/ 1 w 9"/>
                <a:gd name="T5" fmla="*/ 1 h 23"/>
                <a:gd name="T6" fmla="*/ 1 w 9"/>
                <a:gd name="T7" fmla="*/ 1 h 23"/>
                <a:gd name="T8" fmla="*/ 1 w 9"/>
                <a:gd name="T9" fmla="*/ 0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3"/>
                <a:gd name="T17" fmla="*/ 9 w 9"/>
                <a:gd name="T18" fmla="*/ 23 h 2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3">
                  <a:moveTo>
                    <a:pt x="2" y="0"/>
                  </a:moveTo>
                  <a:lnTo>
                    <a:pt x="0" y="9"/>
                  </a:lnTo>
                  <a:lnTo>
                    <a:pt x="9" y="23"/>
                  </a:lnTo>
                  <a:lnTo>
                    <a:pt x="9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71" name="Freeform 199"/>
            <p:cNvSpPr>
              <a:spLocks/>
            </p:cNvSpPr>
            <p:nvPr/>
          </p:nvSpPr>
          <p:spPr bwMode="auto">
            <a:xfrm>
              <a:off x="3214" y="3207"/>
              <a:ext cx="5" cy="3"/>
            </a:xfrm>
            <a:custGeom>
              <a:avLst/>
              <a:gdLst>
                <a:gd name="T0" fmla="*/ 0 w 9"/>
                <a:gd name="T1" fmla="*/ 0 h 7"/>
                <a:gd name="T2" fmla="*/ 1 w 9"/>
                <a:gd name="T3" fmla="*/ 0 h 7"/>
                <a:gd name="T4" fmla="*/ 1 w 9"/>
                <a:gd name="T5" fmla="*/ 0 h 7"/>
                <a:gd name="T6" fmla="*/ 0 w 9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7"/>
                <a:gd name="T14" fmla="*/ 9 w 9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7">
                  <a:moveTo>
                    <a:pt x="0" y="7"/>
                  </a:moveTo>
                  <a:lnTo>
                    <a:pt x="7" y="7"/>
                  </a:lnTo>
                  <a:lnTo>
                    <a:pt x="9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72" name="Freeform 200"/>
            <p:cNvSpPr>
              <a:spLocks/>
            </p:cNvSpPr>
            <p:nvPr/>
          </p:nvSpPr>
          <p:spPr bwMode="auto">
            <a:xfrm>
              <a:off x="3211" y="3027"/>
              <a:ext cx="17" cy="6"/>
            </a:xfrm>
            <a:custGeom>
              <a:avLst/>
              <a:gdLst>
                <a:gd name="T0" fmla="*/ 0 w 28"/>
                <a:gd name="T1" fmla="*/ 1 h 12"/>
                <a:gd name="T2" fmla="*/ 1 w 28"/>
                <a:gd name="T3" fmla="*/ 1 h 12"/>
                <a:gd name="T4" fmla="*/ 1 w 28"/>
                <a:gd name="T5" fmla="*/ 0 h 12"/>
                <a:gd name="T6" fmla="*/ 0 w 28"/>
                <a:gd name="T7" fmla="*/ 1 h 12"/>
                <a:gd name="T8" fmla="*/ 0 w 28"/>
                <a:gd name="T9" fmla="*/ 1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8"/>
                <a:gd name="T16" fmla="*/ 0 h 12"/>
                <a:gd name="T17" fmla="*/ 28 w 28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8" h="12">
                  <a:moveTo>
                    <a:pt x="0" y="12"/>
                  </a:moveTo>
                  <a:lnTo>
                    <a:pt x="28" y="2"/>
                  </a:lnTo>
                  <a:lnTo>
                    <a:pt x="23" y="0"/>
                  </a:lnTo>
                  <a:lnTo>
                    <a:pt x="0" y="7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73" name="Freeform 201"/>
            <p:cNvSpPr>
              <a:spLocks/>
            </p:cNvSpPr>
            <p:nvPr/>
          </p:nvSpPr>
          <p:spPr bwMode="auto">
            <a:xfrm>
              <a:off x="3295" y="2929"/>
              <a:ext cx="24" cy="9"/>
            </a:xfrm>
            <a:custGeom>
              <a:avLst/>
              <a:gdLst>
                <a:gd name="T0" fmla="*/ 0 w 40"/>
                <a:gd name="T1" fmla="*/ 0 h 17"/>
                <a:gd name="T2" fmla="*/ 1 w 40"/>
                <a:gd name="T3" fmla="*/ 1 h 17"/>
                <a:gd name="T4" fmla="*/ 1 w 40"/>
                <a:gd name="T5" fmla="*/ 1 h 17"/>
                <a:gd name="T6" fmla="*/ 1 w 40"/>
                <a:gd name="T7" fmla="*/ 1 h 17"/>
                <a:gd name="T8" fmla="*/ 0 w 40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0"/>
                <a:gd name="T16" fmla="*/ 0 h 17"/>
                <a:gd name="T17" fmla="*/ 40 w 40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0" h="17">
                  <a:moveTo>
                    <a:pt x="0" y="0"/>
                  </a:moveTo>
                  <a:lnTo>
                    <a:pt x="23" y="15"/>
                  </a:lnTo>
                  <a:lnTo>
                    <a:pt x="40" y="17"/>
                  </a:lnTo>
                  <a:lnTo>
                    <a:pt x="18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74" name="Freeform 202"/>
            <p:cNvSpPr>
              <a:spLocks/>
            </p:cNvSpPr>
            <p:nvPr/>
          </p:nvSpPr>
          <p:spPr bwMode="auto">
            <a:xfrm>
              <a:off x="3296" y="2964"/>
              <a:ext cx="20" cy="12"/>
            </a:xfrm>
            <a:custGeom>
              <a:avLst/>
              <a:gdLst>
                <a:gd name="T0" fmla="*/ 0 w 33"/>
                <a:gd name="T1" fmla="*/ 1 h 21"/>
                <a:gd name="T2" fmla="*/ 1 w 33"/>
                <a:gd name="T3" fmla="*/ 1 h 21"/>
                <a:gd name="T4" fmla="*/ 1 w 33"/>
                <a:gd name="T5" fmla="*/ 1 h 21"/>
                <a:gd name="T6" fmla="*/ 1 w 33"/>
                <a:gd name="T7" fmla="*/ 1 h 21"/>
                <a:gd name="T8" fmla="*/ 1 w 33"/>
                <a:gd name="T9" fmla="*/ 1 h 21"/>
                <a:gd name="T10" fmla="*/ 1 w 33"/>
                <a:gd name="T11" fmla="*/ 1 h 21"/>
                <a:gd name="T12" fmla="*/ 1 w 33"/>
                <a:gd name="T13" fmla="*/ 0 h 21"/>
                <a:gd name="T14" fmla="*/ 0 w 33"/>
                <a:gd name="T15" fmla="*/ 1 h 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3"/>
                <a:gd name="T25" fmla="*/ 0 h 21"/>
                <a:gd name="T26" fmla="*/ 33 w 33"/>
                <a:gd name="T27" fmla="*/ 21 h 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3" h="21">
                  <a:moveTo>
                    <a:pt x="0" y="4"/>
                  </a:moveTo>
                  <a:lnTo>
                    <a:pt x="26" y="21"/>
                  </a:lnTo>
                  <a:lnTo>
                    <a:pt x="26" y="14"/>
                  </a:lnTo>
                  <a:lnTo>
                    <a:pt x="33" y="9"/>
                  </a:lnTo>
                  <a:lnTo>
                    <a:pt x="14" y="9"/>
                  </a:lnTo>
                  <a:lnTo>
                    <a:pt x="5" y="7"/>
                  </a:lnTo>
                  <a:lnTo>
                    <a:pt x="5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75" name="Freeform 203"/>
            <p:cNvSpPr>
              <a:spLocks/>
            </p:cNvSpPr>
            <p:nvPr/>
          </p:nvSpPr>
          <p:spPr bwMode="auto">
            <a:xfrm>
              <a:off x="3124" y="2748"/>
              <a:ext cx="17" cy="10"/>
            </a:xfrm>
            <a:custGeom>
              <a:avLst/>
              <a:gdLst>
                <a:gd name="T0" fmla="*/ 0 w 29"/>
                <a:gd name="T1" fmla="*/ 1 h 19"/>
                <a:gd name="T2" fmla="*/ 1 w 29"/>
                <a:gd name="T3" fmla="*/ 1 h 19"/>
                <a:gd name="T4" fmla="*/ 1 w 29"/>
                <a:gd name="T5" fmla="*/ 0 h 19"/>
                <a:gd name="T6" fmla="*/ 1 w 29"/>
                <a:gd name="T7" fmla="*/ 1 h 19"/>
                <a:gd name="T8" fmla="*/ 0 w 29"/>
                <a:gd name="T9" fmla="*/ 1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"/>
                <a:gd name="T16" fmla="*/ 0 h 19"/>
                <a:gd name="T17" fmla="*/ 29 w 2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" h="19">
                  <a:moveTo>
                    <a:pt x="0" y="19"/>
                  </a:moveTo>
                  <a:lnTo>
                    <a:pt x="15" y="14"/>
                  </a:lnTo>
                  <a:lnTo>
                    <a:pt x="29" y="0"/>
                  </a:lnTo>
                  <a:lnTo>
                    <a:pt x="7" y="5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76" name="Freeform 204"/>
            <p:cNvSpPr>
              <a:spLocks/>
            </p:cNvSpPr>
            <p:nvPr/>
          </p:nvSpPr>
          <p:spPr bwMode="auto">
            <a:xfrm>
              <a:off x="3157" y="2754"/>
              <a:ext cx="7" cy="14"/>
            </a:xfrm>
            <a:custGeom>
              <a:avLst/>
              <a:gdLst>
                <a:gd name="T0" fmla="*/ 0 w 12"/>
                <a:gd name="T1" fmla="*/ 0 h 26"/>
                <a:gd name="T2" fmla="*/ 0 w 12"/>
                <a:gd name="T3" fmla="*/ 1 h 26"/>
                <a:gd name="T4" fmla="*/ 1 w 12"/>
                <a:gd name="T5" fmla="*/ 1 h 26"/>
                <a:gd name="T6" fmla="*/ 1 w 12"/>
                <a:gd name="T7" fmla="*/ 0 h 26"/>
                <a:gd name="T8" fmla="*/ 0 w 12"/>
                <a:gd name="T9" fmla="*/ 0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26"/>
                <a:gd name="T17" fmla="*/ 12 w 12"/>
                <a:gd name="T18" fmla="*/ 26 h 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26">
                  <a:moveTo>
                    <a:pt x="0" y="0"/>
                  </a:moveTo>
                  <a:lnTo>
                    <a:pt x="0" y="19"/>
                  </a:lnTo>
                  <a:lnTo>
                    <a:pt x="4" y="26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77" name="Freeform 205"/>
            <p:cNvSpPr>
              <a:spLocks/>
            </p:cNvSpPr>
            <p:nvPr/>
          </p:nvSpPr>
          <p:spPr bwMode="auto">
            <a:xfrm>
              <a:off x="3157" y="2842"/>
              <a:ext cx="9" cy="12"/>
            </a:xfrm>
            <a:custGeom>
              <a:avLst/>
              <a:gdLst>
                <a:gd name="T0" fmla="*/ 1 w 16"/>
                <a:gd name="T1" fmla="*/ 1 h 21"/>
                <a:gd name="T2" fmla="*/ 0 w 16"/>
                <a:gd name="T3" fmla="*/ 1 h 21"/>
                <a:gd name="T4" fmla="*/ 1 w 16"/>
                <a:gd name="T5" fmla="*/ 1 h 21"/>
                <a:gd name="T6" fmla="*/ 1 w 16"/>
                <a:gd name="T7" fmla="*/ 1 h 21"/>
                <a:gd name="T8" fmla="*/ 1 w 16"/>
                <a:gd name="T9" fmla="*/ 0 h 21"/>
                <a:gd name="T10" fmla="*/ 1 w 16"/>
                <a:gd name="T11" fmla="*/ 1 h 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21"/>
                <a:gd name="T20" fmla="*/ 16 w 16"/>
                <a:gd name="T21" fmla="*/ 21 h 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21">
                  <a:moveTo>
                    <a:pt x="2" y="9"/>
                  </a:moveTo>
                  <a:lnTo>
                    <a:pt x="0" y="16"/>
                  </a:lnTo>
                  <a:lnTo>
                    <a:pt x="14" y="21"/>
                  </a:lnTo>
                  <a:lnTo>
                    <a:pt x="16" y="7"/>
                  </a:lnTo>
                  <a:lnTo>
                    <a:pt x="14" y="0"/>
                  </a:lnTo>
                  <a:lnTo>
                    <a:pt x="2" y="9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78" name="Freeform 206"/>
            <p:cNvSpPr>
              <a:spLocks/>
            </p:cNvSpPr>
            <p:nvPr/>
          </p:nvSpPr>
          <p:spPr bwMode="auto">
            <a:xfrm>
              <a:off x="3139" y="2890"/>
              <a:ext cx="12" cy="5"/>
            </a:xfrm>
            <a:custGeom>
              <a:avLst/>
              <a:gdLst>
                <a:gd name="T0" fmla="*/ 0 w 19"/>
                <a:gd name="T1" fmla="*/ 0 h 11"/>
                <a:gd name="T2" fmla="*/ 1 w 19"/>
                <a:gd name="T3" fmla="*/ 0 h 11"/>
                <a:gd name="T4" fmla="*/ 1 w 19"/>
                <a:gd name="T5" fmla="*/ 0 h 11"/>
                <a:gd name="T6" fmla="*/ 0 w 19"/>
                <a:gd name="T7" fmla="*/ 0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1"/>
                <a:gd name="T14" fmla="*/ 19 w 19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1">
                  <a:moveTo>
                    <a:pt x="0" y="2"/>
                  </a:moveTo>
                  <a:lnTo>
                    <a:pt x="19" y="11"/>
                  </a:lnTo>
                  <a:lnTo>
                    <a:pt x="15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79" name="Freeform 207"/>
            <p:cNvSpPr>
              <a:spLocks/>
            </p:cNvSpPr>
            <p:nvPr/>
          </p:nvSpPr>
          <p:spPr bwMode="auto">
            <a:xfrm>
              <a:off x="3340" y="2909"/>
              <a:ext cx="58" cy="58"/>
            </a:xfrm>
            <a:custGeom>
              <a:avLst/>
              <a:gdLst>
                <a:gd name="T0" fmla="*/ 0 w 99"/>
                <a:gd name="T1" fmla="*/ 1 h 111"/>
                <a:gd name="T2" fmla="*/ 1 w 99"/>
                <a:gd name="T3" fmla="*/ 1 h 111"/>
                <a:gd name="T4" fmla="*/ 1 w 99"/>
                <a:gd name="T5" fmla="*/ 1 h 111"/>
                <a:gd name="T6" fmla="*/ 1 w 99"/>
                <a:gd name="T7" fmla="*/ 1 h 111"/>
                <a:gd name="T8" fmla="*/ 1 w 99"/>
                <a:gd name="T9" fmla="*/ 1 h 111"/>
                <a:gd name="T10" fmla="*/ 1 w 99"/>
                <a:gd name="T11" fmla="*/ 1 h 111"/>
                <a:gd name="T12" fmla="*/ 1 w 99"/>
                <a:gd name="T13" fmla="*/ 1 h 111"/>
                <a:gd name="T14" fmla="*/ 2 w 99"/>
                <a:gd name="T15" fmla="*/ 1 h 111"/>
                <a:gd name="T16" fmla="*/ 2 w 99"/>
                <a:gd name="T17" fmla="*/ 1 h 111"/>
                <a:gd name="T18" fmla="*/ 2 w 99"/>
                <a:gd name="T19" fmla="*/ 1 h 111"/>
                <a:gd name="T20" fmla="*/ 2 w 99"/>
                <a:gd name="T21" fmla="*/ 1 h 111"/>
                <a:gd name="T22" fmla="*/ 2 w 99"/>
                <a:gd name="T23" fmla="*/ 1 h 111"/>
                <a:gd name="T24" fmla="*/ 2 w 99"/>
                <a:gd name="T25" fmla="*/ 1 h 111"/>
                <a:gd name="T26" fmla="*/ 2 w 99"/>
                <a:gd name="T27" fmla="*/ 1 h 111"/>
                <a:gd name="T28" fmla="*/ 2 w 99"/>
                <a:gd name="T29" fmla="*/ 1 h 111"/>
                <a:gd name="T30" fmla="*/ 2 w 99"/>
                <a:gd name="T31" fmla="*/ 1 h 111"/>
                <a:gd name="T32" fmla="*/ 2 w 99"/>
                <a:gd name="T33" fmla="*/ 1 h 111"/>
                <a:gd name="T34" fmla="*/ 2 w 99"/>
                <a:gd name="T35" fmla="*/ 1 h 111"/>
                <a:gd name="T36" fmla="*/ 2 w 99"/>
                <a:gd name="T37" fmla="*/ 1 h 111"/>
                <a:gd name="T38" fmla="*/ 2 w 99"/>
                <a:gd name="T39" fmla="*/ 1 h 111"/>
                <a:gd name="T40" fmla="*/ 2 w 99"/>
                <a:gd name="T41" fmla="*/ 1 h 111"/>
                <a:gd name="T42" fmla="*/ 2 w 99"/>
                <a:gd name="T43" fmla="*/ 1 h 111"/>
                <a:gd name="T44" fmla="*/ 1 w 99"/>
                <a:gd name="T45" fmla="*/ 1 h 111"/>
                <a:gd name="T46" fmla="*/ 1 w 99"/>
                <a:gd name="T47" fmla="*/ 1 h 111"/>
                <a:gd name="T48" fmla="*/ 1 w 99"/>
                <a:gd name="T49" fmla="*/ 1 h 111"/>
                <a:gd name="T50" fmla="*/ 1 w 99"/>
                <a:gd name="T51" fmla="*/ 1 h 111"/>
                <a:gd name="T52" fmla="*/ 1 w 99"/>
                <a:gd name="T53" fmla="*/ 1 h 111"/>
                <a:gd name="T54" fmla="*/ 1 w 99"/>
                <a:gd name="T55" fmla="*/ 0 h 111"/>
                <a:gd name="T56" fmla="*/ 1 w 99"/>
                <a:gd name="T57" fmla="*/ 1 h 111"/>
                <a:gd name="T58" fmla="*/ 1 w 99"/>
                <a:gd name="T59" fmla="*/ 1 h 111"/>
                <a:gd name="T60" fmla="*/ 1 w 99"/>
                <a:gd name="T61" fmla="*/ 1 h 111"/>
                <a:gd name="T62" fmla="*/ 0 w 99"/>
                <a:gd name="T63" fmla="*/ 1 h 11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9"/>
                <a:gd name="T97" fmla="*/ 0 h 111"/>
                <a:gd name="T98" fmla="*/ 99 w 99"/>
                <a:gd name="T99" fmla="*/ 111 h 11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9" h="111">
                  <a:moveTo>
                    <a:pt x="0" y="83"/>
                  </a:moveTo>
                  <a:lnTo>
                    <a:pt x="3" y="92"/>
                  </a:lnTo>
                  <a:lnTo>
                    <a:pt x="14" y="90"/>
                  </a:lnTo>
                  <a:lnTo>
                    <a:pt x="59" y="92"/>
                  </a:lnTo>
                  <a:lnTo>
                    <a:pt x="59" y="100"/>
                  </a:lnTo>
                  <a:lnTo>
                    <a:pt x="52" y="107"/>
                  </a:lnTo>
                  <a:lnTo>
                    <a:pt x="59" y="107"/>
                  </a:lnTo>
                  <a:lnTo>
                    <a:pt x="66" y="97"/>
                  </a:lnTo>
                  <a:lnTo>
                    <a:pt x="80" y="97"/>
                  </a:lnTo>
                  <a:lnTo>
                    <a:pt x="78" y="107"/>
                  </a:lnTo>
                  <a:lnTo>
                    <a:pt x="85" y="102"/>
                  </a:lnTo>
                  <a:lnTo>
                    <a:pt x="85" y="111"/>
                  </a:lnTo>
                  <a:lnTo>
                    <a:pt x="95" y="111"/>
                  </a:lnTo>
                  <a:lnTo>
                    <a:pt x="99" y="90"/>
                  </a:lnTo>
                  <a:lnTo>
                    <a:pt x="90" y="92"/>
                  </a:lnTo>
                  <a:lnTo>
                    <a:pt x="95" y="81"/>
                  </a:lnTo>
                  <a:lnTo>
                    <a:pt x="85" y="92"/>
                  </a:lnTo>
                  <a:lnTo>
                    <a:pt x="80" y="88"/>
                  </a:lnTo>
                  <a:lnTo>
                    <a:pt x="95" y="69"/>
                  </a:lnTo>
                  <a:lnTo>
                    <a:pt x="83" y="71"/>
                  </a:lnTo>
                  <a:lnTo>
                    <a:pt x="80" y="64"/>
                  </a:lnTo>
                  <a:lnTo>
                    <a:pt x="88" y="55"/>
                  </a:lnTo>
                  <a:lnTo>
                    <a:pt x="59" y="52"/>
                  </a:lnTo>
                  <a:lnTo>
                    <a:pt x="52" y="45"/>
                  </a:lnTo>
                  <a:lnTo>
                    <a:pt x="57" y="38"/>
                  </a:lnTo>
                  <a:lnTo>
                    <a:pt x="50" y="36"/>
                  </a:lnTo>
                  <a:lnTo>
                    <a:pt x="38" y="43"/>
                  </a:lnTo>
                  <a:lnTo>
                    <a:pt x="57" y="0"/>
                  </a:lnTo>
                  <a:lnTo>
                    <a:pt x="40" y="5"/>
                  </a:lnTo>
                  <a:lnTo>
                    <a:pt x="10" y="69"/>
                  </a:lnTo>
                  <a:lnTo>
                    <a:pt x="14" y="71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80" name="Freeform 208"/>
            <p:cNvSpPr>
              <a:spLocks/>
            </p:cNvSpPr>
            <p:nvPr/>
          </p:nvSpPr>
          <p:spPr bwMode="auto">
            <a:xfrm>
              <a:off x="3093" y="2687"/>
              <a:ext cx="62" cy="54"/>
            </a:xfrm>
            <a:custGeom>
              <a:avLst/>
              <a:gdLst>
                <a:gd name="T0" fmla="*/ 0 w 104"/>
                <a:gd name="T1" fmla="*/ 1 h 102"/>
                <a:gd name="T2" fmla="*/ 1 w 104"/>
                <a:gd name="T3" fmla="*/ 1 h 102"/>
                <a:gd name="T4" fmla="*/ 1 w 104"/>
                <a:gd name="T5" fmla="*/ 1 h 102"/>
                <a:gd name="T6" fmla="*/ 1 w 104"/>
                <a:gd name="T7" fmla="*/ 1 h 102"/>
                <a:gd name="T8" fmla="*/ 1 w 104"/>
                <a:gd name="T9" fmla="*/ 1 h 102"/>
                <a:gd name="T10" fmla="*/ 2 w 104"/>
                <a:gd name="T11" fmla="*/ 1 h 102"/>
                <a:gd name="T12" fmla="*/ 2 w 104"/>
                <a:gd name="T13" fmla="*/ 1 h 102"/>
                <a:gd name="T14" fmla="*/ 3 w 104"/>
                <a:gd name="T15" fmla="*/ 1 h 102"/>
                <a:gd name="T16" fmla="*/ 2 w 104"/>
                <a:gd name="T17" fmla="*/ 1 h 102"/>
                <a:gd name="T18" fmla="*/ 2 w 104"/>
                <a:gd name="T19" fmla="*/ 1 h 102"/>
                <a:gd name="T20" fmla="*/ 1 w 104"/>
                <a:gd name="T21" fmla="*/ 1 h 102"/>
                <a:gd name="T22" fmla="*/ 1 w 104"/>
                <a:gd name="T23" fmla="*/ 0 h 102"/>
                <a:gd name="T24" fmla="*/ 1 w 104"/>
                <a:gd name="T25" fmla="*/ 1 h 102"/>
                <a:gd name="T26" fmla="*/ 1 w 104"/>
                <a:gd name="T27" fmla="*/ 1 h 102"/>
                <a:gd name="T28" fmla="*/ 1 w 104"/>
                <a:gd name="T29" fmla="*/ 1 h 102"/>
                <a:gd name="T30" fmla="*/ 0 w 104"/>
                <a:gd name="T31" fmla="*/ 1 h 1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4"/>
                <a:gd name="T49" fmla="*/ 0 h 102"/>
                <a:gd name="T50" fmla="*/ 104 w 104"/>
                <a:gd name="T51" fmla="*/ 102 h 1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4" h="102">
                  <a:moveTo>
                    <a:pt x="0" y="85"/>
                  </a:moveTo>
                  <a:lnTo>
                    <a:pt x="22" y="85"/>
                  </a:lnTo>
                  <a:lnTo>
                    <a:pt x="22" y="102"/>
                  </a:lnTo>
                  <a:lnTo>
                    <a:pt x="36" y="99"/>
                  </a:lnTo>
                  <a:lnTo>
                    <a:pt x="55" y="73"/>
                  </a:lnTo>
                  <a:lnTo>
                    <a:pt x="67" y="73"/>
                  </a:lnTo>
                  <a:lnTo>
                    <a:pt x="90" y="92"/>
                  </a:lnTo>
                  <a:lnTo>
                    <a:pt x="104" y="78"/>
                  </a:lnTo>
                  <a:lnTo>
                    <a:pt x="90" y="71"/>
                  </a:lnTo>
                  <a:lnTo>
                    <a:pt x="71" y="45"/>
                  </a:lnTo>
                  <a:lnTo>
                    <a:pt x="38" y="19"/>
                  </a:lnTo>
                  <a:lnTo>
                    <a:pt x="33" y="0"/>
                  </a:lnTo>
                  <a:lnTo>
                    <a:pt x="19" y="17"/>
                  </a:lnTo>
                  <a:lnTo>
                    <a:pt x="15" y="31"/>
                  </a:lnTo>
                  <a:lnTo>
                    <a:pt x="17" y="71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81" name="Freeform 209"/>
            <p:cNvSpPr>
              <a:spLocks/>
            </p:cNvSpPr>
            <p:nvPr/>
          </p:nvSpPr>
          <p:spPr bwMode="auto">
            <a:xfrm>
              <a:off x="3181" y="2644"/>
              <a:ext cx="22" cy="22"/>
            </a:xfrm>
            <a:custGeom>
              <a:avLst/>
              <a:gdLst>
                <a:gd name="T0" fmla="*/ 0 w 36"/>
                <a:gd name="T1" fmla="*/ 1 h 43"/>
                <a:gd name="T2" fmla="*/ 1 w 36"/>
                <a:gd name="T3" fmla="*/ 1 h 43"/>
                <a:gd name="T4" fmla="*/ 1 w 36"/>
                <a:gd name="T5" fmla="*/ 1 h 43"/>
                <a:gd name="T6" fmla="*/ 1 w 36"/>
                <a:gd name="T7" fmla="*/ 1 h 43"/>
                <a:gd name="T8" fmla="*/ 1 w 36"/>
                <a:gd name="T9" fmla="*/ 1 h 43"/>
                <a:gd name="T10" fmla="*/ 1 w 36"/>
                <a:gd name="T11" fmla="*/ 0 h 43"/>
                <a:gd name="T12" fmla="*/ 1 w 36"/>
                <a:gd name="T13" fmla="*/ 0 h 43"/>
                <a:gd name="T14" fmla="*/ 0 w 36"/>
                <a:gd name="T15" fmla="*/ 1 h 4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6"/>
                <a:gd name="T25" fmla="*/ 0 h 43"/>
                <a:gd name="T26" fmla="*/ 36 w 36"/>
                <a:gd name="T27" fmla="*/ 43 h 4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6" h="43">
                  <a:moveTo>
                    <a:pt x="0" y="24"/>
                  </a:moveTo>
                  <a:lnTo>
                    <a:pt x="7" y="43"/>
                  </a:lnTo>
                  <a:lnTo>
                    <a:pt x="24" y="38"/>
                  </a:lnTo>
                  <a:lnTo>
                    <a:pt x="33" y="29"/>
                  </a:lnTo>
                  <a:lnTo>
                    <a:pt x="36" y="15"/>
                  </a:lnTo>
                  <a:lnTo>
                    <a:pt x="29" y="0"/>
                  </a:lnTo>
                  <a:lnTo>
                    <a:pt x="12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82" name="Freeform 210"/>
            <p:cNvSpPr>
              <a:spLocks/>
            </p:cNvSpPr>
            <p:nvPr/>
          </p:nvSpPr>
          <p:spPr bwMode="auto">
            <a:xfrm>
              <a:off x="3070" y="2510"/>
              <a:ext cx="251" cy="251"/>
            </a:xfrm>
            <a:custGeom>
              <a:avLst/>
              <a:gdLst>
                <a:gd name="T0" fmla="*/ 1 w 425"/>
                <a:gd name="T1" fmla="*/ 2 h 484"/>
                <a:gd name="T2" fmla="*/ 3 w 425"/>
                <a:gd name="T3" fmla="*/ 2 h 484"/>
                <a:gd name="T4" fmla="*/ 4 w 425"/>
                <a:gd name="T5" fmla="*/ 2 h 484"/>
                <a:gd name="T6" fmla="*/ 5 w 425"/>
                <a:gd name="T7" fmla="*/ 2 h 484"/>
                <a:gd name="T8" fmla="*/ 5 w 425"/>
                <a:gd name="T9" fmla="*/ 2 h 484"/>
                <a:gd name="T10" fmla="*/ 5 w 425"/>
                <a:gd name="T11" fmla="*/ 3 h 484"/>
                <a:gd name="T12" fmla="*/ 6 w 425"/>
                <a:gd name="T13" fmla="*/ 3 h 484"/>
                <a:gd name="T14" fmla="*/ 6 w 425"/>
                <a:gd name="T15" fmla="*/ 3 h 484"/>
                <a:gd name="T16" fmla="*/ 6 w 425"/>
                <a:gd name="T17" fmla="*/ 4 h 484"/>
                <a:gd name="T18" fmla="*/ 5 w 425"/>
                <a:gd name="T19" fmla="*/ 4 h 484"/>
                <a:gd name="T20" fmla="*/ 4 w 425"/>
                <a:gd name="T21" fmla="*/ 4 h 484"/>
                <a:gd name="T22" fmla="*/ 5 w 425"/>
                <a:gd name="T23" fmla="*/ 4 h 484"/>
                <a:gd name="T24" fmla="*/ 6 w 425"/>
                <a:gd name="T25" fmla="*/ 4 h 484"/>
                <a:gd name="T26" fmla="*/ 6 w 425"/>
                <a:gd name="T27" fmla="*/ 5 h 484"/>
                <a:gd name="T28" fmla="*/ 8 w 425"/>
                <a:gd name="T29" fmla="*/ 5 h 484"/>
                <a:gd name="T30" fmla="*/ 9 w 425"/>
                <a:gd name="T31" fmla="*/ 5 h 484"/>
                <a:gd name="T32" fmla="*/ 8 w 425"/>
                <a:gd name="T33" fmla="*/ 5 h 484"/>
                <a:gd name="T34" fmla="*/ 9 w 425"/>
                <a:gd name="T35" fmla="*/ 5 h 484"/>
                <a:gd name="T36" fmla="*/ 10 w 425"/>
                <a:gd name="T37" fmla="*/ 4 h 484"/>
                <a:gd name="T38" fmla="*/ 9 w 425"/>
                <a:gd name="T39" fmla="*/ 4 h 484"/>
                <a:gd name="T40" fmla="*/ 8 w 425"/>
                <a:gd name="T41" fmla="*/ 4 h 484"/>
                <a:gd name="T42" fmla="*/ 9 w 425"/>
                <a:gd name="T43" fmla="*/ 4 h 484"/>
                <a:gd name="T44" fmla="*/ 10 w 425"/>
                <a:gd name="T45" fmla="*/ 4 h 484"/>
                <a:gd name="T46" fmla="*/ 11 w 425"/>
                <a:gd name="T47" fmla="*/ 4 h 484"/>
                <a:gd name="T48" fmla="*/ 9 w 425"/>
                <a:gd name="T49" fmla="*/ 3 h 484"/>
                <a:gd name="T50" fmla="*/ 8 w 425"/>
                <a:gd name="T51" fmla="*/ 3 h 484"/>
                <a:gd name="T52" fmla="*/ 9 w 425"/>
                <a:gd name="T53" fmla="*/ 2 h 484"/>
                <a:gd name="T54" fmla="*/ 8 w 425"/>
                <a:gd name="T55" fmla="*/ 2 h 484"/>
                <a:gd name="T56" fmla="*/ 8 w 425"/>
                <a:gd name="T57" fmla="*/ 2 h 484"/>
                <a:gd name="T58" fmla="*/ 6 w 425"/>
                <a:gd name="T59" fmla="*/ 1 h 484"/>
                <a:gd name="T60" fmla="*/ 6 w 425"/>
                <a:gd name="T61" fmla="*/ 1 h 484"/>
                <a:gd name="T62" fmla="*/ 5 w 425"/>
                <a:gd name="T63" fmla="*/ 1 h 484"/>
                <a:gd name="T64" fmla="*/ 4 w 425"/>
                <a:gd name="T65" fmla="*/ 1 h 484"/>
                <a:gd name="T66" fmla="*/ 4 w 425"/>
                <a:gd name="T67" fmla="*/ 1 h 484"/>
                <a:gd name="T68" fmla="*/ 3 w 425"/>
                <a:gd name="T69" fmla="*/ 1 h 484"/>
                <a:gd name="T70" fmla="*/ 2 w 425"/>
                <a:gd name="T71" fmla="*/ 1 h 484"/>
                <a:gd name="T72" fmla="*/ 2 w 425"/>
                <a:gd name="T73" fmla="*/ 1 h 484"/>
                <a:gd name="T74" fmla="*/ 1 w 425"/>
                <a:gd name="T75" fmla="*/ 1 h 484"/>
                <a:gd name="T76" fmla="*/ 2 w 425"/>
                <a:gd name="T77" fmla="*/ 1 h 484"/>
                <a:gd name="T78" fmla="*/ 1 w 425"/>
                <a:gd name="T79" fmla="*/ 0 h 484"/>
                <a:gd name="T80" fmla="*/ 0 w 425"/>
                <a:gd name="T81" fmla="*/ 1 h 48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25"/>
                <a:gd name="T124" fmla="*/ 0 h 484"/>
                <a:gd name="T125" fmla="*/ 425 w 425"/>
                <a:gd name="T126" fmla="*/ 484 h 48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25" h="484">
                  <a:moveTo>
                    <a:pt x="0" y="106"/>
                  </a:moveTo>
                  <a:lnTo>
                    <a:pt x="38" y="167"/>
                  </a:lnTo>
                  <a:lnTo>
                    <a:pt x="62" y="182"/>
                  </a:lnTo>
                  <a:lnTo>
                    <a:pt x="114" y="189"/>
                  </a:lnTo>
                  <a:lnTo>
                    <a:pt x="128" y="186"/>
                  </a:lnTo>
                  <a:lnTo>
                    <a:pt x="151" y="203"/>
                  </a:lnTo>
                  <a:lnTo>
                    <a:pt x="163" y="196"/>
                  </a:lnTo>
                  <a:lnTo>
                    <a:pt x="177" y="174"/>
                  </a:lnTo>
                  <a:lnTo>
                    <a:pt x="187" y="193"/>
                  </a:lnTo>
                  <a:lnTo>
                    <a:pt x="210" y="215"/>
                  </a:lnTo>
                  <a:lnTo>
                    <a:pt x="206" y="241"/>
                  </a:lnTo>
                  <a:lnTo>
                    <a:pt x="222" y="229"/>
                  </a:lnTo>
                  <a:lnTo>
                    <a:pt x="234" y="250"/>
                  </a:lnTo>
                  <a:lnTo>
                    <a:pt x="253" y="262"/>
                  </a:lnTo>
                  <a:lnTo>
                    <a:pt x="262" y="297"/>
                  </a:lnTo>
                  <a:lnTo>
                    <a:pt x="229" y="340"/>
                  </a:lnTo>
                  <a:lnTo>
                    <a:pt x="244" y="359"/>
                  </a:lnTo>
                  <a:lnTo>
                    <a:pt x="227" y="368"/>
                  </a:lnTo>
                  <a:lnTo>
                    <a:pt x="187" y="363"/>
                  </a:lnTo>
                  <a:lnTo>
                    <a:pt x="182" y="375"/>
                  </a:lnTo>
                  <a:lnTo>
                    <a:pt x="175" y="378"/>
                  </a:lnTo>
                  <a:lnTo>
                    <a:pt x="170" y="392"/>
                  </a:lnTo>
                  <a:lnTo>
                    <a:pt x="177" y="406"/>
                  </a:lnTo>
                  <a:lnTo>
                    <a:pt x="201" y="406"/>
                  </a:lnTo>
                  <a:lnTo>
                    <a:pt x="210" y="399"/>
                  </a:lnTo>
                  <a:lnTo>
                    <a:pt x="227" y="401"/>
                  </a:lnTo>
                  <a:lnTo>
                    <a:pt x="270" y="425"/>
                  </a:lnTo>
                  <a:lnTo>
                    <a:pt x="270" y="439"/>
                  </a:lnTo>
                  <a:lnTo>
                    <a:pt x="281" y="448"/>
                  </a:lnTo>
                  <a:lnTo>
                    <a:pt x="307" y="460"/>
                  </a:lnTo>
                  <a:lnTo>
                    <a:pt x="326" y="477"/>
                  </a:lnTo>
                  <a:lnTo>
                    <a:pt x="355" y="484"/>
                  </a:lnTo>
                  <a:lnTo>
                    <a:pt x="355" y="470"/>
                  </a:lnTo>
                  <a:lnTo>
                    <a:pt x="319" y="434"/>
                  </a:lnTo>
                  <a:lnTo>
                    <a:pt x="314" y="420"/>
                  </a:lnTo>
                  <a:lnTo>
                    <a:pt x="362" y="453"/>
                  </a:lnTo>
                  <a:lnTo>
                    <a:pt x="381" y="453"/>
                  </a:lnTo>
                  <a:lnTo>
                    <a:pt x="383" y="430"/>
                  </a:lnTo>
                  <a:lnTo>
                    <a:pt x="371" y="415"/>
                  </a:lnTo>
                  <a:lnTo>
                    <a:pt x="371" y="399"/>
                  </a:lnTo>
                  <a:lnTo>
                    <a:pt x="345" y="373"/>
                  </a:lnTo>
                  <a:lnTo>
                    <a:pt x="336" y="354"/>
                  </a:lnTo>
                  <a:lnTo>
                    <a:pt x="340" y="330"/>
                  </a:lnTo>
                  <a:lnTo>
                    <a:pt x="364" y="349"/>
                  </a:lnTo>
                  <a:lnTo>
                    <a:pt x="371" y="368"/>
                  </a:lnTo>
                  <a:lnTo>
                    <a:pt x="390" y="382"/>
                  </a:lnTo>
                  <a:lnTo>
                    <a:pt x="395" y="363"/>
                  </a:lnTo>
                  <a:lnTo>
                    <a:pt x="411" y="359"/>
                  </a:lnTo>
                  <a:lnTo>
                    <a:pt x="425" y="321"/>
                  </a:lnTo>
                  <a:lnTo>
                    <a:pt x="369" y="264"/>
                  </a:lnTo>
                  <a:lnTo>
                    <a:pt x="345" y="264"/>
                  </a:lnTo>
                  <a:lnTo>
                    <a:pt x="326" y="250"/>
                  </a:lnTo>
                  <a:lnTo>
                    <a:pt x="326" y="229"/>
                  </a:lnTo>
                  <a:lnTo>
                    <a:pt x="345" y="222"/>
                  </a:lnTo>
                  <a:lnTo>
                    <a:pt x="329" y="203"/>
                  </a:lnTo>
                  <a:lnTo>
                    <a:pt x="336" y="186"/>
                  </a:lnTo>
                  <a:lnTo>
                    <a:pt x="322" y="165"/>
                  </a:lnTo>
                  <a:lnTo>
                    <a:pt x="300" y="148"/>
                  </a:lnTo>
                  <a:lnTo>
                    <a:pt x="279" y="122"/>
                  </a:lnTo>
                  <a:lnTo>
                    <a:pt x="262" y="111"/>
                  </a:lnTo>
                  <a:lnTo>
                    <a:pt x="239" y="106"/>
                  </a:lnTo>
                  <a:lnTo>
                    <a:pt x="234" y="66"/>
                  </a:lnTo>
                  <a:lnTo>
                    <a:pt x="210" y="71"/>
                  </a:lnTo>
                  <a:lnTo>
                    <a:pt x="180" y="54"/>
                  </a:lnTo>
                  <a:lnTo>
                    <a:pt x="163" y="71"/>
                  </a:lnTo>
                  <a:lnTo>
                    <a:pt x="147" y="71"/>
                  </a:lnTo>
                  <a:lnTo>
                    <a:pt x="130" y="85"/>
                  </a:lnTo>
                  <a:lnTo>
                    <a:pt x="135" y="61"/>
                  </a:lnTo>
                  <a:lnTo>
                    <a:pt x="125" y="37"/>
                  </a:lnTo>
                  <a:lnTo>
                    <a:pt x="130" y="14"/>
                  </a:lnTo>
                  <a:lnTo>
                    <a:pt x="123" y="0"/>
                  </a:lnTo>
                  <a:lnTo>
                    <a:pt x="104" y="4"/>
                  </a:lnTo>
                  <a:lnTo>
                    <a:pt x="66" y="45"/>
                  </a:lnTo>
                  <a:lnTo>
                    <a:pt x="64" y="89"/>
                  </a:lnTo>
                  <a:lnTo>
                    <a:pt x="69" y="111"/>
                  </a:lnTo>
                  <a:lnTo>
                    <a:pt x="55" y="94"/>
                  </a:lnTo>
                  <a:lnTo>
                    <a:pt x="52" y="52"/>
                  </a:lnTo>
                  <a:lnTo>
                    <a:pt x="66" y="16"/>
                  </a:lnTo>
                  <a:lnTo>
                    <a:pt x="88" y="2"/>
                  </a:lnTo>
                  <a:lnTo>
                    <a:pt x="45" y="0"/>
                  </a:lnTo>
                  <a:lnTo>
                    <a:pt x="12" y="37"/>
                  </a:lnTo>
                  <a:lnTo>
                    <a:pt x="0" y="78"/>
                  </a:lnTo>
                  <a:lnTo>
                    <a:pt x="0" y="106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83" name="Freeform 211"/>
            <p:cNvSpPr>
              <a:spLocks/>
            </p:cNvSpPr>
            <p:nvPr/>
          </p:nvSpPr>
          <p:spPr bwMode="auto">
            <a:xfrm>
              <a:off x="3149" y="2510"/>
              <a:ext cx="40" cy="26"/>
            </a:xfrm>
            <a:custGeom>
              <a:avLst/>
              <a:gdLst>
                <a:gd name="T0" fmla="*/ 1 w 66"/>
                <a:gd name="T1" fmla="*/ 1 h 52"/>
                <a:gd name="T2" fmla="*/ 0 w 66"/>
                <a:gd name="T3" fmla="*/ 1 h 52"/>
                <a:gd name="T4" fmla="*/ 1 w 66"/>
                <a:gd name="T5" fmla="*/ 1 h 52"/>
                <a:gd name="T6" fmla="*/ 1 w 66"/>
                <a:gd name="T7" fmla="*/ 1 h 52"/>
                <a:gd name="T8" fmla="*/ 1 w 66"/>
                <a:gd name="T9" fmla="*/ 1 h 52"/>
                <a:gd name="T10" fmla="*/ 2 w 66"/>
                <a:gd name="T11" fmla="*/ 1 h 52"/>
                <a:gd name="T12" fmla="*/ 2 w 66"/>
                <a:gd name="T13" fmla="*/ 1 h 52"/>
                <a:gd name="T14" fmla="*/ 2 w 66"/>
                <a:gd name="T15" fmla="*/ 1 h 52"/>
                <a:gd name="T16" fmla="*/ 1 w 66"/>
                <a:gd name="T17" fmla="*/ 1 h 52"/>
                <a:gd name="T18" fmla="*/ 1 w 66"/>
                <a:gd name="T19" fmla="*/ 0 h 52"/>
                <a:gd name="T20" fmla="*/ 1 w 66"/>
                <a:gd name="T21" fmla="*/ 1 h 5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6"/>
                <a:gd name="T34" fmla="*/ 0 h 52"/>
                <a:gd name="T35" fmla="*/ 66 w 66"/>
                <a:gd name="T36" fmla="*/ 52 h 5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6" h="52">
                  <a:moveTo>
                    <a:pt x="5" y="4"/>
                  </a:moveTo>
                  <a:lnTo>
                    <a:pt x="0" y="23"/>
                  </a:lnTo>
                  <a:lnTo>
                    <a:pt x="5" y="45"/>
                  </a:lnTo>
                  <a:lnTo>
                    <a:pt x="26" y="52"/>
                  </a:lnTo>
                  <a:lnTo>
                    <a:pt x="40" y="45"/>
                  </a:lnTo>
                  <a:lnTo>
                    <a:pt x="64" y="52"/>
                  </a:lnTo>
                  <a:lnTo>
                    <a:pt x="66" y="37"/>
                  </a:lnTo>
                  <a:lnTo>
                    <a:pt x="61" y="14"/>
                  </a:lnTo>
                  <a:lnTo>
                    <a:pt x="45" y="4"/>
                  </a:lnTo>
                  <a:lnTo>
                    <a:pt x="24" y="0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84" name="Freeform 212"/>
            <p:cNvSpPr>
              <a:spLocks/>
            </p:cNvSpPr>
            <p:nvPr/>
          </p:nvSpPr>
          <p:spPr bwMode="auto">
            <a:xfrm>
              <a:off x="3219" y="2092"/>
              <a:ext cx="542" cy="703"/>
            </a:xfrm>
            <a:custGeom>
              <a:avLst/>
              <a:gdLst>
                <a:gd name="T0" fmla="*/ 1 w 914"/>
                <a:gd name="T1" fmla="*/ 6 h 1349"/>
                <a:gd name="T2" fmla="*/ 1 w 914"/>
                <a:gd name="T3" fmla="*/ 6 h 1349"/>
                <a:gd name="T4" fmla="*/ 2 w 914"/>
                <a:gd name="T5" fmla="*/ 7 h 1349"/>
                <a:gd name="T6" fmla="*/ 4 w 914"/>
                <a:gd name="T7" fmla="*/ 7 h 1349"/>
                <a:gd name="T8" fmla="*/ 7 w 914"/>
                <a:gd name="T9" fmla="*/ 8 h 1349"/>
                <a:gd name="T10" fmla="*/ 7 w 914"/>
                <a:gd name="T11" fmla="*/ 9 h 1349"/>
                <a:gd name="T12" fmla="*/ 7 w 914"/>
                <a:gd name="T13" fmla="*/ 9 h 1349"/>
                <a:gd name="T14" fmla="*/ 8 w 914"/>
                <a:gd name="T15" fmla="*/ 10 h 1349"/>
                <a:gd name="T16" fmla="*/ 7 w 914"/>
                <a:gd name="T17" fmla="*/ 10 h 1349"/>
                <a:gd name="T18" fmla="*/ 7 w 914"/>
                <a:gd name="T19" fmla="*/ 10 h 1349"/>
                <a:gd name="T20" fmla="*/ 8 w 914"/>
                <a:gd name="T21" fmla="*/ 10 h 1349"/>
                <a:gd name="T22" fmla="*/ 7 w 914"/>
                <a:gd name="T23" fmla="*/ 11 h 1349"/>
                <a:gd name="T24" fmla="*/ 8 w 914"/>
                <a:gd name="T25" fmla="*/ 13 h 1349"/>
                <a:gd name="T26" fmla="*/ 11 w 914"/>
                <a:gd name="T27" fmla="*/ 14 h 1349"/>
                <a:gd name="T28" fmla="*/ 12 w 914"/>
                <a:gd name="T29" fmla="*/ 14 h 1349"/>
                <a:gd name="T30" fmla="*/ 12 w 914"/>
                <a:gd name="T31" fmla="*/ 13 h 1349"/>
                <a:gd name="T32" fmla="*/ 12 w 914"/>
                <a:gd name="T33" fmla="*/ 12 h 1349"/>
                <a:gd name="T34" fmla="*/ 16 w 914"/>
                <a:gd name="T35" fmla="*/ 11 h 1349"/>
                <a:gd name="T36" fmla="*/ 20 w 914"/>
                <a:gd name="T37" fmla="*/ 10 h 1349"/>
                <a:gd name="T38" fmla="*/ 18 w 914"/>
                <a:gd name="T39" fmla="*/ 10 h 1349"/>
                <a:gd name="T40" fmla="*/ 18 w 914"/>
                <a:gd name="T41" fmla="*/ 10 h 1349"/>
                <a:gd name="T42" fmla="*/ 20 w 914"/>
                <a:gd name="T43" fmla="*/ 10 h 1349"/>
                <a:gd name="T44" fmla="*/ 18 w 914"/>
                <a:gd name="T45" fmla="*/ 9 h 1349"/>
                <a:gd name="T46" fmla="*/ 20 w 914"/>
                <a:gd name="T47" fmla="*/ 9 h 1349"/>
                <a:gd name="T48" fmla="*/ 20 w 914"/>
                <a:gd name="T49" fmla="*/ 8 h 1349"/>
                <a:gd name="T50" fmla="*/ 21 w 914"/>
                <a:gd name="T51" fmla="*/ 8 h 1349"/>
                <a:gd name="T52" fmla="*/ 20 w 914"/>
                <a:gd name="T53" fmla="*/ 7 h 1349"/>
                <a:gd name="T54" fmla="*/ 20 w 914"/>
                <a:gd name="T55" fmla="*/ 7 h 1349"/>
                <a:gd name="T56" fmla="*/ 20 w 914"/>
                <a:gd name="T57" fmla="*/ 6 h 1349"/>
                <a:gd name="T58" fmla="*/ 22 w 914"/>
                <a:gd name="T59" fmla="*/ 4 h 1349"/>
                <a:gd name="T60" fmla="*/ 22 w 914"/>
                <a:gd name="T61" fmla="*/ 2 h 1349"/>
                <a:gd name="T62" fmla="*/ 20 w 914"/>
                <a:gd name="T63" fmla="*/ 3 h 1349"/>
                <a:gd name="T64" fmla="*/ 20 w 914"/>
                <a:gd name="T65" fmla="*/ 2 h 1349"/>
                <a:gd name="T66" fmla="*/ 19 w 914"/>
                <a:gd name="T67" fmla="*/ 3 h 1349"/>
                <a:gd name="T68" fmla="*/ 17 w 914"/>
                <a:gd name="T69" fmla="*/ 2 h 1349"/>
                <a:gd name="T70" fmla="*/ 20 w 914"/>
                <a:gd name="T71" fmla="*/ 2 h 1349"/>
                <a:gd name="T72" fmla="*/ 18 w 914"/>
                <a:gd name="T73" fmla="*/ 1 h 1349"/>
                <a:gd name="T74" fmla="*/ 14 w 914"/>
                <a:gd name="T75" fmla="*/ 0 h 1349"/>
                <a:gd name="T76" fmla="*/ 10 w 914"/>
                <a:gd name="T77" fmla="*/ 2 h 1349"/>
                <a:gd name="T78" fmla="*/ 7 w 914"/>
                <a:gd name="T79" fmla="*/ 2 h 1349"/>
                <a:gd name="T80" fmla="*/ 5 w 914"/>
                <a:gd name="T81" fmla="*/ 3 h 1349"/>
                <a:gd name="T82" fmla="*/ 2 w 914"/>
                <a:gd name="T83" fmla="*/ 4 h 1349"/>
                <a:gd name="T84" fmla="*/ 3 w 914"/>
                <a:gd name="T85" fmla="*/ 4 h 1349"/>
                <a:gd name="T86" fmla="*/ 1 w 914"/>
                <a:gd name="T87" fmla="*/ 5 h 134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914"/>
                <a:gd name="T133" fmla="*/ 0 h 1349"/>
                <a:gd name="T134" fmla="*/ 914 w 914"/>
                <a:gd name="T135" fmla="*/ 1349 h 134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914" h="1349">
                  <a:moveTo>
                    <a:pt x="0" y="534"/>
                  </a:moveTo>
                  <a:lnTo>
                    <a:pt x="21" y="555"/>
                  </a:lnTo>
                  <a:lnTo>
                    <a:pt x="40" y="550"/>
                  </a:lnTo>
                  <a:lnTo>
                    <a:pt x="45" y="574"/>
                  </a:lnTo>
                  <a:lnTo>
                    <a:pt x="69" y="590"/>
                  </a:lnTo>
                  <a:lnTo>
                    <a:pt x="28" y="614"/>
                  </a:lnTo>
                  <a:lnTo>
                    <a:pt x="64" y="640"/>
                  </a:lnTo>
                  <a:lnTo>
                    <a:pt x="52" y="654"/>
                  </a:lnTo>
                  <a:lnTo>
                    <a:pt x="66" y="671"/>
                  </a:lnTo>
                  <a:lnTo>
                    <a:pt x="97" y="683"/>
                  </a:lnTo>
                  <a:lnTo>
                    <a:pt x="113" y="671"/>
                  </a:lnTo>
                  <a:lnTo>
                    <a:pt x="170" y="668"/>
                  </a:lnTo>
                  <a:lnTo>
                    <a:pt x="220" y="699"/>
                  </a:lnTo>
                  <a:lnTo>
                    <a:pt x="220" y="718"/>
                  </a:lnTo>
                  <a:lnTo>
                    <a:pt x="246" y="765"/>
                  </a:lnTo>
                  <a:lnTo>
                    <a:pt x="246" y="794"/>
                  </a:lnTo>
                  <a:lnTo>
                    <a:pt x="257" y="815"/>
                  </a:lnTo>
                  <a:lnTo>
                    <a:pt x="255" y="867"/>
                  </a:lnTo>
                  <a:lnTo>
                    <a:pt x="265" y="888"/>
                  </a:lnTo>
                  <a:lnTo>
                    <a:pt x="257" y="909"/>
                  </a:lnTo>
                  <a:lnTo>
                    <a:pt x="265" y="923"/>
                  </a:lnTo>
                  <a:lnTo>
                    <a:pt x="283" y="923"/>
                  </a:lnTo>
                  <a:lnTo>
                    <a:pt x="293" y="907"/>
                  </a:lnTo>
                  <a:lnTo>
                    <a:pt x="302" y="935"/>
                  </a:lnTo>
                  <a:lnTo>
                    <a:pt x="319" y="942"/>
                  </a:lnTo>
                  <a:lnTo>
                    <a:pt x="324" y="964"/>
                  </a:lnTo>
                  <a:lnTo>
                    <a:pt x="279" y="949"/>
                  </a:lnTo>
                  <a:lnTo>
                    <a:pt x="274" y="975"/>
                  </a:lnTo>
                  <a:lnTo>
                    <a:pt x="272" y="1001"/>
                  </a:lnTo>
                  <a:lnTo>
                    <a:pt x="288" y="1018"/>
                  </a:lnTo>
                  <a:lnTo>
                    <a:pt x="312" y="1011"/>
                  </a:lnTo>
                  <a:lnTo>
                    <a:pt x="324" y="990"/>
                  </a:lnTo>
                  <a:lnTo>
                    <a:pt x="333" y="1016"/>
                  </a:lnTo>
                  <a:lnTo>
                    <a:pt x="328" y="1046"/>
                  </a:lnTo>
                  <a:lnTo>
                    <a:pt x="305" y="1046"/>
                  </a:lnTo>
                  <a:lnTo>
                    <a:pt x="293" y="1063"/>
                  </a:lnTo>
                  <a:lnTo>
                    <a:pt x="291" y="1146"/>
                  </a:lnTo>
                  <a:lnTo>
                    <a:pt x="307" y="1164"/>
                  </a:lnTo>
                  <a:lnTo>
                    <a:pt x="314" y="1205"/>
                  </a:lnTo>
                  <a:lnTo>
                    <a:pt x="359" y="1301"/>
                  </a:lnTo>
                  <a:lnTo>
                    <a:pt x="373" y="1318"/>
                  </a:lnTo>
                  <a:lnTo>
                    <a:pt x="406" y="1325"/>
                  </a:lnTo>
                  <a:lnTo>
                    <a:pt x="435" y="1349"/>
                  </a:lnTo>
                  <a:lnTo>
                    <a:pt x="444" y="1344"/>
                  </a:lnTo>
                  <a:lnTo>
                    <a:pt x="463" y="1283"/>
                  </a:lnTo>
                  <a:lnTo>
                    <a:pt x="456" y="1261"/>
                  </a:lnTo>
                  <a:lnTo>
                    <a:pt x="482" y="1233"/>
                  </a:lnTo>
                  <a:lnTo>
                    <a:pt x="487" y="1200"/>
                  </a:lnTo>
                  <a:lnTo>
                    <a:pt x="477" y="1176"/>
                  </a:lnTo>
                  <a:lnTo>
                    <a:pt x="491" y="1179"/>
                  </a:lnTo>
                  <a:lnTo>
                    <a:pt x="496" y="1164"/>
                  </a:lnTo>
                  <a:lnTo>
                    <a:pt x="536" y="1157"/>
                  </a:lnTo>
                  <a:lnTo>
                    <a:pt x="558" y="1146"/>
                  </a:lnTo>
                  <a:lnTo>
                    <a:pt x="621" y="1063"/>
                  </a:lnTo>
                  <a:lnTo>
                    <a:pt x="640" y="1063"/>
                  </a:lnTo>
                  <a:lnTo>
                    <a:pt x="678" y="1046"/>
                  </a:lnTo>
                  <a:lnTo>
                    <a:pt x="744" y="997"/>
                  </a:lnTo>
                  <a:lnTo>
                    <a:pt x="754" y="983"/>
                  </a:lnTo>
                  <a:lnTo>
                    <a:pt x="713" y="968"/>
                  </a:lnTo>
                  <a:lnTo>
                    <a:pt x="697" y="980"/>
                  </a:lnTo>
                  <a:lnTo>
                    <a:pt x="697" y="968"/>
                  </a:lnTo>
                  <a:lnTo>
                    <a:pt x="711" y="957"/>
                  </a:lnTo>
                  <a:lnTo>
                    <a:pt x="709" y="935"/>
                  </a:lnTo>
                  <a:lnTo>
                    <a:pt x="723" y="926"/>
                  </a:lnTo>
                  <a:lnTo>
                    <a:pt x="730" y="961"/>
                  </a:lnTo>
                  <a:lnTo>
                    <a:pt x="744" y="968"/>
                  </a:lnTo>
                  <a:lnTo>
                    <a:pt x="763" y="964"/>
                  </a:lnTo>
                  <a:lnTo>
                    <a:pt x="763" y="923"/>
                  </a:lnTo>
                  <a:lnTo>
                    <a:pt x="723" y="872"/>
                  </a:lnTo>
                  <a:lnTo>
                    <a:pt x="761" y="890"/>
                  </a:lnTo>
                  <a:lnTo>
                    <a:pt x="761" y="850"/>
                  </a:lnTo>
                  <a:lnTo>
                    <a:pt x="746" y="843"/>
                  </a:lnTo>
                  <a:lnTo>
                    <a:pt x="768" y="824"/>
                  </a:lnTo>
                  <a:lnTo>
                    <a:pt x="784" y="822"/>
                  </a:lnTo>
                  <a:lnTo>
                    <a:pt x="784" y="803"/>
                  </a:lnTo>
                  <a:lnTo>
                    <a:pt x="768" y="794"/>
                  </a:lnTo>
                  <a:lnTo>
                    <a:pt x="801" y="779"/>
                  </a:lnTo>
                  <a:lnTo>
                    <a:pt x="808" y="756"/>
                  </a:lnTo>
                  <a:lnTo>
                    <a:pt x="789" y="756"/>
                  </a:lnTo>
                  <a:lnTo>
                    <a:pt x="798" y="725"/>
                  </a:lnTo>
                  <a:lnTo>
                    <a:pt x="791" y="666"/>
                  </a:lnTo>
                  <a:lnTo>
                    <a:pt x="768" y="659"/>
                  </a:lnTo>
                  <a:lnTo>
                    <a:pt x="770" y="635"/>
                  </a:lnTo>
                  <a:lnTo>
                    <a:pt x="784" y="619"/>
                  </a:lnTo>
                  <a:lnTo>
                    <a:pt x="813" y="631"/>
                  </a:lnTo>
                  <a:lnTo>
                    <a:pt x="817" y="609"/>
                  </a:lnTo>
                  <a:lnTo>
                    <a:pt x="796" y="550"/>
                  </a:lnTo>
                  <a:lnTo>
                    <a:pt x="803" y="515"/>
                  </a:lnTo>
                  <a:lnTo>
                    <a:pt x="798" y="484"/>
                  </a:lnTo>
                  <a:lnTo>
                    <a:pt x="853" y="352"/>
                  </a:lnTo>
                  <a:lnTo>
                    <a:pt x="914" y="267"/>
                  </a:lnTo>
                  <a:lnTo>
                    <a:pt x="891" y="231"/>
                  </a:lnTo>
                  <a:lnTo>
                    <a:pt x="843" y="220"/>
                  </a:lnTo>
                  <a:lnTo>
                    <a:pt x="817" y="250"/>
                  </a:lnTo>
                  <a:lnTo>
                    <a:pt x="798" y="241"/>
                  </a:lnTo>
                  <a:lnTo>
                    <a:pt x="754" y="290"/>
                  </a:lnTo>
                  <a:lnTo>
                    <a:pt x="718" y="307"/>
                  </a:lnTo>
                  <a:lnTo>
                    <a:pt x="735" y="262"/>
                  </a:lnTo>
                  <a:lnTo>
                    <a:pt x="770" y="220"/>
                  </a:lnTo>
                  <a:lnTo>
                    <a:pt x="765" y="189"/>
                  </a:lnTo>
                  <a:lnTo>
                    <a:pt x="735" y="194"/>
                  </a:lnTo>
                  <a:lnTo>
                    <a:pt x="735" y="224"/>
                  </a:lnTo>
                  <a:lnTo>
                    <a:pt x="711" y="231"/>
                  </a:lnTo>
                  <a:lnTo>
                    <a:pt x="711" y="191"/>
                  </a:lnTo>
                  <a:lnTo>
                    <a:pt x="643" y="191"/>
                  </a:lnTo>
                  <a:lnTo>
                    <a:pt x="666" y="170"/>
                  </a:lnTo>
                  <a:lnTo>
                    <a:pt x="706" y="175"/>
                  </a:lnTo>
                  <a:lnTo>
                    <a:pt x="758" y="163"/>
                  </a:lnTo>
                  <a:lnTo>
                    <a:pt x="791" y="135"/>
                  </a:lnTo>
                  <a:lnTo>
                    <a:pt x="765" y="102"/>
                  </a:lnTo>
                  <a:lnTo>
                    <a:pt x="730" y="85"/>
                  </a:lnTo>
                  <a:lnTo>
                    <a:pt x="718" y="52"/>
                  </a:lnTo>
                  <a:lnTo>
                    <a:pt x="680" y="14"/>
                  </a:lnTo>
                  <a:lnTo>
                    <a:pt x="553" y="0"/>
                  </a:lnTo>
                  <a:lnTo>
                    <a:pt x="432" y="59"/>
                  </a:lnTo>
                  <a:lnTo>
                    <a:pt x="395" y="104"/>
                  </a:lnTo>
                  <a:lnTo>
                    <a:pt x="383" y="151"/>
                  </a:lnTo>
                  <a:lnTo>
                    <a:pt x="335" y="146"/>
                  </a:lnTo>
                  <a:lnTo>
                    <a:pt x="324" y="198"/>
                  </a:lnTo>
                  <a:lnTo>
                    <a:pt x="276" y="161"/>
                  </a:lnTo>
                  <a:lnTo>
                    <a:pt x="203" y="189"/>
                  </a:lnTo>
                  <a:lnTo>
                    <a:pt x="165" y="224"/>
                  </a:lnTo>
                  <a:lnTo>
                    <a:pt x="175" y="257"/>
                  </a:lnTo>
                  <a:lnTo>
                    <a:pt x="168" y="286"/>
                  </a:lnTo>
                  <a:lnTo>
                    <a:pt x="137" y="281"/>
                  </a:lnTo>
                  <a:lnTo>
                    <a:pt x="94" y="342"/>
                  </a:lnTo>
                  <a:lnTo>
                    <a:pt x="80" y="383"/>
                  </a:lnTo>
                  <a:lnTo>
                    <a:pt x="120" y="383"/>
                  </a:lnTo>
                  <a:lnTo>
                    <a:pt x="128" y="411"/>
                  </a:lnTo>
                  <a:lnTo>
                    <a:pt x="109" y="456"/>
                  </a:lnTo>
                  <a:lnTo>
                    <a:pt x="64" y="470"/>
                  </a:lnTo>
                  <a:lnTo>
                    <a:pt x="9" y="503"/>
                  </a:lnTo>
                  <a:lnTo>
                    <a:pt x="0" y="534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85" name="Freeform 213"/>
            <p:cNvSpPr>
              <a:spLocks/>
            </p:cNvSpPr>
            <p:nvPr/>
          </p:nvSpPr>
          <p:spPr bwMode="auto">
            <a:xfrm>
              <a:off x="4741" y="2319"/>
              <a:ext cx="50" cy="60"/>
            </a:xfrm>
            <a:custGeom>
              <a:avLst/>
              <a:gdLst>
                <a:gd name="T0" fmla="*/ 0 w 85"/>
                <a:gd name="T1" fmla="*/ 2 h 113"/>
                <a:gd name="T2" fmla="*/ 1 w 85"/>
                <a:gd name="T3" fmla="*/ 1 h 113"/>
                <a:gd name="T4" fmla="*/ 1 w 85"/>
                <a:gd name="T5" fmla="*/ 1 h 113"/>
                <a:gd name="T6" fmla="*/ 2 w 85"/>
                <a:gd name="T7" fmla="*/ 1 h 113"/>
                <a:gd name="T8" fmla="*/ 2 w 85"/>
                <a:gd name="T9" fmla="*/ 1 h 113"/>
                <a:gd name="T10" fmla="*/ 1 w 85"/>
                <a:gd name="T11" fmla="*/ 0 h 113"/>
                <a:gd name="T12" fmla="*/ 1 w 85"/>
                <a:gd name="T13" fmla="*/ 1 h 113"/>
                <a:gd name="T14" fmla="*/ 0 w 85"/>
                <a:gd name="T15" fmla="*/ 2 h 1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5"/>
                <a:gd name="T25" fmla="*/ 0 h 113"/>
                <a:gd name="T26" fmla="*/ 85 w 85"/>
                <a:gd name="T27" fmla="*/ 113 h 1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5" h="113">
                  <a:moveTo>
                    <a:pt x="0" y="113"/>
                  </a:moveTo>
                  <a:lnTo>
                    <a:pt x="26" y="97"/>
                  </a:lnTo>
                  <a:lnTo>
                    <a:pt x="59" y="97"/>
                  </a:lnTo>
                  <a:lnTo>
                    <a:pt x="85" y="85"/>
                  </a:lnTo>
                  <a:lnTo>
                    <a:pt x="85" y="47"/>
                  </a:lnTo>
                  <a:lnTo>
                    <a:pt x="45" y="0"/>
                  </a:lnTo>
                  <a:lnTo>
                    <a:pt x="31" y="14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86" name="Freeform 214"/>
            <p:cNvSpPr>
              <a:spLocks/>
            </p:cNvSpPr>
            <p:nvPr/>
          </p:nvSpPr>
          <p:spPr bwMode="auto">
            <a:xfrm>
              <a:off x="4669" y="2235"/>
              <a:ext cx="80" cy="112"/>
            </a:xfrm>
            <a:custGeom>
              <a:avLst/>
              <a:gdLst>
                <a:gd name="T0" fmla="*/ 0 w 135"/>
                <a:gd name="T1" fmla="*/ 1 h 215"/>
                <a:gd name="T2" fmla="*/ 1 w 135"/>
                <a:gd name="T3" fmla="*/ 2 h 215"/>
                <a:gd name="T4" fmla="*/ 1 w 135"/>
                <a:gd name="T5" fmla="*/ 2 h 215"/>
                <a:gd name="T6" fmla="*/ 1 w 135"/>
                <a:gd name="T7" fmla="*/ 2 h 215"/>
                <a:gd name="T8" fmla="*/ 3 w 135"/>
                <a:gd name="T9" fmla="*/ 2 h 215"/>
                <a:gd name="T10" fmla="*/ 3 w 135"/>
                <a:gd name="T11" fmla="*/ 2 h 215"/>
                <a:gd name="T12" fmla="*/ 3 w 135"/>
                <a:gd name="T13" fmla="*/ 2 h 215"/>
                <a:gd name="T14" fmla="*/ 4 w 135"/>
                <a:gd name="T15" fmla="*/ 2 h 215"/>
                <a:gd name="T16" fmla="*/ 3 w 135"/>
                <a:gd name="T17" fmla="*/ 1 h 215"/>
                <a:gd name="T18" fmla="*/ 2 w 135"/>
                <a:gd name="T19" fmla="*/ 1 h 215"/>
                <a:gd name="T20" fmla="*/ 2 w 135"/>
                <a:gd name="T21" fmla="*/ 1 h 215"/>
                <a:gd name="T22" fmla="*/ 2 w 135"/>
                <a:gd name="T23" fmla="*/ 1 h 215"/>
                <a:gd name="T24" fmla="*/ 2 w 135"/>
                <a:gd name="T25" fmla="*/ 0 h 215"/>
                <a:gd name="T26" fmla="*/ 1 w 135"/>
                <a:gd name="T27" fmla="*/ 1 h 215"/>
                <a:gd name="T28" fmla="*/ 1 w 135"/>
                <a:gd name="T29" fmla="*/ 1 h 215"/>
                <a:gd name="T30" fmla="*/ 0 w 135"/>
                <a:gd name="T31" fmla="*/ 1 h 21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35"/>
                <a:gd name="T49" fmla="*/ 0 h 215"/>
                <a:gd name="T50" fmla="*/ 135 w 135"/>
                <a:gd name="T51" fmla="*/ 215 h 21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35" h="215">
                  <a:moveTo>
                    <a:pt x="0" y="109"/>
                  </a:moveTo>
                  <a:lnTo>
                    <a:pt x="10" y="142"/>
                  </a:lnTo>
                  <a:lnTo>
                    <a:pt x="41" y="156"/>
                  </a:lnTo>
                  <a:lnTo>
                    <a:pt x="52" y="189"/>
                  </a:lnTo>
                  <a:lnTo>
                    <a:pt x="107" y="215"/>
                  </a:lnTo>
                  <a:lnTo>
                    <a:pt x="130" y="210"/>
                  </a:lnTo>
                  <a:lnTo>
                    <a:pt x="126" y="177"/>
                  </a:lnTo>
                  <a:lnTo>
                    <a:pt x="135" y="142"/>
                  </a:lnTo>
                  <a:lnTo>
                    <a:pt x="121" y="116"/>
                  </a:lnTo>
                  <a:lnTo>
                    <a:pt x="95" y="99"/>
                  </a:lnTo>
                  <a:lnTo>
                    <a:pt x="88" y="71"/>
                  </a:lnTo>
                  <a:lnTo>
                    <a:pt x="95" y="47"/>
                  </a:lnTo>
                  <a:lnTo>
                    <a:pt x="66" y="0"/>
                  </a:lnTo>
                  <a:lnTo>
                    <a:pt x="31" y="33"/>
                  </a:lnTo>
                  <a:lnTo>
                    <a:pt x="22" y="71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87" name="Freeform 215"/>
            <p:cNvSpPr>
              <a:spLocks/>
            </p:cNvSpPr>
            <p:nvPr/>
          </p:nvSpPr>
          <p:spPr bwMode="auto">
            <a:xfrm>
              <a:off x="4359" y="2226"/>
              <a:ext cx="81" cy="63"/>
            </a:xfrm>
            <a:custGeom>
              <a:avLst/>
              <a:gdLst>
                <a:gd name="T0" fmla="*/ 0 w 137"/>
                <a:gd name="T1" fmla="*/ 2 h 121"/>
                <a:gd name="T2" fmla="*/ 1 w 137"/>
                <a:gd name="T3" fmla="*/ 2 h 121"/>
                <a:gd name="T4" fmla="*/ 1 w 137"/>
                <a:gd name="T5" fmla="*/ 1 h 121"/>
                <a:gd name="T6" fmla="*/ 2 w 137"/>
                <a:gd name="T7" fmla="*/ 1 h 121"/>
                <a:gd name="T8" fmla="*/ 2 w 137"/>
                <a:gd name="T9" fmla="*/ 1 h 121"/>
                <a:gd name="T10" fmla="*/ 2 w 137"/>
                <a:gd name="T11" fmla="*/ 1 h 121"/>
                <a:gd name="T12" fmla="*/ 3 w 137"/>
                <a:gd name="T13" fmla="*/ 1 h 121"/>
                <a:gd name="T14" fmla="*/ 4 w 137"/>
                <a:gd name="T15" fmla="*/ 1 h 121"/>
                <a:gd name="T16" fmla="*/ 3 w 137"/>
                <a:gd name="T17" fmla="*/ 0 h 121"/>
                <a:gd name="T18" fmla="*/ 2 w 137"/>
                <a:gd name="T19" fmla="*/ 1 h 121"/>
                <a:gd name="T20" fmla="*/ 2 w 137"/>
                <a:gd name="T21" fmla="*/ 1 h 121"/>
                <a:gd name="T22" fmla="*/ 1 w 137"/>
                <a:gd name="T23" fmla="*/ 1 h 121"/>
                <a:gd name="T24" fmla="*/ 1 w 137"/>
                <a:gd name="T25" fmla="*/ 1 h 121"/>
                <a:gd name="T26" fmla="*/ 1 w 137"/>
                <a:gd name="T27" fmla="*/ 1 h 121"/>
                <a:gd name="T28" fmla="*/ 0 w 137"/>
                <a:gd name="T29" fmla="*/ 2 h 12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7"/>
                <a:gd name="T46" fmla="*/ 0 h 121"/>
                <a:gd name="T47" fmla="*/ 137 w 137"/>
                <a:gd name="T48" fmla="*/ 121 h 12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7" h="121">
                  <a:moveTo>
                    <a:pt x="0" y="121"/>
                  </a:moveTo>
                  <a:lnTo>
                    <a:pt x="26" y="121"/>
                  </a:lnTo>
                  <a:lnTo>
                    <a:pt x="50" y="95"/>
                  </a:lnTo>
                  <a:lnTo>
                    <a:pt x="83" y="102"/>
                  </a:lnTo>
                  <a:lnTo>
                    <a:pt x="94" y="90"/>
                  </a:lnTo>
                  <a:lnTo>
                    <a:pt x="94" y="50"/>
                  </a:lnTo>
                  <a:lnTo>
                    <a:pt x="116" y="57"/>
                  </a:lnTo>
                  <a:lnTo>
                    <a:pt x="137" y="41"/>
                  </a:lnTo>
                  <a:lnTo>
                    <a:pt x="127" y="0"/>
                  </a:lnTo>
                  <a:lnTo>
                    <a:pt x="102" y="26"/>
                  </a:lnTo>
                  <a:lnTo>
                    <a:pt x="94" y="50"/>
                  </a:lnTo>
                  <a:lnTo>
                    <a:pt x="54" y="62"/>
                  </a:lnTo>
                  <a:lnTo>
                    <a:pt x="50" y="95"/>
                  </a:lnTo>
                  <a:lnTo>
                    <a:pt x="19" y="93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88" name="Freeform 216"/>
            <p:cNvSpPr>
              <a:spLocks/>
            </p:cNvSpPr>
            <p:nvPr/>
          </p:nvSpPr>
          <p:spPr bwMode="auto">
            <a:xfrm>
              <a:off x="4343" y="2209"/>
              <a:ext cx="40" cy="57"/>
            </a:xfrm>
            <a:custGeom>
              <a:avLst/>
              <a:gdLst>
                <a:gd name="T0" fmla="*/ 0 w 68"/>
                <a:gd name="T1" fmla="*/ 1 h 109"/>
                <a:gd name="T2" fmla="*/ 1 w 68"/>
                <a:gd name="T3" fmla="*/ 1 h 109"/>
                <a:gd name="T4" fmla="*/ 2 w 68"/>
                <a:gd name="T5" fmla="*/ 1 h 109"/>
                <a:gd name="T6" fmla="*/ 1 w 68"/>
                <a:gd name="T7" fmla="*/ 1 h 109"/>
                <a:gd name="T8" fmla="*/ 2 w 68"/>
                <a:gd name="T9" fmla="*/ 1 h 109"/>
                <a:gd name="T10" fmla="*/ 2 w 68"/>
                <a:gd name="T11" fmla="*/ 0 h 109"/>
                <a:gd name="T12" fmla="*/ 1 w 68"/>
                <a:gd name="T13" fmla="*/ 1 h 109"/>
                <a:gd name="T14" fmla="*/ 1 w 68"/>
                <a:gd name="T15" fmla="*/ 1 h 109"/>
                <a:gd name="T16" fmla="*/ 1 w 68"/>
                <a:gd name="T17" fmla="*/ 1 h 109"/>
                <a:gd name="T18" fmla="*/ 0 w 68"/>
                <a:gd name="T19" fmla="*/ 1 h 10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8"/>
                <a:gd name="T31" fmla="*/ 0 h 109"/>
                <a:gd name="T32" fmla="*/ 68 w 68"/>
                <a:gd name="T33" fmla="*/ 109 h 10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8" h="109">
                  <a:moveTo>
                    <a:pt x="0" y="92"/>
                  </a:moveTo>
                  <a:lnTo>
                    <a:pt x="31" y="109"/>
                  </a:lnTo>
                  <a:lnTo>
                    <a:pt x="64" y="92"/>
                  </a:lnTo>
                  <a:lnTo>
                    <a:pt x="52" y="74"/>
                  </a:lnTo>
                  <a:lnTo>
                    <a:pt x="68" y="43"/>
                  </a:lnTo>
                  <a:lnTo>
                    <a:pt x="64" y="0"/>
                  </a:lnTo>
                  <a:lnTo>
                    <a:pt x="33" y="33"/>
                  </a:lnTo>
                  <a:lnTo>
                    <a:pt x="33" y="71"/>
                  </a:lnTo>
                  <a:lnTo>
                    <a:pt x="9" y="71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89" name="Freeform 217"/>
            <p:cNvSpPr>
              <a:spLocks/>
            </p:cNvSpPr>
            <p:nvPr/>
          </p:nvSpPr>
          <p:spPr bwMode="auto">
            <a:xfrm>
              <a:off x="4333" y="2271"/>
              <a:ext cx="17" cy="12"/>
            </a:xfrm>
            <a:custGeom>
              <a:avLst/>
              <a:gdLst>
                <a:gd name="T0" fmla="*/ 0 w 29"/>
                <a:gd name="T1" fmla="*/ 1 h 21"/>
                <a:gd name="T2" fmla="*/ 1 w 29"/>
                <a:gd name="T3" fmla="*/ 1 h 21"/>
                <a:gd name="T4" fmla="*/ 1 w 29"/>
                <a:gd name="T5" fmla="*/ 0 h 21"/>
                <a:gd name="T6" fmla="*/ 0 w 29"/>
                <a:gd name="T7" fmla="*/ 1 h 2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9"/>
                <a:gd name="T13" fmla="*/ 0 h 21"/>
                <a:gd name="T14" fmla="*/ 29 w 29"/>
                <a:gd name="T15" fmla="*/ 21 h 2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9" h="21">
                  <a:moveTo>
                    <a:pt x="0" y="21"/>
                  </a:moveTo>
                  <a:lnTo>
                    <a:pt x="29" y="19"/>
                  </a:lnTo>
                  <a:lnTo>
                    <a:pt x="12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90" name="Freeform 218"/>
            <p:cNvSpPr>
              <a:spLocks/>
            </p:cNvSpPr>
            <p:nvPr/>
          </p:nvSpPr>
          <p:spPr bwMode="auto">
            <a:xfrm>
              <a:off x="4258" y="2252"/>
              <a:ext cx="58" cy="41"/>
            </a:xfrm>
            <a:custGeom>
              <a:avLst/>
              <a:gdLst>
                <a:gd name="T0" fmla="*/ 0 w 99"/>
                <a:gd name="T1" fmla="*/ 1 h 78"/>
                <a:gd name="T2" fmla="*/ 1 w 99"/>
                <a:gd name="T3" fmla="*/ 1 h 78"/>
                <a:gd name="T4" fmla="*/ 1 w 99"/>
                <a:gd name="T5" fmla="*/ 1 h 78"/>
                <a:gd name="T6" fmla="*/ 1 w 99"/>
                <a:gd name="T7" fmla="*/ 1 h 78"/>
                <a:gd name="T8" fmla="*/ 1 w 99"/>
                <a:gd name="T9" fmla="*/ 1 h 78"/>
                <a:gd name="T10" fmla="*/ 2 w 99"/>
                <a:gd name="T11" fmla="*/ 1 h 78"/>
                <a:gd name="T12" fmla="*/ 2 w 99"/>
                <a:gd name="T13" fmla="*/ 1 h 78"/>
                <a:gd name="T14" fmla="*/ 2 w 99"/>
                <a:gd name="T15" fmla="*/ 1 h 78"/>
                <a:gd name="T16" fmla="*/ 2 w 99"/>
                <a:gd name="T17" fmla="*/ 1 h 78"/>
                <a:gd name="T18" fmla="*/ 1 w 99"/>
                <a:gd name="T19" fmla="*/ 1 h 78"/>
                <a:gd name="T20" fmla="*/ 1 w 99"/>
                <a:gd name="T21" fmla="*/ 1 h 78"/>
                <a:gd name="T22" fmla="*/ 1 w 99"/>
                <a:gd name="T23" fmla="*/ 0 h 78"/>
                <a:gd name="T24" fmla="*/ 0 w 99"/>
                <a:gd name="T25" fmla="*/ 1 h 7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9"/>
                <a:gd name="T40" fmla="*/ 0 h 78"/>
                <a:gd name="T41" fmla="*/ 99 w 99"/>
                <a:gd name="T42" fmla="*/ 78 h 7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9" h="78">
                  <a:moveTo>
                    <a:pt x="0" y="33"/>
                  </a:moveTo>
                  <a:lnTo>
                    <a:pt x="16" y="45"/>
                  </a:lnTo>
                  <a:lnTo>
                    <a:pt x="35" y="45"/>
                  </a:lnTo>
                  <a:lnTo>
                    <a:pt x="35" y="66"/>
                  </a:lnTo>
                  <a:lnTo>
                    <a:pt x="57" y="78"/>
                  </a:lnTo>
                  <a:lnTo>
                    <a:pt x="80" y="71"/>
                  </a:lnTo>
                  <a:lnTo>
                    <a:pt x="80" y="47"/>
                  </a:lnTo>
                  <a:lnTo>
                    <a:pt x="99" y="24"/>
                  </a:lnTo>
                  <a:lnTo>
                    <a:pt x="85" y="12"/>
                  </a:lnTo>
                  <a:lnTo>
                    <a:pt x="52" y="33"/>
                  </a:lnTo>
                  <a:lnTo>
                    <a:pt x="52" y="14"/>
                  </a:lnTo>
                  <a:lnTo>
                    <a:pt x="35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91" name="Freeform 219"/>
            <p:cNvSpPr>
              <a:spLocks/>
            </p:cNvSpPr>
            <p:nvPr/>
          </p:nvSpPr>
          <p:spPr bwMode="auto">
            <a:xfrm>
              <a:off x="3961" y="2271"/>
              <a:ext cx="142" cy="158"/>
            </a:xfrm>
            <a:custGeom>
              <a:avLst/>
              <a:gdLst>
                <a:gd name="T0" fmla="*/ 0 w 239"/>
                <a:gd name="T1" fmla="*/ 1 h 302"/>
                <a:gd name="T2" fmla="*/ 1 w 239"/>
                <a:gd name="T3" fmla="*/ 2 h 302"/>
                <a:gd name="T4" fmla="*/ 1 w 239"/>
                <a:gd name="T5" fmla="*/ 2 h 302"/>
                <a:gd name="T6" fmla="*/ 1 w 239"/>
                <a:gd name="T7" fmla="*/ 2 h 302"/>
                <a:gd name="T8" fmla="*/ 1 w 239"/>
                <a:gd name="T9" fmla="*/ 2 h 302"/>
                <a:gd name="T10" fmla="*/ 1 w 239"/>
                <a:gd name="T11" fmla="*/ 3 h 302"/>
                <a:gd name="T12" fmla="*/ 2 w 239"/>
                <a:gd name="T13" fmla="*/ 3 h 302"/>
                <a:gd name="T14" fmla="*/ 3 w 239"/>
                <a:gd name="T15" fmla="*/ 2 h 302"/>
                <a:gd name="T16" fmla="*/ 4 w 239"/>
                <a:gd name="T17" fmla="*/ 2 h 302"/>
                <a:gd name="T18" fmla="*/ 4 w 239"/>
                <a:gd name="T19" fmla="*/ 2 h 302"/>
                <a:gd name="T20" fmla="*/ 4 w 239"/>
                <a:gd name="T21" fmla="*/ 2 h 302"/>
                <a:gd name="T22" fmla="*/ 4 w 239"/>
                <a:gd name="T23" fmla="*/ 3 h 302"/>
                <a:gd name="T24" fmla="*/ 5 w 239"/>
                <a:gd name="T25" fmla="*/ 3 h 302"/>
                <a:gd name="T26" fmla="*/ 5 w 239"/>
                <a:gd name="T27" fmla="*/ 2 h 302"/>
                <a:gd name="T28" fmla="*/ 5 w 239"/>
                <a:gd name="T29" fmla="*/ 2 h 302"/>
                <a:gd name="T30" fmla="*/ 4 w 239"/>
                <a:gd name="T31" fmla="*/ 2 h 302"/>
                <a:gd name="T32" fmla="*/ 3 w 239"/>
                <a:gd name="T33" fmla="*/ 1 h 302"/>
                <a:gd name="T34" fmla="*/ 3 w 239"/>
                <a:gd name="T35" fmla="*/ 1 h 302"/>
                <a:gd name="T36" fmla="*/ 4 w 239"/>
                <a:gd name="T37" fmla="*/ 1 h 302"/>
                <a:gd name="T38" fmla="*/ 5 w 239"/>
                <a:gd name="T39" fmla="*/ 1 h 302"/>
                <a:gd name="T40" fmla="*/ 6 w 239"/>
                <a:gd name="T41" fmla="*/ 1 h 302"/>
                <a:gd name="T42" fmla="*/ 7 w 239"/>
                <a:gd name="T43" fmla="*/ 1 h 302"/>
                <a:gd name="T44" fmla="*/ 7 w 239"/>
                <a:gd name="T45" fmla="*/ 1 h 302"/>
                <a:gd name="T46" fmla="*/ 5 w 239"/>
                <a:gd name="T47" fmla="*/ 1 h 302"/>
                <a:gd name="T48" fmla="*/ 4 w 239"/>
                <a:gd name="T49" fmla="*/ 1 h 302"/>
                <a:gd name="T50" fmla="*/ 4 w 239"/>
                <a:gd name="T51" fmla="*/ 0 h 302"/>
                <a:gd name="T52" fmla="*/ 3 w 239"/>
                <a:gd name="T53" fmla="*/ 1 h 302"/>
                <a:gd name="T54" fmla="*/ 3 w 239"/>
                <a:gd name="T55" fmla="*/ 1 h 302"/>
                <a:gd name="T56" fmla="*/ 2 w 239"/>
                <a:gd name="T57" fmla="*/ 1 h 302"/>
                <a:gd name="T58" fmla="*/ 2 w 239"/>
                <a:gd name="T59" fmla="*/ 1 h 302"/>
                <a:gd name="T60" fmla="*/ 1 w 239"/>
                <a:gd name="T61" fmla="*/ 1 h 302"/>
                <a:gd name="T62" fmla="*/ 0 w 239"/>
                <a:gd name="T63" fmla="*/ 1 h 30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39"/>
                <a:gd name="T97" fmla="*/ 0 h 302"/>
                <a:gd name="T98" fmla="*/ 239 w 239"/>
                <a:gd name="T99" fmla="*/ 302 h 30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39" h="302">
                  <a:moveTo>
                    <a:pt x="0" y="66"/>
                  </a:moveTo>
                  <a:lnTo>
                    <a:pt x="9" y="149"/>
                  </a:lnTo>
                  <a:lnTo>
                    <a:pt x="33" y="184"/>
                  </a:lnTo>
                  <a:lnTo>
                    <a:pt x="61" y="184"/>
                  </a:lnTo>
                  <a:lnTo>
                    <a:pt x="40" y="203"/>
                  </a:lnTo>
                  <a:lnTo>
                    <a:pt x="45" y="236"/>
                  </a:lnTo>
                  <a:lnTo>
                    <a:pt x="90" y="302"/>
                  </a:lnTo>
                  <a:lnTo>
                    <a:pt x="121" y="170"/>
                  </a:lnTo>
                  <a:lnTo>
                    <a:pt x="137" y="153"/>
                  </a:lnTo>
                  <a:lnTo>
                    <a:pt x="144" y="186"/>
                  </a:lnTo>
                  <a:lnTo>
                    <a:pt x="158" y="205"/>
                  </a:lnTo>
                  <a:lnTo>
                    <a:pt x="146" y="241"/>
                  </a:lnTo>
                  <a:lnTo>
                    <a:pt x="175" y="253"/>
                  </a:lnTo>
                  <a:lnTo>
                    <a:pt x="206" y="217"/>
                  </a:lnTo>
                  <a:lnTo>
                    <a:pt x="182" y="193"/>
                  </a:lnTo>
                  <a:lnTo>
                    <a:pt x="156" y="139"/>
                  </a:lnTo>
                  <a:lnTo>
                    <a:pt x="121" y="113"/>
                  </a:lnTo>
                  <a:lnTo>
                    <a:pt x="116" y="68"/>
                  </a:lnTo>
                  <a:lnTo>
                    <a:pt x="149" y="99"/>
                  </a:lnTo>
                  <a:lnTo>
                    <a:pt x="191" y="113"/>
                  </a:lnTo>
                  <a:lnTo>
                    <a:pt x="220" y="92"/>
                  </a:lnTo>
                  <a:lnTo>
                    <a:pt x="239" y="54"/>
                  </a:lnTo>
                  <a:lnTo>
                    <a:pt x="239" y="28"/>
                  </a:lnTo>
                  <a:lnTo>
                    <a:pt x="180" y="7"/>
                  </a:lnTo>
                  <a:lnTo>
                    <a:pt x="149" y="28"/>
                  </a:lnTo>
                  <a:lnTo>
                    <a:pt x="135" y="0"/>
                  </a:lnTo>
                  <a:lnTo>
                    <a:pt x="104" y="21"/>
                  </a:lnTo>
                  <a:lnTo>
                    <a:pt x="104" y="52"/>
                  </a:lnTo>
                  <a:lnTo>
                    <a:pt x="80" y="40"/>
                  </a:lnTo>
                  <a:lnTo>
                    <a:pt x="66" y="71"/>
                  </a:lnTo>
                  <a:lnTo>
                    <a:pt x="43" y="59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92" name="Freeform 220"/>
            <p:cNvSpPr>
              <a:spLocks/>
            </p:cNvSpPr>
            <p:nvPr/>
          </p:nvSpPr>
          <p:spPr bwMode="auto">
            <a:xfrm>
              <a:off x="3011" y="2460"/>
              <a:ext cx="25" cy="26"/>
            </a:xfrm>
            <a:custGeom>
              <a:avLst/>
              <a:gdLst>
                <a:gd name="T0" fmla="*/ 0 w 43"/>
                <a:gd name="T1" fmla="*/ 1 h 50"/>
                <a:gd name="T2" fmla="*/ 1 w 43"/>
                <a:gd name="T3" fmla="*/ 1 h 50"/>
                <a:gd name="T4" fmla="*/ 1 w 43"/>
                <a:gd name="T5" fmla="*/ 1 h 50"/>
                <a:gd name="T6" fmla="*/ 1 w 43"/>
                <a:gd name="T7" fmla="*/ 0 h 50"/>
                <a:gd name="T8" fmla="*/ 1 w 43"/>
                <a:gd name="T9" fmla="*/ 0 h 50"/>
                <a:gd name="T10" fmla="*/ 0 w 43"/>
                <a:gd name="T11" fmla="*/ 1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3"/>
                <a:gd name="T19" fmla="*/ 0 h 50"/>
                <a:gd name="T20" fmla="*/ 43 w 43"/>
                <a:gd name="T21" fmla="*/ 50 h 5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3" h="50">
                  <a:moveTo>
                    <a:pt x="0" y="31"/>
                  </a:moveTo>
                  <a:lnTo>
                    <a:pt x="43" y="50"/>
                  </a:lnTo>
                  <a:lnTo>
                    <a:pt x="43" y="19"/>
                  </a:lnTo>
                  <a:lnTo>
                    <a:pt x="31" y="0"/>
                  </a:lnTo>
                  <a:lnTo>
                    <a:pt x="1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93" name="Freeform 221"/>
            <p:cNvSpPr>
              <a:spLocks/>
            </p:cNvSpPr>
            <p:nvPr/>
          </p:nvSpPr>
          <p:spPr bwMode="auto">
            <a:xfrm>
              <a:off x="3014" y="2411"/>
              <a:ext cx="145" cy="82"/>
            </a:xfrm>
            <a:custGeom>
              <a:avLst/>
              <a:gdLst>
                <a:gd name="T0" fmla="*/ 1 w 245"/>
                <a:gd name="T1" fmla="*/ 0 h 158"/>
                <a:gd name="T2" fmla="*/ 0 w 245"/>
                <a:gd name="T3" fmla="*/ 1 h 158"/>
                <a:gd name="T4" fmla="*/ 1 w 245"/>
                <a:gd name="T5" fmla="*/ 1 h 158"/>
                <a:gd name="T6" fmla="*/ 1 w 245"/>
                <a:gd name="T7" fmla="*/ 1 h 158"/>
                <a:gd name="T8" fmla="*/ 1 w 245"/>
                <a:gd name="T9" fmla="*/ 1 h 158"/>
                <a:gd name="T10" fmla="*/ 2 w 245"/>
                <a:gd name="T11" fmla="*/ 2 h 158"/>
                <a:gd name="T12" fmla="*/ 4 w 245"/>
                <a:gd name="T13" fmla="*/ 2 h 158"/>
                <a:gd name="T14" fmla="*/ 4 w 245"/>
                <a:gd name="T15" fmla="*/ 2 h 158"/>
                <a:gd name="T16" fmla="*/ 5 w 245"/>
                <a:gd name="T17" fmla="*/ 2 h 158"/>
                <a:gd name="T18" fmla="*/ 5 w 245"/>
                <a:gd name="T19" fmla="*/ 2 h 158"/>
                <a:gd name="T20" fmla="*/ 6 w 245"/>
                <a:gd name="T21" fmla="*/ 2 h 158"/>
                <a:gd name="T22" fmla="*/ 7 w 245"/>
                <a:gd name="T23" fmla="*/ 1 h 158"/>
                <a:gd name="T24" fmla="*/ 5 w 245"/>
                <a:gd name="T25" fmla="*/ 1 h 158"/>
                <a:gd name="T26" fmla="*/ 4 w 245"/>
                <a:gd name="T27" fmla="*/ 1 h 158"/>
                <a:gd name="T28" fmla="*/ 4 w 245"/>
                <a:gd name="T29" fmla="*/ 1 h 158"/>
                <a:gd name="T30" fmla="*/ 3 w 245"/>
                <a:gd name="T31" fmla="*/ 1 h 158"/>
                <a:gd name="T32" fmla="*/ 2 w 245"/>
                <a:gd name="T33" fmla="*/ 1 h 158"/>
                <a:gd name="T34" fmla="*/ 2 w 245"/>
                <a:gd name="T35" fmla="*/ 1 h 158"/>
                <a:gd name="T36" fmla="*/ 2 w 245"/>
                <a:gd name="T37" fmla="*/ 1 h 158"/>
                <a:gd name="T38" fmla="*/ 1 w 245"/>
                <a:gd name="T39" fmla="*/ 1 h 158"/>
                <a:gd name="T40" fmla="*/ 1 w 245"/>
                <a:gd name="T41" fmla="*/ 1 h 158"/>
                <a:gd name="T42" fmla="*/ 1 w 245"/>
                <a:gd name="T43" fmla="*/ 0 h 15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45"/>
                <a:gd name="T67" fmla="*/ 0 h 158"/>
                <a:gd name="T68" fmla="*/ 245 w 245"/>
                <a:gd name="T69" fmla="*/ 158 h 15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45" h="158">
                  <a:moveTo>
                    <a:pt x="2" y="0"/>
                  </a:moveTo>
                  <a:lnTo>
                    <a:pt x="0" y="23"/>
                  </a:lnTo>
                  <a:lnTo>
                    <a:pt x="19" y="49"/>
                  </a:lnTo>
                  <a:lnTo>
                    <a:pt x="45" y="45"/>
                  </a:lnTo>
                  <a:lnTo>
                    <a:pt x="61" y="61"/>
                  </a:lnTo>
                  <a:lnTo>
                    <a:pt x="64" y="139"/>
                  </a:lnTo>
                  <a:lnTo>
                    <a:pt x="146" y="158"/>
                  </a:lnTo>
                  <a:lnTo>
                    <a:pt x="172" y="158"/>
                  </a:lnTo>
                  <a:lnTo>
                    <a:pt x="189" y="139"/>
                  </a:lnTo>
                  <a:lnTo>
                    <a:pt x="210" y="153"/>
                  </a:lnTo>
                  <a:lnTo>
                    <a:pt x="236" y="144"/>
                  </a:lnTo>
                  <a:lnTo>
                    <a:pt x="245" y="99"/>
                  </a:lnTo>
                  <a:lnTo>
                    <a:pt x="219" y="82"/>
                  </a:lnTo>
                  <a:lnTo>
                    <a:pt x="170" y="78"/>
                  </a:lnTo>
                  <a:lnTo>
                    <a:pt x="141" y="92"/>
                  </a:lnTo>
                  <a:lnTo>
                    <a:pt x="113" y="85"/>
                  </a:lnTo>
                  <a:lnTo>
                    <a:pt x="92" y="66"/>
                  </a:lnTo>
                  <a:lnTo>
                    <a:pt x="99" y="56"/>
                  </a:lnTo>
                  <a:lnTo>
                    <a:pt x="75" y="26"/>
                  </a:lnTo>
                  <a:lnTo>
                    <a:pt x="49" y="26"/>
                  </a:lnTo>
                  <a:lnTo>
                    <a:pt x="28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94" name="Freeform 222"/>
            <p:cNvSpPr>
              <a:spLocks/>
            </p:cNvSpPr>
            <p:nvPr/>
          </p:nvSpPr>
          <p:spPr bwMode="auto">
            <a:xfrm>
              <a:off x="3025" y="2235"/>
              <a:ext cx="81" cy="135"/>
            </a:xfrm>
            <a:custGeom>
              <a:avLst/>
              <a:gdLst>
                <a:gd name="T0" fmla="*/ 0 w 137"/>
                <a:gd name="T1" fmla="*/ 1 h 260"/>
                <a:gd name="T2" fmla="*/ 1 w 137"/>
                <a:gd name="T3" fmla="*/ 2 h 260"/>
                <a:gd name="T4" fmla="*/ 1 w 137"/>
                <a:gd name="T5" fmla="*/ 2 h 260"/>
                <a:gd name="T6" fmla="*/ 1 w 137"/>
                <a:gd name="T7" fmla="*/ 3 h 260"/>
                <a:gd name="T8" fmla="*/ 1 w 137"/>
                <a:gd name="T9" fmla="*/ 3 h 260"/>
                <a:gd name="T10" fmla="*/ 2 w 137"/>
                <a:gd name="T11" fmla="*/ 3 h 260"/>
                <a:gd name="T12" fmla="*/ 3 w 137"/>
                <a:gd name="T13" fmla="*/ 2 h 260"/>
                <a:gd name="T14" fmla="*/ 4 w 137"/>
                <a:gd name="T15" fmla="*/ 2 h 260"/>
                <a:gd name="T16" fmla="*/ 4 w 137"/>
                <a:gd name="T17" fmla="*/ 2 h 260"/>
                <a:gd name="T18" fmla="*/ 3 w 137"/>
                <a:gd name="T19" fmla="*/ 2 h 260"/>
                <a:gd name="T20" fmla="*/ 3 w 137"/>
                <a:gd name="T21" fmla="*/ 1 h 260"/>
                <a:gd name="T22" fmla="*/ 2 w 137"/>
                <a:gd name="T23" fmla="*/ 1 h 260"/>
                <a:gd name="T24" fmla="*/ 2 w 137"/>
                <a:gd name="T25" fmla="*/ 1 h 260"/>
                <a:gd name="T26" fmla="*/ 1 w 137"/>
                <a:gd name="T27" fmla="*/ 1 h 260"/>
                <a:gd name="T28" fmla="*/ 1 w 137"/>
                <a:gd name="T29" fmla="*/ 0 h 260"/>
                <a:gd name="T30" fmla="*/ 1 w 137"/>
                <a:gd name="T31" fmla="*/ 0 h 260"/>
                <a:gd name="T32" fmla="*/ 1 w 137"/>
                <a:gd name="T33" fmla="*/ 1 h 260"/>
                <a:gd name="T34" fmla="*/ 0 w 137"/>
                <a:gd name="T35" fmla="*/ 1 h 260"/>
                <a:gd name="T36" fmla="*/ 0 w 137"/>
                <a:gd name="T37" fmla="*/ 1 h 26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37"/>
                <a:gd name="T58" fmla="*/ 0 h 260"/>
                <a:gd name="T59" fmla="*/ 137 w 137"/>
                <a:gd name="T60" fmla="*/ 260 h 26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37" h="260">
                  <a:moveTo>
                    <a:pt x="0" y="116"/>
                  </a:moveTo>
                  <a:lnTo>
                    <a:pt x="28" y="170"/>
                  </a:lnTo>
                  <a:lnTo>
                    <a:pt x="21" y="198"/>
                  </a:lnTo>
                  <a:lnTo>
                    <a:pt x="26" y="231"/>
                  </a:lnTo>
                  <a:lnTo>
                    <a:pt x="45" y="260"/>
                  </a:lnTo>
                  <a:lnTo>
                    <a:pt x="87" y="260"/>
                  </a:lnTo>
                  <a:lnTo>
                    <a:pt x="115" y="196"/>
                  </a:lnTo>
                  <a:lnTo>
                    <a:pt x="137" y="177"/>
                  </a:lnTo>
                  <a:lnTo>
                    <a:pt x="137" y="146"/>
                  </a:lnTo>
                  <a:lnTo>
                    <a:pt x="111" y="137"/>
                  </a:lnTo>
                  <a:lnTo>
                    <a:pt x="118" y="99"/>
                  </a:lnTo>
                  <a:lnTo>
                    <a:pt x="104" y="78"/>
                  </a:lnTo>
                  <a:lnTo>
                    <a:pt x="71" y="71"/>
                  </a:lnTo>
                  <a:lnTo>
                    <a:pt x="54" y="42"/>
                  </a:lnTo>
                  <a:lnTo>
                    <a:pt x="45" y="0"/>
                  </a:lnTo>
                  <a:lnTo>
                    <a:pt x="21" y="0"/>
                  </a:lnTo>
                  <a:lnTo>
                    <a:pt x="19" y="42"/>
                  </a:lnTo>
                  <a:lnTo>
                    <a:pt x="0" y="76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95" name="Freeform 223"/>
            <p:cNvSpPr>
              <a:spLocks/>
            </p:cNvSpPr>
            <p:nvPr/>
          </p:nvSpPr>
          <p:spPr bwMode="auto">
            <a:xfrm>
              <a:off x="3065" y="2130"/>
              <a:ext cx="259" cy="310"/>
            </a:xfrm>
            <a:custGeom>
              <a:avLst/>
              <a:gdLst>
                <a:gd name="T0" fmla="*/ 0 w 437"/>
                <a:gd name="T1" fmla="*/ 2 h 595"/>
                <a:gd name="T2" fmla="*/ 1 w 437"/>
                <a:gd name="T3" fmla="*/ 3 h 595"/>
                <a:gd name="T4" fmla="*/ 1 w 437"/>
                <a:gd name="T5" fmla="*/ 3 h 595"/>
                <a:gd name="T6" fmla="*/ 2 w 437"/>
                <a:gd name="T7" fmla="*/ 3 h 595"/>
                <a:gd name="T8" fmla="*/ 3 w 437"/>
                <a:gd name="T9" fmla="*/ 3 h 595"/>
                <a:gd name="T10" fmla="*/ 5 w 437"/>
                <a:gd name="T11" fmla="*/ 3 h 595"/>
                <a:gd name="T12" fmla="*/ 4 w 437"/>
                <a:gd name="T13" fmla="*/ 3 h 595"/>
                <a:gd name="T14" fmla="*/ 3 w 437"/>
                <a:gd name="T15" fmla="*/ 3 h 595"/>
                <a:gd name="T16" fmla="*/ 2 w 437"/>
                <a:gd name="T17" fmla="*/ 3 h 595"/>
                <a:gd name="T18" fmla="*/ 2 w 437"/>
                <a:gd name="T19" fmla="*/ 3 h 595"/>
                <a:gd name="T20" fmla="*/ 1 w 437"/>
                <a:gd name="T21" fmla="*/ 4 h 595"/>
                <a:gd name="T22" fmla="*/ 2 w 437"/>
                <a:gd name="T23" fmla="*/ 4 h 595"/>
                <a:gd name="T24" fmla="*/ 2 w 437"/>
                <a:gd name="T25" fmla="*/ 4 h 595"/>
                <a:gd name="T26" fmla="*/ 2 w 437"/>
                <a:gd name="T27" fmla="*/ 4 h 595"/>
                <a:gd name="T28" fmla="*/ 1 w 437"/>
                <a:gd name="T29" fmla="*/ 5 h 595"/>
                <a:gd name="T30" fmla="*/ 2 w 437"/>
                <a:gd name="T31" fmla="*/ 5 h 595"/>
                <a:gd name="T32" fmla="*/ 1 w 437"/>
                <a:gd name="T33" fmla="*/ 5 h 595"/>
                <a:gd name="T34" fmla="*/ 1 w 437"/>
                <a:gd name="T35" fmla="*/ 5 h 595"/>
                <a:gd name="T36" fmla="*/ 1 w 437"/>
                <a:gd name="T37" fmla="*/ 5 h 595"/>
                <a:gd name="T38" fmla="*/ 1 w 437"/>
                <a:gd name="T39" fmla="*/ 6 h 595"/>
                <a:gd name="T40" fmla="*/ 1 w 437"/>
                <a:gd name="T41" fmla="*/ 6 h 595"/>
                <a:gd name="T42" fmla="*/ 2 w 437"/>
                <a:gd name="T43" fmla="*/ 6 h 595"/>
                <a:gd name="T44" fmla="*/ 2 w 437"/>
                <a:gd name="T45" fmla="*/ 6 h 595"/>
                <a:gd name="T46" fmla="*/ 3 w 437"/>
                <a:gd name="T47" fmla="*/ 6 h 595"/>
                <a:gd name="T48" fmla="*/ 3 w 437"/>
                <a:gd name="T49" fmla="*/ 6 h 595"/>
                <a:gd name="T50" fmla="*/ 4 w 437"/>
                <a:gd name="T51" fmla="*/ 6 h 595"/>
                <a:gd name="T52" fmla="*/ 4 w 437"/>
                <a:gd name="T53" fmla="*/ 6 h 595"/>
                <a:gd name="T54" fmla="*/ 5 w 437"/>
                <a:gd name="T55" fmla="*/ 6 h 595"/>
                <a:gd name="T56" fmla="*/ 4 w 437"/>
                <a:gd name="T57" fmla="*/ 5 h 595"/>
                <a:gd name="T58" fmla="*/ 5 w 437"/>
                <a:gd name="T59" fmla="*/ 5 h 595"/>
                <a:gd name="T60" fmla="*/ 5 w 437"/>
                <a:gd name="T61" fmla="*/ 5 h 595"/>
                <a:gd name="T62" fmla="*/ 5 w 437"/>
                <a:gd name="T63" fmla="*/ 5 h 595"/>
                <a:gd name="T64" fmla="*/ 7 w 437"/>
                <a:gd name="T65" fmla="*/ 4 h 595"/>
                <a:gd name="T66" fmla="*/ 7 w 437"/>
                <a:gd name="T67" fmla="*/ 4 h 595"/>
                <a:gd name="T68" fmla="*/ 8 w 437"/>
                <a:gd name="T69" fmla="*/ 3 h 595"/>
                <a:gd name="T70" fmla="*/ 10 w 437"/>
                <a:gd name="T71" fmla="*/ 2 h 595"/>
                <a:gd name="T72" fmla="*/ 10 w 437"/>
                <a:gd name="T73" fmla="*/ 2 h 595"/>
                <a:gd name="T74" fmla="*/ 11 w 437"/>
                <a:gd name="T75" fmla="*/ 1 h 595"/>
                <a:gd name="T76" fmla="*/ 11 w 437"/>
                <a:gd name="T77" fmla="*/ 1 h 595"/>
                <a:gd name="T78" fmla="*/ 11 w 437"/>
                <a:gd name="T79" fmla="*/ 1 h 595"/>
                <a:gd name="T80" fmla="*/ 10 w 437"/>
                <a:gd name="T81" fmla="*/ 1 h 595"/>
                <a:gd name="T82" fmla="*/ 8 w 437"/>
                <a:gd name="T83" fmla="*/ 0 h 595"/>
                <a:gd name="T84" fmla="*/ 7 w 437"/>
                <a:gd name="T85" fmla="*/ 0 h 595"/>
                <a:gd name="T86" fmla="*/ 7 w 437"/>
                <a:gd name="T87" fmla="*/ 1 h 595"/>
                <a:gd name="T88" fmla="*/ 5 w 437"/>
                <a:gd name="T89" fmla="*/ 1 h 595"/>
                <a:gd name="T90" fmla="*/ 4 w 437"/>
                <a:gd name="T91" fmla="*/ 1 h 595"/>
                <a:gd name="T92" fmla="*/ 3 w 437"/>
                <a:gd name="T93" fmla="*/ 1 h 595"/>
                <a:gd name="T94" fmla="*/ 1 w 437"/>
                <a:gd name="T95" fmla="*/ 1 h 595"/>
                <a:gd name="T96" fmla="*/ 1 w 437"/>
                <a:gd name="T97" fmla="*/ 2 h 595"/>
                <a:gd name="T98" fmla="*/ 1 w 437"/>
                <a:gd name="T99" fmla="*/ 2 h 595"/>
                <a:gd name="T100" fmla="*/ 0 w 437"/>
                <a:gd name="T101" fmla="*/ 2 h 59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37"/>
                <a:gd name="T154" fmla="*/ 0 h 595"/>
                <a:gd name="T155" fmla="*/ 437 w 437"/>
                <a:gd name="T156" fmla="*/ 595 h 59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37" h="595">
                  <a:moveTo>
                    <a:pt x="0" y="177"/>
                  </a:moveTo>
                  <a:lnTo>
                    <a:pt x="7" y="225"/>
                  </a:lnTo>
                  <a:lnTo>
                    <a:pt x="33" y="258"/>
                  </a:lnTo>
                  <a:lnTo>
                    <a:pt x="73" y="258"/>
                  </a:lnTo>
                  <a:lnTo>
                    <a:pt x="104" y="243"/>
                  </a:lnTo>
                  <a:lnTo>
                    <a:pt x="191" y="234"/>
                  </a:lnTo>
                  <a:lnTo>
                    <a:pt x="163" y="260"/>
                  </a:lnTo>
                  <a:lnTo>
                    <a:pt x="118" y="274"/>
                  </a:lnTo>
                  <a:lnTo>
                    <a:pt x="102" y="293"/>
                  </a:lnTo>
                  <a:lnTo>
                    <a:pt x="69" y="279"/>
                  </a:lnTo>
                  <a:lnTo>
                    <a:pt x="57" y="326"/>
                  </a:lnTo>
                  <a:lnTo>
                    <a:pt x="78" y="340"/>
                  </a:lnTo>
                  <a:lnTo>
                    <a:pt x="88" y="409"/>
                  </a:lnTo>
                  <a:lnTo>
                    <a:pt x="66" y="416"/>
                  </a:lnTo>
                  <a:lnTo>
                    <a:pt x="43" y="461"/>
                  </a:lnTo>
                  <a:lnTo>
                    <a:pt x="73" y="477"/>
                  </a:lnTo>
                  <a:lnTo>
                    <a:pt x="36" y="484"/>
                  </a:lnTo>
                  <a:lnTo>
                    <a:pt x="36" y="513"/>
                  </a:lnTo>
                  <a:lnTo>
                    <a:pt x="52" y="525"/>
                  </a:lnTo>
                  <a:lnTo>
                    <a:pt x="14" y="553"/>
                  </a:lnTo>
                  <a:lnTo>
                    <a:pt x="14" y="579"/>
                  </a:lnTo>
                  <a:lnTo>
                    <a:pt x="78" y="588"/>
                  </a:lnTo>
                  <a:lnTo>
                    <a:pt x="97" y="579"/>
                  </a:lnTo>
                  <a:lnTo>
                    <a:pt x="116" y="584"/>
                  </a:lnTo>
                  <a:lnTo>
                    <a:pt x="132" y="574"/>
                  </a:lnTo>
                  <a:lnTo>
                    <a:pt x="142" y="595"/>
                  </a:lnTo>
                  <a:lnTo>
                    <a:pt x="170" y="579"/>
                  </a:lnTo>
                  <a:lnTo>
                    <a:pt x="189" y="553"/>
                  </a:lnTo>
                  <a:lnTo>
                    <a:pt x="168" y="525"/>
                  </a:lnTo>
                  <a:lnTo>
                    <a:pt x="191" y="501"/>
                  </a:lnTo>
                  <a:lnTo>
                    <a:pt x="187" y="477"/>
                  </a:lnTo>
                  <a:lnTo>
                    <a:pt x="217" y="473"/>
                  </a:lnTo>
                  <a:lnTo>
                    <a:pt x="246" y="357"/>
                  </a:lnTo>
                  <a:lnTo>
                    <a:pt x="284" y="340"/>
                  </a:lnTo>
                  <a:lnTo>
                    <a:pt x="321" y="265"/>
                  </a:lnTo>
                  <a:lnTo>
                    <a:pt x="390" y="184"/>
                  </a:lnTo>
                  <a:lnTo>
                    <a:pt x="390" y="158"/>
                  </a:lnTo>
                  <a:lnTo>
                    <a:pt x="437" y="102"/>
                  </a:lnTo>
                  <a:lnTo>
                    <a:pt x="437" y="78"/>
                  </a:lnTo>
                  <a:lnTo>
                    <a:pt x="411" y="64"/>
                  </a:lnTo>
                  <a:lnTo>
                    <a:pt x="388" y="33"/>
                  </a:lnTo>
                  <a:lnTo>
                    <a:pt x="310" y="0"/>
                  </a:lnTo>
                  <a:lnTo>
                    <a:pt x="267" y="0"/>
                  </a:lnTo>
                  <a:lnTo>
                    <a:pt x="239" y="12"/>
                  </a:lnTo>
                  <a:lnTo>
                    <a:pt x="203" y="5"/>
                  </a:lnTo>
                  <a:lnTo>
                    <a:pt x="144" y="19"/>
                  </a:lnTo>
                  <a:lnTo>
                    <a:pt x="118" y="59"/>
                  </a:lnTo>
                  <a:lnTo>
                    <a:pt x="57" y="109"/>
                  </a:lnTo>
                  <a:lnTo>
                    <a:pt x="57" y="132"/>
                  </a:lnTo>
                  <a:lnTo>
                    <a:pt x="21" y="132"/>
                  </a:lnTo>
                  <a:lnTo>
                    <a:pt x="0" y="177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96" name="Freeform 224"/>
            <p:cNvSpPr>
              <a:spLocks/>
            </p:cNvSpPr>
            <p:nvPr/>
          </p:nvSpPr>
          <p:spPr bwMode="auto">
            <a:xfrm>
              <a:off x="2985" y="2286"/>
              <a:ext cx="16" cy="20"/>
            </a:xfrm>
            <a:custGeom>
              <a:avLst/>
              <a:gdLst>
                <a:gd name="T0" fmla="*/ 0 w 26"/>
                <a:gd name="T1" fmla="*/ 1 h 38"/>
                <a:gd name="T2" fmla="*/ 1 w 26"/>
                <a:gd name="T3" fmla="*/ 1 h 38"/>
                <a:gd name="T4" fmla="*/ 1 w 26"/>
                <a:gd name="T5" fmla="*/ 0 h 38"/>
                <a:gd name="T6" fmla="*/ 0 w 26"/>
                <a:gd name="T7" fmla="*/ 1 h 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"/>
                <a:gd name="T13" fmla="*/ 0 h 38"/>
                <a:gd name="T14" fmla="*/ 26 w 26"/>
                <a:gd name="T15" fmla="*/ 38 h 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" h="38">
                  <a:moveTo>
                    <a:pt x="0" y="24"/>
                  </a:moveTo>
                  <a:lnTo>
                    <a:pt x="26" y="38"/>
                  </a:lnTo>
                  <a:lnTo>
                    <a:pt x="10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97" name="Freeform 225"/>
            <p:cNvSpPr>
              <a:spLocks/>
            </p:cNvSpPr>
            <p:nvPr/>
          </p:nvSpPr>
          <p:spPr bwMode="auto">
            <a:xfrm>
              <a:off x="2926" y="2321"/>
              <a:ext cx="96" cy="64"/>
            </a:xfrm>
            <a:custGeom>
              <a:avLst/>
              <a:gdLst>
                <a:gd name="T0" fmla="*/ 0 w 163"/>
                <a:gd name="T1" fmla="*/ 1 h 123"/>
                <a:gd name="T2" fmla="*/ 1 w 163"/>
                <a:gd name="T3" fmla="*/ 1 h 123"/>
                <a:gd name="T4" fmla="*/ 1 w 163"/>
                <a:gd name="T5" fmla="*/ 1 h 123"/>
                <a:gd name="T6" fmla="*/ 1 w 163"/>
                <a:gd name="T7" fmla="*/ 1 h 123"/>
                <a:gd name="T8" fmla="*/ 1 w 163"/>
                <a:gd name="T9" fmla="*/ 1 h 123"/>
                <a:gd name="T10" fmla="*/ 2 w 163"/>
                <a:gd name="T11" fmla="*/ 1 h 123"/>
                <a:gd name="T12" fmla="*/ 2 w 163"/>
                <a:gd name="T13" fmla="*/ 2 h 123"/>
                <a:gd name="T14" fmla="*/ 3 w 163"/>
                <a:gd name="T15" fmla="*/ 1 h 123"/>
                <a:gd name="T16" fmla="*/ 4 w 163"/>
                <a:gd name="T17" fmla="*/ 1 h 123"/>
                <a:gd name="T18" fmla="*/ 4 w 163"/>
                <a:gd name="T19" fmla="*/ 1 h 123"/>
                <a:gd name="T20" fmla="*/ 4 w 163"/>
                <a:gd name="T21" fmla="*/ 1 h 123"/>
                <a:gd name="T22" fmla="*/ 3 w 163"/>
                <a:gd name="T23" fmla="*/ 1 h 123"/>
                <a:gd name="T24" fmla="*/ 3 w 163"/>
                <a:gd name="T25" fmla="*/ 1 h 123"/>
                <a:gd name="T26" fmla="*/ 2 w 163"/>
                <a:gd name="T27" fmla="*/ 1 h 123"/>
                <a:gd name="T28" fmla="*/ 2 w 163"/>
                <a:gd name="T29" fmla="*/ 1 h 123"/>
                <a:gd name="T30" fmla="*/ 2 w 163"/>
                <a:gd name="T31" fmla="*/ 1 h 123"/>
                <a:gd name="T32" fmla="*/ 1 w 163"/>
                <a:gd name="T33" fmla="*/ 0 h 123"/>
                <a:gd name="T34" fmla="*/ 0 w 163"/>
                <a:gd name="T35" fmla="*/ 1 h 12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63"/>
                <a:gd name="T55" fmla="*/ 0 h 123"/>
                <a:gd name="T56" fmla="*/ 163 w 163"/>
                <a:gd name="T57" fmla="*/ 123 h 12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63" h="123">
                  <a:moveTo>
                    <a:pt x="0" y="17"/>
                  </a:moveTo>
                  <a:lnTo>
                    <a:pt x="5" y="31"/>
                  </a:lnTo>
                  <a:lnTo>
                    <a:pt x="31" y="45"/>
                  </a:lnTo>
                  <a:lnTo>
                    <a:pt x="19" y="66"/>
                  </a:lnTo>
                  <a:lnTo>
                    <a:pt x="31" y="85"/>
                  </a:lnTo>
                  <a:lnTo>
                    <a:pt x="80" y="95"/>
                  </a:lnTo>
                  <a:lnTo>
                    <a:pt x="94" y="123"/>
                  </a:lnTo>
                  <a:lnTo>
                    <a:pt x="111" y="111"/>
                  </a:lnTo>
                  <a:lnTo>
                    <a:pt x="156" y="107"/>
                  </a:lnTo>
                  <a:lnTo>
                    <a:pt x="163" y="85"/>
                  </a:lnTo>
                  <a:lnTo>
                    <a:pt x="156" y="66"/>
                  </a:lnTo>
                  <a:lnTo>
                    <a:pt x="123" y="38"/>
                  </a:lnTo>
                  <a:lnTo>
                    <a:pt x="116" y="99"/>
                  </a:lnTo>
                  <a:lnTo>
                    <a:pt x="99" y="97"/>
                  </a:lnTo>
                  <a:lnTo>
                    <a:pt x="94" y="40"/>
                  </a:lnTo>
                  <a:lnTo>
                    <a:pt x="73" y="17"/>
                  </a:lnTo>
                  <a:lnTo>
                    <a:pt x="9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98" name="Freeform 226"/>
            <p:cNvSpPr>
              <a:spLocks/>
            </p:cNvSpPr>
            <p:nvPr/>
          </p:nvSpPr>
          <p:spPr bwMode="auto">
            <a:xfrm>
              <a:off x="3008" y="2382"/>
              <a:ext cx="41" cy="17"/>
            </a:xfrm>
            <a:custGeom>
              <a:avLst/>
              <a:gdLst>
                <a:gd name="T0" fmla="*/ 0 w 69"/>
                <a:gd name="T1" fmla="*/ 1 h 33"/>
                <a:gd name="T2" fmla="*/ 1 w 69"/>
                <a:gd name="T3" fmla="*/ 1 h 33"/>
                <a:gd name="T4" fmla="*/ 2 w 69"/>
                <a:gd name="T5" fmla="*/ 1 h 33"/>
                <a:gd name="T6" fmla="*/ 2 w 69"/>
                <a:gd name="T7" fmla="*/ 1 h 33"/>
                <a:gd name="T8" fmla="*/ 1 w 69"/>
                <a:gd name="T9" fmla="*/ 0 h 33"/>
                <a:gd name="T10" fmla="*/ 0 w 69"/>
                <a:gd name="T11" fmla="*/ 1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9"/>
                <a:gd name="T19" fmla="*/ 0 h 33"/>
                <a:gd name="T20" fmla="*/ 69 w 69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9" h="33">
                  <a:moveTo>
                    <a:pt x="0" y="12"/>
                  </a:moveTo>
                  <a:lnTo>
                    <a:pt x="57" y="33"/>
                  </a:lnTo>
                  <a:lnTo>
                    <a:pt x="69" y="19"/>
                  </a:lnTo>
                  <a:lnTo>
                    <a:pt x="66" y="3"/>
                  </a:lnTo>
                  <a:lnTo>
                    <a:pt x="29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99" name="Freeform 227"/>
            <p:cNvSpPr>
              <a:spLocks/>
            </p:cNvSpPr>
            <p:nvPr/>
          </p:nvSpPr>
          <p:spPr bwMode="auto">
            <a:xfrm>
              <a:off x="2931" y="2385"/>
              <a:ext cx="15" cy="24"/>
            </a:xfrm>
            <a:custGeom>
              <a:avLst/>
              <a:gdLst>
                <a:gd name="T0" fmla="*/ 0 w 26"/>
                <a:gd name="T1" fmla="*/ 1 h 47"/>
                <a:gd name="T2" fmla="*/ 1 w 26"/>
                <a:gd name="T3" fmla="*/ 1 h 47"/>
                <a:gd name="T4" fmla="*/ 1 w 26"/>
                <a:gd name="T5" fmla="*/ 1 h 47"/>
                <a:gd name="T6" fmla="*/ 1 w 26"/>
                <a:gd name="T7" fmla="*/ 0 h 47"/>
                <a:gd name="T8" fmla="*/ 0 w 26"/>
                <a:gd name="T9" fmla="*/ 1 h 4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47"/>
                <a:gd name="T17" fmla="*/ 26 w 26"/>
                <a:gd name="T18" fmla="*/ 47 h 4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47">
                  <a:moveTo>
                    <a:pt x="0" y="7"/>
                  </a:moveTo>
                  <a:lnTo>
                    <a:pt x="5" y="40"/>
                  </a:lnTo>
                  <a:lnTo>
                    <a:pt x="26" y="47"/>
                  </a:lnTo>
                  <a:lnTo>
                    <a:pt x="15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00" name="Freeform 228"/>
            <p:cNvSpPr>
              <a:spLocks/>
            </p:cNvSpPr>
            <p:nvPr/>
          </p:nvSpPr>
          <p:spPr bwMode="auto">
            <a:xfrm>
              <a:off x="2937" y="2422"/>
              <a:ext cx="63" cy="53"/>
            </a:xfrm>
            <a:custGeom>
              <a:avLst/>
              <a:gdLst>
                <a:gd name="T0" fmla="*/ 0 w 106"/>
                <a:gd name="T1" fmla="*/ 1 h 102"/>
                <a:gd name="T2" fmla="*/ 1 w 106"/>
                <a:gd name="T3" fmla="*/ 1 h 102"/>
                <a:gd name="T4" fmla="*/ 1 w 106"/>
                <a:gd name="T5" fmla="*/ 1 h 102"/>
                <a:gd name="T6" fmla="*/ 2 w 106"/>
                <a:gd name="T7" fmla="*/ 1 h 102"/>
                <a:gd name="T8" fmla="*/ 2 w 106"/>
                <a:gd name="T9" fmla="*/ 1 h 102"/>
                <a:gd name="T10" fmla="*/ 3 w 106"/>
                <a:gd name="T11" fmla="*/ 1 h 102"/>
                <a:gd name="T12" fmla="*/ 3 w 106"/>
                <a:gd name="T13" fmla="*/ 1 h 102"/>
                <a:gd name="T14" fmla="*/ 2 w 106"/>
                <a:gd name="T15" fmla="*/ 1 h 102"/>
                <a:gd name="T16" fmla="*/ 1 w 106"/>
                <a:gd name="T17" fmla="*/ 0 h 102"/>
                <a:gd name="T18" fmla="*/ 1 w 106"/>
                <a:gd name="T19" fmla="*/ 1 h 102"/>
                <a:gd name="T20" fmla="*/ 1 w 106"/>
                <a:gd name="T21" fmla="*/ 1 h 102"/>
                <a:gd name="T22" fmla="*/ 0 w 106"/>
                <a:gd name="T23" fmla="*/ 1 h 10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6"/>
                <a:gd name="T37" fmla="*/ 0 h 102"/>
                <a:gd name="T38" fmla="*/ 106 w 106"/>
                <a:gd name="T39" fmla="*/ 102 h 10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6" h="102">
                  <a:moveTo>
                    <a:pt x="0" y="9"/>
                  </a:moveTo>
                  <a:lnTo>
                    <a:pt x="31" y="80"/>
                  </a:lnTo>
                  <a:lnTo>
                    <a:pt x="52" y="66"/>
                  </a:lnTo>
                  <a:lnTo>
                    <a:pt x="66" y="102"/>
                  </a:lnTo>
                  <a:lnTo>
                    <a:pt x="99" y="102"/>
                  </a:lnTo>
                  <a:lnTo>
                    <a:pt x="106" y="71"/>
                  </a:lnTo>
                  <a:lnTo>
                    <a:pt x="104" y="21"/>
                  </a:lnTo>
                  <a:lnTo>
                    <a:pt x="82" y="2"/>
                  </a:lnTo>
                  <a:lnTo>
                    <a:pt x="57" y="0"/>
                  </a:lnTo>
                  <a:lnTo>
                    <a:pt x="45" y="45"/>
                  </a:lnTo>
                  <a:lnTo>
                    <a:pt x="16" y="5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01" name="Freeform 229"/>
            <p:cNvSpPr>
              <a:spLocks/>
            </p:cNvSpPr>
            <p:nvPr/>
          </p:nvSpPr>
          <p:spPr bwMode="auto">
            <a:xfrm>
              <a:off x="2940" y="2462"/>
              <a:ext cx="9" cy="10"/>
            </a:xfrm>
            <a:custGeom>
              <a:avLst/>
              <a:gdLst>
                <a:gd name="T0" fmla="*/ 0 w 16"/>
                <a:gd name="T1" fmla="*/ 1 h 19"/>
                <a:gd name="T2" fmla="*/ 1 w 16"/>
                <a:gd name="T3" fmla="*/ 1 h 19"/>
                <a:gd name="T4" fmla="*/ 1 w 16"/>
                <a:gd name="T5" fmla="*/ 0 h 19"/>
                <a:gd name="T6" fmla="*/ 0 w 16"/>
                <a:gd name="T7" fmla="*/ 1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19"/>
                <a:gd name="T14" fmla="*/ 16 w 16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19">
                  <a:moveTo>
                    <a:pt x="0" y="19"/>
                  </a:moveTo>
                  <a:lnTo>
                    <a:pt x="16" y="19"/>
                  </a:lnTo>
                  <a:lnTo>
                    <a:pt x="7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02" name="Freeform 230"/>
            <p:cNvSpPr>
              <a:spLocks/>
            </p:cNvSpPr>
            <p:nvPr/>
          </p:nvSpPr>
          <p:spPr bwMode="auto">
            <a:xfrm>
              <a:off x="2860" y="2354"/>
              <a:ext cx="42" cy="15"/>
            </a:xfrm>
            <a:custGeom>
              <a:avLst/>
              <a:gdLst>
                <a:gd name="T0" fmla="*/ 0 w 71"/>
                <a:gd name="T1" fmla="*/ 1 h 28"/>
                <a:gd name="T2" fmla="*/ 1 w 71"/>
                <a:gd name="T3" fmla="*/ 1 h 28"/>
                <a:gd name="T4" fmla="*/ 2 w 71"/>
                <a:gd name="T5" fmla="*/ 1 h 28"/>
                <a:gd name="T6" fmla="*/ 1 w 71"/>
                <a:gd name="T7" fmla="*/ 0 h 28"/>
                <a:gd name="T8" fmla="*/ 1 w 71"/>
                <a:gd name="T9" fmla="*/ 1 h 28"/>
                <a:gd name="T10" fmla="*/ 0 w 71"/>
                <a:gd name="T11" fmla="*/ 1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1"/>
                <a:gd name="T19" fmla="*/ 0 h 28"/>
                <a:gd name="T20" fmla="*/ 71 w 71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1" h="28">
                  <a:moveTo>
                    <a:pt x="0" y="24"/>
                  </a:moveTo>
                  <a:lnTo>
                    <a:pt x="61" y="28"/>
                  </a:lnTo>
                  <a:lnTo>
                    <a:pt x="71" y="14"/>
                  </a:lnTo>
                  <a:lnTo>
                    <a:pt x="45" y="0"/>
                  </a:lnTo>
                  <a:lnTo>
                    <a:pt x="12" y="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03" name="Freeform 231"/>
            <p:cNvSpPr>
              <a:spLocks/>
            </p:cNvSpPr>
            <p:nvPr/>
          </p:nvSpPr>
          <p:spPr bwMode="auto">
            <a:xfrm>
              <a:off x="2844" y="2372"/>
              <a:ext cx="13" cy="16"/>
            </a:xfrm>
            <a:custGeom>
              <a:avLst/>
              <a:gdLst>
                <a:gd name="T0" fmla="*/ 0 w 21"/>
                <a:gd name="T1" fmla="*/ 1 h 29"/>
                <a:gd name="T2" fmla="*/ 1 w 21"/>
                <a:gd name="T3" fmla="*/ 1 h 29"/>
                <a:gd name="T4" fmla="*/ 1 w 21"/>
                <a:gd name="T5" fmla="*/ 1 h 29"/>
                <a:gd name="T6" fmla="*/ 1 w 21"/>
                <a:gd name="T7" fmla="*/ 0 h 29"/>
                <a:gd name="T8" fmla="*/ 0 w 21"/>
                <a:gd name="T9" fmla="*/ 1 h 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29"/>
                <a:gd name="T17" fmla="*/ 21 w 21"/>
                <a:gd name="T18" fmla="*/ 29 h 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29">
                  <a:moveTo>
                    <a:pt x="0" y="12"/>
                  </a:moveTo>
                  <a:lnTo>
                    <a:pt x="9" y="29"/>
                  </a:lnTo>
                  <a:lnTo>
                    <a:pt x="21" y="24"/>
                  </a:lnTo>
                  <a:lnTo>
                    <a:pt x="19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04" name="Freeform 232"/>
            <p:cNvSpPr>
              <a:spLocks/>
            </p:cNvSpPr>
            <p:nvPr/>
          </p:nvSpPr>
          <p:spPr bwMode="auto">
            <a:xfrm>
              <a:off x="2861" y="2375"/>
              <a:ext cx="33" cy="26"/>
            </a:xfrm>
            <a:custGeom>
              <a:avLst/>
              <a:gdLst>
                <a:gd name="T0" fmla="*/ 0 w 55"/>
                <a:gd name="T1" fmla="*/ 1 h 50"/>
                <a:gd name="T2" fmla="*/ 1 w 55"/>
                <a:gd name="T3" fmla="*/ 1 h 50"/>
                <a:gd name="T4" fmla="*/ 1 w 55"/>
                <a:gd name="T5" fmla="*/ 1 h 50"/>
                <a:gd name="T6" fmla="*/ 1 w 55"/>
                <a:gd name="T7" fmla="*/ 1 h 50"/>
                <a:gd name="T8" fmla="*/ 1 w 55"/>
                <a:gd name="T9" fmla="*/ 0 h 50"/>
                <a:gd name="T10" fmla="*/ 0 w 55"/>
                <a:gd name="T11" fmla="*/ 1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5"/>
                <a:gd name="T19" fmla="*/ 0 h 50"/>
                <a:gd name="T20" fmla="*/ 55 w 55"/>
                <a:gd name="T21" fmla="*/ 50 h 5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5" h="50">
                  <a:moveTo>
                    <a:pt x="0" y="19"/>
                  </a:moveTo>
                  <a:lnTo>
                    <a:pt x="5" y="43"/>
                  </a:lnTo>
                  <a:lnTo>
                    <a:pt x="29" y="50"/>
                  </a:lnTo>
                  <a:lnTo>
                    <a:pt x="52" y="31"/>
                  </a:lnTo>
                  <a:lnTo>
                    <a:pt x="55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05" name="Freeform 233"/>
            <p:cNvSpPr>
              <a:spLocks/>
            </p:cNvSpPr>
            <p:nvPr/>
          </p:nvSpPr>
          <p:spPr bwMode="auto">
            <a:xfrm>
              <a:off x="2809" y="2441"/>
              <a:ext cx="16" cy="21"/>
            </a:xfrm>
            <a:custGeom>
              <a:avLst/>
              <a:gdLst>
                <a:gd name="T0" fmla="*/ 0 w 26"/>
                <a:gd name="T1" fmla="*/ 1 h 38"/>
                <a:gd name="T2" fmla="*/ 1 w 26"/>
                <a:gd name="T3" fmla="*/ 1 h 38"/>
                <a:gd name="T4" fmla="*/ 1 w 26"/>
                <a:gd name="T5" fmla="*/ 0 h 38"/>
                <a:gd name="T6" fmla="*/ 0 w 26"/>
                <a:gd name="T7" fmla="*/ 1 h 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"/>
                <a:gd name="T13" fmla="*/ 0 h 38"/>
                <a:gd name="T14" fmla="*/ 26 w 26"/>
                <a:gd name="T15" fmla="*/ 38 h 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" h="38">
                  <a:moveTo>
                    <a:pt x="0" y="33"/>
                  </a:moveTo>
                  <a:lnTo>
                    <a:pt x="14" y="38"/>
                  </a:lnTo>
                  <a:lnTo>
                    <a:pt x="26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06" name="Freeform 234"/>
            <p:cNvSpPr>
              <a:spLocks/>
            </p:cNvSpPr>
            <p:nvPr/>
          </p:nvSpPr>
          <p:spPr bwMode="auto">
            <a:xfrm>
              <a:off x="2767" y="2391"/>
              <a:ext cx="77" cy="59"/>
            </a:xfrm>
            <a:custGeom>
              <a:avLst/>
              <a:gdLst>
                <a:gd name="T0" fmla="*/ 0 w 130"/>
                <a:gd name="T1" fmla="*/ 1 h 113"/>
                <a:gd name="T2" fmla="*/ 1 w 130"/>
                <a:gd name="T3" fmla="*/ 1 h 113"/>
                <a:gd name="T4" fmla="*/ 1 w 130"/>
                <a:gd name="T5" fmla="*/ 1 h 113"/>
                <a:gd name="T6" fmla="*/ 2 w 130"/>
                <a:gd name="T7" fmla="*/ 1 h 113"/>
                <a:gd name="T8" fmla="*/ 2 w 130"/>
                <a:gd name="T9" fmla="*/ 1 h 113"/>
                <a:gd name="T10" fmla="*/ 3 w 130"/>
                <a:gd name="T11" fmla="*/ 1 h 113"/>
                <a:gd name="T12" fmla="*/ 3 w 130"/>
                <a:gd name="T13" fmla="*/ 1 h 113"/>
                <a:gd name="T14" fmla="*/ 3 w 130"/>
                <a:gd name="T15" fmla="*/ 1 h 113"/>
                <a:gd name="T16" fmla="*/ 3 w 130"/>
                <a:gd name="T17" fmla="*/ 0 h 113"/>
                <a:gd name="T18" fmla="*/ 2 w 130"/>
                <a:gd name="T19" fmla="*/ 1 h 113"/>
                <a:gd name="T20" fmla="*/ 2 w 130"/>
                <a:gd name="T21" fmla="*/ 1 h 113"/>
                <a:gd name="T22" fmla="*/ 0 w 130"/>
                <a:gd name="T23" fmla="*/ 1 h 11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0"/>
                <a:gd name="T37" fmla="*/ 0 h 113"/>
                <a:gd name="T38" fmla="*/ 130 w 130"/>
                <a:gd name="T39" fmla="*/ 113 h 11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0" h="113">
                  <a:moveTo>
                    <a:pt x="0" y="87"/>
                  </a:moveTo>
                  <a:lnTo>
                    <a:pt x="17" y="113"/>
                  </a:lnTo>
                  <a:lnTo>
                    <a:pt x="54" y="113"/>
                  </a:lnTo>
                  <a:lnTo>
                    <a:pt x="78" y="73"/>
                  </a:lnTo>
                  <a:lnTo>
                    <a:pt x="99" y="85"/>
                  </a:lnTo>
                  <a:lnTo>
                    <a:pt x="120" y="59"/>
                  </a:lnTo>
                  <a:lnTo>
                    <a:pt x="113" y="35"/>
                  </a:lnTo>
                  <a:lnTo>
                    <a:pt x="130" y="19"/>
                  </a:lnTo>
                  <a:lnTo>
                    <a:pt x="111" y="0"/>
                  </a:lnTo>
                  <a:lnTo>
                    <a:pt x="97" y="21"/>
                  </a:lnTo>
                  <a:lnTo>
                    <a:pt x="73" y="19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07" name="Freeform 235"/>
            <p:cNvSpPr>
              <a:spLocks/>
            </p:cNvSpPr>
            <p:nvPr/>
          </p:nvSpPr>
          <p:spPr bwMode="auto">
            <a:xfrm>
              <a:off x="2825" y="2419"/>
              <a:ext cx="106" cy="74"/>
            </a:xfrm>
            <a:custGeom>
              <a:avLst/>
              <a:gdLst>
                <a:gd name="T0" fmla="*/ 0 w 179"/>
                <a:gd name="T1" fmla="*/ 1 h 142"/>
                <a:gd name="T2" fmla="*/ 1 w 179"/>
                <a:gd name="T3" fmla="*/ 1 h 142"/>
                <a:gd name="T4" fmla="*/ 1 w 179"/>
                <a:gd name="T5" fmla="*/ 1 h 142"/>
                <a:gd name="T6" fmla="*/ 2 w 179"/>
                <a:gd name="T7" fmla="*/ 1 h 142"/>
                <a:gd name="T8" fmla="*/ 1 w 179"/>
                <a:gd name="T9" fmla="*/ 2 h 142"/>
                <a:gd name="T10" fmla="*/ 1 w 179"/>
                <a:gd name="T11" fmla="*/ 2 h 142"/>
                <a:gd name="T12" fmla="*/ 2 w 179"/>
                <a:gd name="T13" fmla="*/ 2 h 142"/>
                <a:gd name="T14" fmla="*/ 3 w 179"/>
                <a:gd name="T15" fmla="*/ 1 h 142"/>
                <a:gd name="T16" fmla="*/ 4 w 179"/>
                <a:gd name="T17" fmla="*/ 1 h 142"/>
                <a:gd name="T18" fmla="*/ 5 w 179"/>
                <a:gd name="T19" fmla="*/ 1 h 142"/>
                <a:gd name="T20" fmla="*/ 4 w 179"/>
                <a:gd name="T21" fmla="*/ 1 h 142"/>
                <a:gd name="T22" fmla="*/ 3 w 179"/>
                <a:gd name="T23" fmla="*/ 0 h 142"/>
                <a:gd name="T24" fmla="*/ 3 w 179"/>
                <a:gd name="T25" fmla="*/ 1 h 142"/>
                <a:gd name="T26" fmla="*/ 3 w 179"/>
                <a:gd name="T27" fmla="*/ 1 h 142"/>
                <a:gd name="T28" fmla="*/ 3 w 179"/>
                <a:gd name="T29" fmla="*/ 1 h 142"/>
                <a:gd name="T30" fmla="*/ 3 w 179"/>
                <a:gd name="T31" fmla="*/ 1 h 142"/>
                <a:gd name="T32" fmla="*/ 2 w 179"/>
                <a:gd name="T33" fmla="*/ 1 h 142"/>
                <a:gd name="T34" fmla="*/ 2 w 179"/>
                <a:gd name="T35" fmla="*/ 1 h 142"/>
                <a:gd name="T36" fmla="*/ 1 w 179"/>
                <a:gd name="T37" fmla="*/ 1 h 142"/>
                <a:gd name="T38" fmla="*/ 0 w 179"/>
                <a:gd name="T39" fmla="*/ 1 h 14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79"/>
                <a:gd name="T61" fmla="*/ 0 h 142"/>
                <a:gd name="T62" fmla="*/ 179 w 179"/>
                <a:gd name="T63" fmla="*/ 142 h 14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79" h="142">
                  <a:moveTo>
                    <a:pt x="0" y="95"/>
                  </a:moveTo>
                  <a:lnTo>
                    <a:pt x="38" y="111"/>
                  </a:lnTo>
                  <a:lnTo>
                    <a:pt x="52" y="95"/>
                  </a:lnTo>
                  <a:lnTo>
                    <a:pt x="66" y="114"/>
                  </a:lnTo>
                  <a:lnTo>
                    <a:pt x="47" y="125"/>
                  </a:lnTo>
                  <a:lnTo>
                    <a:pt x="54" y="137"/>
                  </a:lnTo>
                  <a:lnTo>
                    <a:pt x="73" y="142"/>
                  </a:lnTo>
                  <a:lnTo>
                    <a:pt x="123" y="109"/>
                  </a:lnTo>
                  <a:lnTo>
                    <a:pt x="172" y="107"/>
                  </a:lnTo>
                  <a:lnTo>
                    <a:pt x="179" y="59"/>
                  </a:lnTo>
                  <a:lnTo>
                    <a:pt x="137" y="29"/>
                  </a:lnTo>
                  <a:lnTo>
                    <a:pt x="127" y="0"/>
                  </a:lnTo>
                  <a:lnTo>
                    <a:pt x="104" y="33"/>
                  </a:lnTo>
                  <a:lnTo>
                    <a:pt x="118" y="43"/>
                  </a:lnTo>
                  <a:lnTo>
                    <a:pt x="113" y="59"/>
                  </a:lnTo>
                  <a:lnTo>
                    <a:pt x="123" y="81"/>
                  </a:lnTo>
                  <a:lnTo>
                    <a:pt x="94" y="76"/>
                  </a:lnTo>
                  <a:lnTo>
                    <a:pt x="73" y="40"/>
                  </a:lnTo>
                  <a:lnTo>
                    <a:pt x="28" y="21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08" name="Freeform 236"/>
            <p:cNvSpPr>
              <a:spLocks/>
            </p:cNvSpPr>
            <p:nvPr/>
          </p:nvSpPr>
          <p:spPr bwMode="auto">
            <a:xfrm>
              <a:off x="2955" y="2501"/>
              <a:ext cx="59" cy="73"/>
            </a:xfrm>
            <a:custGeom>
              <a:avLst/>
              <a:gdLst>
                <a:gd name="T0" fmla="*/ 0 w 99"/>
                <a:gd name="T1" fmla="*/ 1 h 140"/>
                <a:gd name="T2" fmla="*/ 1 w 99"/>
                <a:gd name="T3" fmla="*/ 1 h 140"/>
                <a:gd name="T4" fmla="*/ 1 w 99"/>
                <a:gd name="T5" fmla="*/ 1 h 140"/>
                <a:gd name="T6" fmla="*/ 2 w 99"/>
                <a:gd name="T7" fmla="*/ 2 h 140"/>
                <a:gd name="T8" fmla="*/ 2 w 99"/>
                <a:gd name="T9" fmla="*/ 2 h 140"/>
                <a:gd name="T10" fmla="*/ 2 w 99"/>
                <a:gd name="T11" fmla="*/ 2 h 140"/>
                <a:gd name="T12" fmla="*/ 3 w 99"/>
                <a:gd name="T13" fmla="*/ 1 h 140"/>
                <a:gd name="T14" fmla="*/ 2 w 99"/>
                <a:gd name="T15" fmla="*/ 1 h 140"/>
                <a:gd name="T16" fmla="*/ 2 w 99"/>
                <a:gd name="T17" fmla="*/ 1 h 140"/>
                <a:gd name="T18" fmla="*/ 2 w 99"/>
                <a:gd name="T19" fmla="*/ 1 h 140"/>
                <a:gd name="T20" fmla="*/ 2 w 99"/>
                <a:gd name="T21" fmla="*/ 0 h 140"/>
                <a:gd name="T22" fmla="*/ 2 w 99"/>
                <a:gd name="T23" fmla="*/ 1 h 140"/>
                <a:gd name="T24" fmla="*/ 1 w 99"/>
                <a:gd name="T25" fmla="*/ 1 h 140"/>
                <a:gd name="T26" fmla="*/ 1 w 99"/>
                <a:gd name="T27" fmla="*/ 1 h 140"/>
                <a:gd name="T28" fmla="*/ 1 w 99"/>
                <a:gd name="T29" fmla="*/ 1 h 140"/>
                <a:gd name="T30" fmla="*/ 1 w 99"/>
                <a:gd name="T31" fmla="*/ 1 h 140"/>
                <a:gd name="T32" fmla="*/ 1 w 99"/>
                <a:gd name="T33" fmla="*/ 1 h 140"/>
                <a:gd name="T34" fmla="*/ 0 w 99"/>
                <a:gd name="T35" fmla="*/ 1 h 14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99"/>
                <a:gd name="T55" fmla="*/ 0 h 140"/>
                <a:gd name="T56" fmla="*/ 99 w 99"/>
                <a:gd name="T57" fmla="*/ 140 h 14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99" h="140">
                  <a:moveTo>
                    <a:pt x="0" y="64"/>
                  </a:moveTo>
                  <a:lnTo>
                    <a:pt x="14" y="97"/>
                  </a:lnTo>
                  <a:lnTo>
                    <a:pt x="30" y="97"/>
                  </a:lnTo>
                  <a:lnTo>
                    <a:pt x="59" y="140"/>
                  </a:lnTo>
                  <a:lnTo>
                    <a:pt x="75" y="126"/>
                  </a:lnTo>
                  <a:lnTo>
                    <a:pt x="96" y="119"/>
                  </a:lnTo>
                  <a:lnTo>
                    <a:pt x="99" y="90"/>
                  </a:lnTo>
                  <a:lnTo>
                    <a:pt x="92" y="60"/>
                  </a:lnTo>
                  <a:lnTo>
                    <a:pt x="73" y="52"/>
                  </a:lnTo>
                  <a:lnTo>
                    <a:pt x="87" y="26"/>
                  </a:lnTo>
                  <a:lnTo>
                    <a:pt x="77" y="0"/>
                  </a:lnTo>
                  <a:lnTo>
                    <a:pt x="61" y="12"/>
                  </a:lnTo>
                  <a:lnTo>
                    <a:pt x="40" y="8"/>
                  </a:lnTo>
                  <a:lnTo>
                    <a:pt x="26" y="15"/>
                  </a:lnTo>
                  <a:lnTo>
                    <a:pt x="21" y="34"/>
                  </a:lnTo>
                  <a:lnTo>
                    <a:pt x="35" y="57"/>
                  </a:lnTo>
                  <a:lnTo>
                    <a:pt x="14" y="57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09" name="Freeform 237"/>
            <p:cNvSpPr>
              <a:spLocks/>
            </p:cNvSpPr>
            <p:nvPr/>
          </p:nvSpPr>
          <p:spPr bwMode="auto">
            <a:xfrm>
              <a:off x="2814" y="2514"/>
              <a:ext cx="161" cy="123"/>
            </a:xfrm>
            <a:custGeom>
              <a:avLst/>
              <a:gdLst>
                <a:gd name="T0" fmla="*/ 0 w 272"/>
                <a:gd name="T1" fmla="*/ 1 h 236"/>
                <a:gd name="T2" fmla="*/ 1 w 272"/>
                <a:gd name="T3" fmla="*/ 1 h 236"/>
                <a:gd name="T4" fmla="*/ 1 w 272"/>
                <a:gd name="T5" fmla="*/ 2 h 236"/>
                <a:gd name="T6" fmla="*/ 1 w 272"/>
                <a:gd name="T7" fmla="*/ 2 h 236"/>
                <a:gd name="T8" fmla="*/ 2 w 272"/>
                <a:gd name="T9" fmla="*/ 2 h 236"/>
                <a:gd name="T10" fmla="*/ 2 w 272"/>
                <a:gd name="T11" fmla="*/ 2 h 236"/>
                <a:gd name="T12" fmla="*/ 2 w 272"/>
                <a:gd name="T13" fmla="*/ 2 h 236"/>
                <a:gd name="T14" fmla="*/ 1 w 272"/>
                <a:gd name="T15" fmla="*/ 2 h 236"/>
                <a:gd name="T16" fmla="*/ 1 w 272"/>
                <a:gd name="T17" fmla="*/ 2 h 236"/>
                <a:gd name="T18" fmla="*/ 1 w 272"/>
                <a:gd name="T19" fmla="*/ 2 h 236"/>
                <a:gd name="T20" fmla="*/ 2 w 272"/>
                <a:gd name="T21" fmla="*/ 2 h 236"/>
                <a:gd name="T22" fmla="*/ 2 w 272"/>
                <a:gd name="T23" fmla="*/ 3 h 236"/>
                <a:gd name="T24" fmla="*/ 3 w 272"/>
                <a:gd name="T25" fmla="*/ 3 h 236"/>
                <a:gd name="T26" fmla="*/ 5 w 272"/>
                <a:gd name="T27" fmla="*/ 2 h 236"/>
                <a:gd name="T28" fmla="*/ 5 w 272"/>
                <a:gd name="T29" fmla="*/ 2 h 236"/>
                <a:gd name="T30" fmla="*/ 6 w 272"/>
                <a:gd name="T31" fmla="*/ 3 h 236"/>
                <a:gd name="T32" fmla="*/ 7 w 272"/>
                <a:gd name="T33" fmla="*/ 2 h 236"/>
                <a:gd name="T34" fmla="*/ 7 w 272"/>
                <a:gd name="T35" fmla="*/ 2 h 236"/>
                <a:gd name="T36" fmla="*/ 7 w 272"/>
                <a:gd name="T37" fmla="*/ 2 h 236"/>
                <a:gd name="T38" fmla="*/ 7 w 272"/>
                <a:gd name="T39" fmla="*/ 2 h 236"/>
                <a:gd name="T40" fmla="*/ 7 w 272"/>
                <a:gd name="T41" fmla="*/ 2 h 236"/>
                <a:gd name="T42" fmla="*/ 6 w 272"/>
                <a:gd name="T43" fmla="*/ 2 h 236"/>
                <a:gd name="T44" fmla="*/ 5 w 272"/>
                <a:gd name="T45" fmla="*/ 2 h 236"/>
                <a:gd name="T46" fmla="*/ 5 w 272"/>
                <a:gd name="T47" fmla="*/ 1 h 236"/>
                <a:gd name="T48" fmla="*/ 5 w 272"/>
                <a:gd name="T49" fmla="*/ 1 h 236"/>
                <a:gd name="T50" fmla="*/ 5 w 272"/>
                <a:gd name="T51" fmla="*/ 1 h 236"/>
                <a:gd name="T52" fmla="*/ 5 w 272"/>
                <a:gd name="T53" fmla="*/ 0 h 236"/>
                <a:gd name="T54" fmla="*/ 5 w 272"/>
                <a:gd name="T55" fmla="*/ 0 h 236"/>
                <a:gd name="T56" fmla="*/ 4 w 272"/>
                <a:gd name="T57" fmla="*/ 1 h 236"/>
                <a:gd name="T58" fmla="*/ 4 w 272"/>
                <a:gd name="T59" fmla="*/ 1 h 236"/>
                <a:gd name="T60" fmla="*/ 3 w 272"/>
                <a:gd name="T61" fmla="*/ 1 h 236"/>
                <a:gd name="T62" fmla="*/ 3 w 272"/>
                <a:gd name="T63" fmla="*/ 1 h 236"/>
                <a:gd name="T64" fmla="*/ 2 w 272"/>
                <a:gd name="T65" fmla="*/ 1 h 236"/>
                <a:gd name="T66" fmla="*/ 2 w 272"/>
                <a:gd name="T67" fmla="*/ 1 h 236"/>
                <a:gd name="T68" fmla="*/ 1 w 272"/>
                <a:gd name="T69" fmla="*/ 1 h 236"/>
                <a:gd name="T70" fmla="*/ 1 w 272"/>
                <a:gd name="T71" fmla="*/ 1 h 236"/>
                <a:gd name="T72" fmla="*/ 1 w 272"/>
                <a:gd name="T73" fmla="*/ 1 h 236"/>
                <a:gd name="T74" fmla="*/ 1 w 272"/>
                <a:gd name="T75" fmla="*/ 1 h 236"/>
                <a:gd name="T76" fmla="*/ 0 w 272"/>
                <a:gd name="T77" fmla="*/ 1 h 2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72"/>
                <a:gd name="T118" fmla="*/ 0 h 236"/>
                <a:gd name="T119" fmla="*/ 272 w 272"/>
                <a:gd name="T120" fmla="*/ 236 h 2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72" h="236">
                  <a:moveTo>
                    <a:pt x="0" y="104"/>
                  </a:moveTo>
                  <a:lnTo>
                    <a:pt x="19" y="116"/>
                  </a:lnTo>
                  <a:lnTo>
                    <a:pt x="12" y="130"/>
                  </a:lnTo>
                  <a:lnTo>
                    <a:pt x="28" y="144"/>
                  </a:lnTo>
                  <a:lnTo>
                    <a:pt x="73" y="147"/>
                  </a:lnTo>
                  <a:lnTo>
                    <a:pt x="94" y="158"/>
                  </a:lnTo>
                  <a:lnTo>
                    <a:pt x="73" y="170"/>
                  </a:lnTo>
                  <a:lnTo>
                    <a:pt x="33" y="170"/>
                  </a:lnTo>
                  <a:lnTo>
                    <a:pt x="38" y="199"/>
                  </a:lnTo>
                  <a:lnTo>
                    <a:pt x="57" y="208"/>
                  </a:lnTo>
                  <a:lnTo>
                    <a:pt x="78" y="208"/>
                  </a:lnTo>
                  <a:lnTo>
                    <a:pt x="87" y="236"/>
                  </a:lnTo>
                  <a:lnTo>
                    <a:pt x="132" y="229"/>
                  </a:lnTo>
                  <a:lnTo>
                    <a:pt x="177" y="213"/>
                  </a:lnTo>
                  <a:lnTo>
                    <a:pt x="194" y="199"/>
                  </a:lnTo>
                  <a:lnTo>
                    <a:pt x="224" y="225"/>
                  </a:lnTo>
                  <a:lnTo>
                    <a:pt x="243" y="220"/>
                  </a:lnTo>
                  <a:lnTo>
                    <a:pt x="260" y="208"/>
                  </a:lnTo>
                  <a:lnTo>
                    <a:pt x="253" y="191"/>
                  </a:lnTo>
                  <a:lnTo>
                    <a:pt x="269" y="187"/>
                  </a:lnTo>
                  <a:lnTo>
                    <a:pt x="272" y="168"/>
                  </a:lnTo>
                  <a:lnTo>
                    <a:pt x="227" y="147"/>
                  </a:lnTo>
                  <a:lnTo>
                    <a:pt x="213" y="130"/>
                  </a:lnTo>
                  <a:lnTo>
                    <a:pt x="213" y="104"/>
                  </a:lnTo>
                  <a:lnTo>
                    <a:pt x="201" y="57"/>
                  </a:lnTo>
                  <a:lnTo>
                    <a:pt x="220" y="14"/>
                  </a:lnTo>
                  <a:lnTo>
                    <a:pt x="208" y="0"/>
                  </a:lnTo>
                  <a:lnTo>
                    <a:pt x="184" y="0"/>
                  </a:lnTo>
                  <a:lnTo>
                    <a:pt x="163" y="52"/>
                  </a:lnTo>
                  <a:lnTo>
                    <a:pt x="139" y="36"/>
                  </a:lnTo>
                  <a:lnTo>
                    <a:pt x="120" y="43"/>
                  </a:lnTo>
                  <a:lnTo>
                    <a:pt x="104" y="31"/>
                  </a:lnTo>
                  <a:lnTo>
                    <a:pt x="85" y="50"/>
                  </a:lnTo>
                  <a:lnTo>
                    <a:pt x="78" y="19"/>
                  </a:lnTo>
                  <a:lnTo>
                    <a:pt x="61" y="19"/>
                  </a:lnTo>
                  <a:lnTo>
                    <a:pt x="14" y="57"/>
                  </a:lnTo>
                  <a:lnTo>
                    <a:pt x="14" y="71"/>
                  </a:lnTo>
                  <a:lnTo>
                    <a:pt x="2" y="83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10" name="Freeform 238"/>
            <p:cNvSpPr>
              <a:spLocks/>
            </p:cNvSpPr>
            <p:nvPr/>
          </p:nvSpPr>
          <p:spPr bwMode="auto">
            <a:xfrm>
              <a:off x="2757" y="2491"/>
              <a:ext cx="90" cy="90"/>
            </a:xfrm>
            <a:custGeom>
              <a:avLst/>
              <a:gdLst>
                <a:gd name="T0" fmla="*/ 0 w 152"/>
                <a:gd name="T1" fmla="*/ 2 h 173"/>
                <a:gd name="T2" fmla="*/ 1 w 152"/>
                <a:gd name="T3" fmla="*/ 2 h 173"/>
                <a:gd name="T4" fmla="*/ 1 w 152"/>
                <a:gd name="T5" fmla="*/ 2 h 173"/>
                <a:gd name="T6" fmla="*/ 2 w 152"/>
                <a:gd name="T7" fmla="*/ 2 h 173"/>
                <a:gd name="T8" fmla="*/ 2 w 152"/>
                <a:gd name="T9" fmla="*/ 2 h 173"/>
                <a:gd name="T10" fmla="*/ 2 w 152"/>
                <a:gd name="T11" fmla="*/ 1 h 173"/>
                <a:gd name="T12" fmla="*/ 4 w 152"/>
                <a:gd name="T13" fmla="*/ 1 h 173"/>
                <a:gd name="T14" fmla="*/ 3 w 152"/>
                <a:gd name="T15" fmla="*/ 1 h 173"/>
                <a:gd name="T16" fmla="*/ 3 w 152"/>
                <a:gd name="T17" fmla="*/ 1 h 173"/>
                <a:gd name="T18" fmla="*/ 2 w 152"/>
                <a:gd name="T19" fmla="*/ 1 h 173"/>
                <a:gd name="T20" fmla="*/ 2 w 152"/>
                <a:gd name="T21" fmla="*/ 0 h 173"/>
                <a:gd name="T22" fmla="*/ 1 w 152"/>
                <a:gd name="T23" fmla="*/ 1 h 173"/>
                <a:gd name="T24" fmla="*/ 1 w 152"/>
                <a:gd name="T25" fmla="*/ 1 h 173"/>
                <a:gd name="T26" fmla="*/ 1 w 152"/>
                <a:gd name="T27" fmla="*/ 1 h 173"/>
                <a:gd name="T28" fmla="*/ 0 w 152"/>
                <a:gd name="T29" fmla="*/ 2 h 17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52"/>
                <a:gd name="T46" fmla="*/ 0 h 173"/>
                <a:gd name="T47" fmla="*/ 152 w 152"/>
                <a:gd name="T48" fmla="*/ 173 h 17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52" h="173">
                  <a:moveTo>
                    <a:pt x="0" y="125"/>
                  </a:moveTo>
                  <a:lnTo>
                    <a:pt x="22" y="147"/>
                  </a:lnTo>
                  <a:lnTo>
                    <a:pt x="34" y="173"/>
                  </a:lnTo>
                  <a:lnTo>
                    <a:pt x="71" y="158"/>
                  </a:lnTo>
                  <a:lnTo>
                    <a:pt x="83" y="135"/>
                  </a:lnTo>
                  <a:lnTo>
                    <a:pt x="90" y="102"/>
                  </a:lnTo>
                  <a:lnTo>
                    <a:pt x="152" y="55"/>
                  </a:lnTo>
                  <a:lnTo>
                    <a:pt x="130" y="36"/>
                  </a:lnTo>
                  <a:lnTo>
                    <a:pt x="114" y="14"/>
                  </a:lnTo>
                  <a:lnTo>
                    <a:pt x="88" y="14"/>
                  </a:lnTo>
                  <a:lnTo>
                    <a:pt x="62" y="0"/>
                  </a:lnTo>
                  <a:lnTo>
                    <a:pt x="12" y="24"/>
                  </a:lnTo>
                  <a:lnTo>
                    <a:pt x="24" y="55"/>
                  </a:lnTo>
                  <a:lnTo>
                    <a:pt x="19" y="81"/>
                  </a:lnTo>
                  <a:lnTo>
                    <a:pt x="0" y="125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11" name="Freeform 239"/>
            <p:cNvSpPr>
              <a:spLocks/>
            </p:cNvSpPr>
            <p:nvPr/>
          </p:nvSpPr>
          <p:spPr bwMode="auto">
            <a:xfrm>
              <a:off x="5527" y="2732"/>
              <a:ext cx="24" cy="10"/>
            </a:xfrm>
            <a:custGeom>
              <a:avLst/>
              <a:gdLst>
                <a:gd name="T0" fmla="*/ 0 w 41"/>
                <a:gd name="T1" fmla="*/ 0 h 19"/>
                <a:gd name="T2" fmla="*/ 1 w 41"/>
                <a:gd name="T3" fmla="*/ 0 h 19"/>
                <a:gd name="T4" fmla="*/ 1 w 41"/>
                <a:gd name="T5" fmla="*/ 1 h 19"/>
                <a:gd name="T6" fmla="*/ 1 w 41"/>
                <a:gd name="T7" fmla="*/ 1 h 19"/>
                <a:gd name="T8" fmla="*/ 1 w 41"/>
                <a:gd name="T9" fmla="*/ 1 h 19"/>
                <a:gd name="T10" fmla="*/ 1 w 41"/>
                <a:gd name="T11" fmla="*/ 1 h 19"/>
                <a:gd name="T12" fmla="*/ 0 w 41"/>
                <a:gd name="T13" fmla="*/ 1 h 19"/>
                <a:gd name="T14" fmla="*/ 0 w 41"/>
                <a:gd name="T15" fmla="*/ 0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1"/>
                <a:gd name="T25" fmla="*/ 0 h 19"/>
                <a:gd name="T26" fmla="*/ 41 w 41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1" h="19">
                  <a:moveTo>
                    <a:pt x="0" y="0"/>
                  </a:moveTo>
                  <a:lnTo>
                    <a:pt x="17" y="0"/>
                  </a:lnTo>
                  <a:lnTo>
                    <a:pt x="41" y="12"/>
                  </a:lnTo>
                  <a:lnTo>
                    <a:pt x="29" y="19"/>
                  </a:lnTo>
                  <a:lnTo>
                    <a:pt x="15" y="7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12" name="Freeform 240"/>
            <p:cNvSpPr>
              <a:spLocks/>
            </p:cNvSpPr>
            <p:nvPr/>
          </p:nvSpPr>
          <p:spPr bwMode="auto">
            <a:xfrm>
              <a:off x="2385" y="2787"/>
              <a:ext cx="17" cy="8"/>
            </a:xfrm>
            <a:custGeom>
              <a:avLst/>
              <a:gdLst>
                <a:gd name="T0" fmla="*/ 0 w 28"/>
                <a:gd name="T1" fmla="*/ 1 h 15"/>
                <a:gd name="T2" fmla="*/ 1 w 28"/>
                <a:gd name="T3" fmla="*/ 1 h 15"/>
                <a:gd name="T4" fmla="*/ 1 w 28"/>
                <a:gd name="T5" fmla="*/ 1 h 15"/>
                <a:gd name="T6" fmla="*/ 1 w 28"/>
                <a:gd name="T7" fmla="*/ 1 h 15"/>
                <a:gd name="T8" fmla="*/ 1 w 28"/>
                <a:gd name="T9" fmla="*/ 0 h 15"/>
                <a:gd name="T10" fmla="*/ 0 w 28"/>
                <a:gd name="T11" fmla="*/ 1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8"/>
                <a:gd name="T19" fmla="*/ 0 h 15"/>
                <a:gd name="T20" fmla="*/ 28 w 28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8" h="15">
                  <a:moveTo>
                    <a:pt x="0" y="5"/>
                  </a:moveTo>
                  <a:lnTo>
                    <a:pt x="19" y="15"/>
                  </a:lnTo>
                  <a:lnTo>
                    <a:pt x="28" y="10"/>
                  </a:lnTo>
                  <a:lnTo>
                    <a:pt x="28" y="3"/>
                  </a:lnTo>
                  <a:lnTo>
                    <a:pt x="19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13" name="Freeform 241"/>
            <p:cNvSpPr>
              <a:spLocks/>
            </p:cNvSpPr>
            <p:nvPr/>
          </p:nvSpPr>
          <p:spPr bwMode="auto">
            <a:xfrm>
              <a:off x="2497" y="2817"/>
              <a:ext cx="24" cy="23"/>
            </a:xfrm>
            <a:custGeom>
              <a:avLst/>
              <a:gdLst>
                <a:gd name="T0" fmla="*/ 0 w 40"/>
                <a:gd name="T1" fmla="*/ 1 h 45"/>
                <a:gd name="T2" fmla="*/ 1 w 40"/>
                <a:gd name="T3" fmla="*/ 1 h 45"/>
                <a:gd name="T4" fmla="*/ 1 w 40"/>
                <a:gd name="T5" fmla="*/ 1 h 45"/>
                <a:gd name="T6" fmla="*/ 1 w 40"/>
                <a:gd name="T7" fmla="*/ 1 h 45"/>
                <a:gd name="T8" fmla="*/ 1 w 40"/>
                <a:gd name="T9" fmla="*/ 1 h 45"/>
                <a:gd name="T10" fmla="*/ 1 w 40"/>
                <a:gd name="T11" fmla="*/ 1 h 45"/>
                <a:gd name="T12" fmla="*/ 1 w 40"/>
                <a:gd name="T13" fmla="*/ 1 h 45"/>
                <a:gd name="T14" fmla="*/ 1 w 40"/>
                <a:gd name="T15" fmla="*/ 0 h 45"/>
                <a:gd name="T16" fmla="*/ 0 w 40"/>
                <a:gd name="T17" fmla="*/ 1 h 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45"/>
                <a:gd name="T29" fmla="*/ 40 w 40"/>
                <a:gd name="T30" fmla="*/ 45 h 4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45">
                  <a:moveTo>
                    <a:pt x="0" y="31"/>
                  </a:moveTo>
                  <a:lnTo>
                    <a:pt x="10" y="45"/>
                  </a:lnTo>
                  <a:lnTo>
                    <a:pt x="24" y="29"/>
                  </a:lnTo>
                  <a:lnTo>
                    <a:pt x="38" y="24"/>
                  </a:lnTo>
                  <a:lnTo>
                    <a:pt x="33" y="14"/>
                  </a:lnTo>
                  <a:lnTo>
                    <a:pt x="26" y="12"/>
                  </a:lnTo>
                  <a:lnTo>
                    <a:pt x="40" y="5"/>
                  </a:lnTo>
                  <a:lnTo>
                    <a:pt x="33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14" name="Freeform 242"/>
            <p:cNvSpPr>
              <a:spLocks/>
            </p:cNvSpPr>
            <p:nvPr/>
          </p:nvSpPr>
          <p:spPr bwMode="auto">
            <a:xfrm>
              <a:off x="2689" y="2876"/>
              <a:ext cx="18" cy="27"/>
            </a:xfrm>
            <a:custGeom>
              <a:avLst/>
              <a:gdLst>
                <a:gd name="T0" fmla="*/ 0 w 30"/>
                <a:gd name="T1" fmla="*/ 0 h 52"/>
                <a:gd name="T2" fmla="*/ 0 w 30"/>
                <a:gd name="T3" fmla="*/ 1 h 52"/>
                <a:gd name="T4" fmla="*/ 1 w 30"/>
                <a:gd name="T5" fmla="*/ 1 h 52"/>
                <a:gd name="T6" fmla="*/ 1 w 30"/>
                <a:gd name="T7" fmla="*/ 1 h 52"/>
                <a:gd name="T8" fmla="*/ 1 w 30"/>
                <a:gd name="T9" fmla="*/ 1 h 52"/>
                <a:gd name="T10" fmla="*/ 1 w 30"/>
                <a:gd name="T11" fmla="*/ 1 h 52"/>
                <a:gd name="T12" fmla="*/ 1 w 30"/>
                <a:gd name="T13" fmla="*/ 1 h 52"/>
                <a:gd name="T14" fmla="*/ 1 w 30"/>
                <a:gd name="T15" fmla="*/ 0 h 52"/>
                <a:gd name="T16" fmla="*/ 0 w 30"/>
                <a:gd name="T17" fmla="*/ 0 h 5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"/>
                <a:gd name="T28" fmla="*/ 0 h 52"/>
                <a:gd name="T29" fmla="*/ 30 w 30"/>
                <a:gd name="T30" fmla="*/ 52 h 5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" h="52">
                  <a:moveTo>
                    <a:pt x="0" y="0"/>
                  </a:moveTo>
                  <a:lnTo>
                    <a:pt x="0" y="14"/>
                  </a:lnTo>
                  <a:lnTo>
                    <a:pt x="16" y="42"/>
                  </a:lnTo>
                  <a:lnTo>
                    <a:pt x="30" y="52"/>
                  </a:lnTo>
                  <a:lnTo>
                    <a:pt x="16" y="35"/>
                  </a:lnTo>
                  <a:lnTo>
                    <a:pt x="21" y="26"/>
                  </a:lnTo>
                  <a:lnTo>
                    <a:pt x="16" y="14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15" name="Freeform 243"/>
            <p:cNvSpPr>
              <a:spLocks/>
            </p:cNvSpPr>
            <p:nvPr/>
          </p:nvSpPr>
          <p:spPr bwMode="auto">
            <a:xfrm>
              <a:off x="2731" y="2918"/>
              <a:ext cx="45" cy="29"/>
            </a:xfrm>
            <a:custGeom>
              <a:avLst/>
              <a:gdLst>
                <a:gd name="T0" fmla="*/ 0 w 75"/>
                <a:gd name="T1" fmla="*/ 1 h 57"/>
                <a:gd name="T2" fmla="*/ 1 w 75"/>
                <a:gd name="T3" fmla="*/ 1 h 57"/>
                <a:gd name="T4" fmla="*/ 1 w 75"/>
                <a:gd name="T5" fmla="*/ 1 h 57"/>
                <a:gd name="T6" fmla="*/ 1 w 75"/>
                <a:gd name="T7" fmla="*/ 1 h 57"/>
                <a:gd name="T8" fmla="*/ 1 w 75"/>
                <a:gd name="T9" fmla="*/ 1 h 57"/>
                <a:gd name="T10" fmla="*/ 1 w 75"/>
                <a:gd name="T11" fmla="*/ 1 h 57"/>
                <a:gd name="T12" fmla="*/ 2 w 75"/>
                <a:gd name="T13" fmla="*/ 1 h 57"/>
                <a:gd name="T14" fmla="*/ 2 w 75"/>
                <a:gd name="T15" fmla="*/ 1 h 57"/>
                <a:gd name="T16" fmla="*/ 1 w 75"/>
                <a:gd name="T17" fmla="*/ 1 h 57"/>
                <a:gd name="T18" fmla="*/ 1 w 75"/>
                <a:gd name="T19" fmla="*/ 0 h 57"/>
                <a:gd name="T20" fmla="*/ 0 w 75"/>
                <a:gd name="T21" fmla="*/ 1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5"/>
                <a:gd name="T34" fmla="*/ 0 h 57"/>
                <a:gd name="T35" fmla="*/ 75 w 75"/>
                <a:gd name="T36" fmla="*/ 57 h 5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5" h="57">
                  <a:moveTo>
                    <a:pt x="0" y="5"/>
                  </a:moveTo>
                  <a:lnTo>
                    <a:pt x="7" y="16"/>
                  </a:lnTo>
                  <a:lnTo>
                    <a:pt x="28" y="28"/>
                  </a:lnTo>
                  <a:lnTo>
                    <a:pt x="26" y="33"/>
                  </a:lnTo>
                  <a:lnTo>
                    <a:pt x="49" y="42"/>
                  </a:lnTo>
                  <a:lnTo>
                    <a:pt x="49" y="47"/>
                  </a:lnTo>
                  <a:lnTo>
                    <a:pt x="68" y="57"/>
                  </a:lnTo>
                  <a:lnTo>
                    <a:pt x="75" y="54"/>
                  </a:lnTo>
                  <a:lnTo>
                    <a:pt x="40" y="14"/>
                  </a:lnTo>
                  <a:lnTo>
                    <a:pt x="4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16" name="Freeform 244"/>
            <p:cNvSpPr>
              <a:spLocks/>
            </p:cNvSpPr>
            <p:nvPr/>
          </p:nvSpPr>
          <p:spPr bwMode="auto">
            <a:xfrm>
              <a:off x="3649" y="2679"/>
              <a:ext cx="94" cy="56"/>
            </a:xfrm>
            <a:custGeom>
              <a:avLst/>
              <a:gdLst>
                <a:gd name="T0" fmla="*/ 0 w 159"/>
                <a:gd name="T1" fmla="*/ 1 h 108"/>
                <a:gd name="T2" fmla="*/ 1 w 159"/>
                <a:gd name="T3" fmla="*/ 1 h 108"/>
                <a:gd name="T4" fmla="*/ 1 w 159"/>
                <a:gd name="T5" fmla="*/ 1 h 108"/>
                <a:gd name="T6" fmla="*/ 1 w 159"/>
                <a:gd name="T7" fmla="*/ 1 h 108"/>
                <a:gd name="T8" fmla="*/ 1 w 159"/>
                <a:gd name="T9" fmla="*/ 1 h 108"/>
                <a:gd name="T10" fmla="*/ 1 w 159"/>
                <a:gd name="T11" fmla="*/ 1 h 108"/>
                <a:gd name="T12" fmla="*/ 1 w 159"/>
                <a:gd name="T13" fmla="*/ 1 h 108"/>
                <a:gd name="T14" fmla="*/ 1 w 159"/>
                <a:gd name="T15" fmla="*/ 1 h 108"/>
                <a:gd name="T16" fmla="*/ 1 w 159"/>
                <a:gd name="T17" fmla="*/ 1 h 108"/>
                <a:gd name="T18" fmla="*/ 2 w 159"/>
                <a:gd name="T19" fmla="*/ 1 h 108"/>
                <a:gd name="T20" fmla="*/ 4 w 159"/>
                <a:gd name="T21" fmla="*/ 1 h 108"/>
                <a:gd name="T22" fmla="*/ 4 w 159"/>
                <a:gd name="T23" fmla="*/ 1 h 108"/>
                <a:gd name="T24" fmla="*/ 4 w 159"/>
                <a:gd name="T25" fmla="*/ 1 h 108"/>
                <a:gd name="T26" fmla="*/ 4 w 159"/>
                <a:gd name="T27" fmla="*/ 1 h 108"/>
                <a:gd name="T28" fmla="*/ 4 w 159"/>
                <a:gd name="T29" fmla="*/ 1 h 108"/>
                <a:gd name="T30" fmla="*/ 3 w 159"/>
                <a:gd name="T31" fmla="*/ 1 h 108"/>
                <a:gd name="T32" fmla="*/ 3 w 159"/>
                <a:gd name="T33" fmla="*/ 0 h 108"/>
                <a:gd name="T34" fmla="*/ 2 w 159"/>
                <a:gd name="T35" fmla="*/ 1 h 108"/>
                <a:gd name="T36" fmla="*/ 2 w 159"/>
                <a:gd name="T37" fmla="*/ 1 h 108"/>
                <a:gd name="T38" fmla="*/ 2 w 159"/>
                <a:gd name="T39" fmla="*/ 1 h 108"/>
                <a:gd name="T40" fmla="*/ 2 w 159"/>
                <a:gd name="T41" fmla="*/ 1 h 108"/>
                <a:gd name="T42" fmla="*/ 2 w 159"/>
                <a:gd name="T43" fmla="*/ 1 h 108"/>
                <a:gd name="T44" fmla="*/ 1 w 159"/>
                <a:gd name="T45" fmla="*/ 1 h 108"/>
                <a:gd name="T46" fmla="*/ 1 w 159"/>
                <a:gd name="T47" fmla="*/ 1 h 108"/>
                <a:gd name="T48" fmla="*/ 1 w 159"/>
                <a:gd name="T49" fmla="*/ 1 h 108"/>
                <a:gd name="T50" fmla="*/ 1 w 159"/>
                <a:gd name="T51" fmla="*/ 1 h 108"/>
                <a:gd name="T52" fmla="*/ 1 w 159"/>
                <a:gd name="T53" fmla="*/ 1 h 108"/>
                <a:gd name="T54" fmla="*/ 1 w 159"/>
                <a:gd name="T55" fmla="*/ 1 h 108"/>
                <a:gd name="T56" fmla="*/ 1 w 159"/>
                <a:gd name="T57" fmla="*/ 1 h 108"/>
                <a:gd name="T58" fmla="*/ 1 w 159"/>
                <a:gd name="T59" fmla="*/ 1 h 108"/>
                <a:gd name="T60" fmla="*/ 0 w 159"/>
                <a:gd name="T61" fmla="*/ 1 h 10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59"/>
                <a:gd name="T94" fmla="*/ 0 h 108"/>
                <a:gd name="T95" fmla="*/ 159 w 159"/>
                <a:gd name="T96" fmla="*/ 108 h 10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59" h="108">
                  <a:moveTo>
                    <a:pt x="0" y="37"/>
                  </a:moveTo>
                  <a:lnTo>
                    <a:pt x="12" y="40"/>
                  </a:lnTo>
                  <a:lnTo>
                    <a:pt x="24" y="35"/>
                  </a:lnTo>
                  <a:lnTo>
                    <a:pt x="33" y="40"/>
                  </a:lnTo>
                  <a:lnTo>
                    <a:pt x="5" y="63"/>
                  </a:lnTo>
                  <a:lnTo>
                    <a:pt x="26" y="63"/>
                  </a:lnTo>
                  <a:lnTo>
                    <a:pt x="36" y="80"/>
                  </a:lnTo>
                  <a:lnTo>
                    <a:pt x="24" y="94"/>
                  </a:lnTo>
                  <a:lnTo>
                    <a:pt x="50" y="94"/>
                  </a:lnTo>
                  <a:lnTo>
                    <a:pt x="83" y="108"/>
                  </a:lnTo>
                  <a:lnTo>
                    <a:pt x="147" y="75"/>
                  </a:lnTo>
                  <a:lnTo>
                    <a:pt x="159" y="59"/>
                  </a:lnTo>
                  <a:lnTo>
                    <a:pt x="159" y="37"/>
                  </a:lnTo>
                  <a:lnTo>
                    <a:pt x="144" y="28"/>
                  </a:lnTo>
                  <a:lnTo>
                    <a:pt x="144" y="7"/>
                  </a:lnTo>
                  <a:lnTo>
                    <a:pt x="130" y="9"/>
                  </a:lnTo>
                  <a:lnTo>
                    <a:pt x="121" y="0"/>
                  </a:lnTo>
                  <a:lnTo>
                    <a:pt x="102" y="19"/>
                  </a:lnTo>
                  <a:lnTo>
                    <a:pt x="90" y="14"/>
                  </a:lnTo>
                  <a:lnTo>
                    <a:pt x="76" y="16"/>
                  </a:lnTo>
                  <a:lnTo>
                    <a:pt x="69" y="26"/>
                  </a:lnTo>
                  <a:lnTo>
                    <a:pt x="62" y="16"/>
                  </a:lnTo>
                  <a:lnTo>
                    <a:pt x="59" y="35"/>
                  </a:lnTo>
                  <a:lnTo>
                    <a:pt x="43" y="40"/>
                  </a:lnTo>
                  <a:lnTo>
                    <a:pt x="43" y="19"/>
                  </a:lnTo>
                  <a:lnTo>
                    <a:pt x="31" y="7"/>
                  </a:lnTo>
                  <a:lnTo>
                    <a:pt x="21" y="4"/>
                  </a:lnTo>
                  <a:lnTo>
                    <a:pt x="21" y="14"/>
                  </a:lnTo>
                  <a:lnTo>
                    <a:pt x="10" y="14"/>
                  </a:lnTo>
                  <a:lnTo>
                    <a:pt x="10" y="26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17" name="Freeform 245"/>
            <p:cNvSpPr>
              <a:spLocks/>
            </p:cNvSpPr>
            <p:nvPr/>
          </p:nvSpPr>
          <p:spPr bwMode="auto">
            <a:xfrm>
              <a:off x="3698" y="2463"/>
              <a:ext cx="8" cy="13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1 h 24"/>
                <a:gd name="T4" fmla="*/ 1 w 14"/>
                <a:gd name="T5" fmla="*/ 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"/>
                <a:gd name="T13" fmla="*/ 0 h 24"/>
                <a:gd name="T14" fmla="*/ 14 w 14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18" name="Freeform 246"/>
            <p:cNvSpPr>
              <a:spLocks/>
            </p:cNvSpPr>
            <p:nvPr/>
          </p:nvSpPr>
          <p:spPr bwMode="auto">
            <a:xfrm>
              <a:off x="4247" y="3469"/>
              <a:ext cx="62" cy="111"/>
            </a:xfrm>
            <a:custGeom>
              <a:avLst/>
              <a:gdLst>
                <a:gd name="T0" fmla="*/ 0 w 106"/>
                <a:gd name="T1" fmla="*/ 2 h 213"/>
                <a:gd name="T2" fmla="*/ 1 w 106"/>
                <a:gd name="T3" fmla="*/ 2 h 213"/>
                <a:gd name="T4" fmla="*/ 1 w 106"/>
                <a:gd name="T5" fmla="*/ 2 h 213"/>
                <a:gd name="T6" fmla="*/ 1 w 106"/>
                <a:gd name="T7" fmla="*/ 2 h 213"/>
                <a:gd name="T8" fmla="*/ 1 w 106"/>
                <a:gd name="T9" fmla="*/ 2 h 213"/>
                <a:gd name="T10" fmla="*/ 1 w 106"/>
                <a:gd name="T11" fmla="*/ 2 h 213"/>
                <a:gd name="T12" fmla="*/ 2 w 106"/>
                <a:gd name="T13" fmla="*/ 1 h 213"/>
                <a:gd name="T14" fmla="*/ 2 w 106"/>
                <a:gd name="T15" fmla="*/ 1 h 213"/>
                <a:gd name="T16" fmla="*/ 2 w 106"/>
                <a:gd name="T17" fmla="*/ 1 h 213"/>
                <a:gd name="T18" fmla="*/ 2 w 106"/>
                <a:gd name="T19" fmla="*/ 1 h 213"/>
                <a:gd name="T20" fmla="*/ 2 w 106"/>
                <a:gd name="T21" fmla="*/ 1 h 213"/>
                <a:gd name="T22" fmla="*/ 2 w 106"/>
                <a:gd name="T23" fmla="*/ 0 h 213"/>
                <a:gd name="T24" fmla="*/ 2 w 106"/>
                <a:gd name="T25" fmla="*/ 1 h 213"/>
                <a:gd name="T26" fmla="*/ 2 w 106"/>
                <a:gd name="T27" fmla="*/ 1 h 213"/>
                <a:gd name="T28" fmla="*/ 2 w 106"/>
                <a:gd name="T29" fmla="*/ 1 h 213"/>
                <a:gd name="T30" fmla="*/ 2 w 106"/>
                <a:gd name="T31" fmla="*/ 1 h 213"/>
                <a:gd name="T32" fmla="*/ 1 w 106"/>
                <a:gd name="T33" fmla="*/ 1 h 213"/>
                <a:gd name="T34" fmla="*/ 1 w 106"/>
                <a:gd name="T35" fmla="*/ 1 h 213"/>
                <a:gd name="T36" fmla="*/ 1 w 106"/>
                <a:gd name="T37" fmla="*/ 2 h 213"/>
                <a:gd name="T38" fmla="*/ 0 w 106"/>
                <a:gd name="T39" fmla="*/ 2 h 21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06"/>
                <a:gd name="T61" fmla="*/ 0 h 213"/>
                <a:gd name="T62" fmla="*/ 106 w 106"/>
                <a:gd name="T63" fmla="*/ 213 h 21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06" h="213">
                  <a:moveTo>
                    <a:pt x="0" y="154"/>
                  </a:moveTo>
                  <a:lnTo>
                    <a:pt x="7" y="194"/>
                  </a:lnTo>
                  <a:lnTo>
                    <a:pt x="19" y="208"/>
                  </a:lnTo>
                  <a:lnTo>
                    <a:pt x="24" y="213"/>
                  </a:lnTo>
                  <a:lnTo>
                    <a:pt x="52" y="206"/>
                  </a:lnTo>
                  <a:lnTo>
                    <a:pt x="57" y="198"/>
                  </a:lnTo>
                  <a:lnTo>
                    <a:pt x="90" y="99"/>
                  </a:lnTo>
                  <a:lnTo>
                    <a:pt x="94" y="52"/>
                  </a:lnTo>
                  <a:lnTo>
                    <a:pt x="102" y="59"/>
                  </a:lnTo>
                  <a:lnTo>
                    <a:pt x="106" y="52"/>
                  </a:lnTo>
                  <a:lnTo>
                    <a:pt x="97" y="14"/>
                  </a:lnTo>
                  <a:lnTo>
                    <a:pt x="90" y="0"/>
                  </a:lnTo>
                  <a:lnTo>
                    <a:pt x="83" y="5"/>
                  </a:lnTo>
                  <a:lnTo>
                    <a:pt x="80" y="19"/>
                  </a:lnTo>
                  <a:lnTo>
                    <a:pt x="66" y="24"/>
                  </a:lnTo>
                  <a:lnTo>
                    <a:pt x="64" y="43"/>
                  </a:lnTo>
                  <a:lnTo>
                    <a:pt x="19" y="64"/>
                  </a:lnTo>
                  <a:lnTo>
                    <a:pt x="9" y="83"/>
                  </a:lnTo>
                  <a:lnTo>
                    <a:pt x="16" y="123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19" name="Freeform 247"/>
            <p:cNvSpPr>
              <a:spLocks/>
            </p:cNvSpPr>
            <p:nvPr/>
          </p:nvSpPr>
          <p:spPr bwMode="auto">
            <a:xfrm>
              <a:off x="4351" y="3541"/>
              <a:ext cx="6" cy="3"/>
            </a:xfrm>
            <a:custGeom>
              <a:avLst/>
              <a:gdLst>
                <a:gd name="T0" fmla="*/ 0 w 10"/>
                <a:gd name="T1" fmla="*/ 0 h 5"/>
                <a:gd name="T2" fmla="*/ 1 w 10"/>
                <a:gd name="T3" fmla="*/ 1 h 5"/>
                <a:gd name="T4" fmla="*/ 1 w 10"/>
                <a:gd name="T5" fmla="*/ 1 h 5"/>
                <a:gd name="T6" fmla="*/ 0 w 10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5"/>
                <a:gd name="T14" fmla="*/ 10 w 10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5">
                  <a:moveTo>
                    <a:pt x="0" y="0"/>
                  </a:moveTo>
                  <a:lnTo>
                    <a:pt x="2" y="5"/>
                  </a:lnTo>
                  <a:lnTo>
                    <a:pt x="1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20" name="Freeform 248"/>
            <p:cNvSpPr>
              <a:spLocks/>
            </p:cNvSpPr>
            <p:nvPr/>
          </p:nvSpPr>
          <p:spPr bwMode="auto">
            <a:xfrm>
              <a:off x="4370" y="3533"/>
              <a:ext cx="4" cy="4"/>
            </a:xfrm>
            <a:custGeom>
              <a:avLst/>
              <a:gdLst>
                <a:gd name="T0" fmla="*/ 0 w 7"/>
                <a:gd name="T1" fmla="*/ 1 h 7"/>
                <a:gd name="T2" fmla="*/ 1 w 7"/>
                <a:gd name="T3" fmla="*/ 1 h 7"/>
                <a:gd name="T4" fmla="*/ 1 w 7"/>
                <a:gd name="T5" fmla="*/ 0 h 7"/>
                <a:gd name="T6" fmla="*/ 0 w 7"/>
                <a:gd name="T7" fmla="*/ 1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7"/>
                <a:gd name="T14" fmla="*/ 7 w 7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7">
                  <a:moveTo>
                    <a:pt x="0" y="7"/>
                  </a:moveTo>
                  <a:lnTo>
                    <a:pt x="7" y="7"/>
                  </a:lnTo>
                  <a:lnTo>
                    <a:pt x="5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21" name="Freeform 249"/>
            <p:cNvSpPr>
              <a:spLocks/>
            </p:cNvSpPr>
            <p:nvPr/>
          </p:nvSpPr>
          <p:spPr bwMode="auto">
            <a:xfrm>
              <a:off x="4335" y="3277"/>
              <a:ext cx="11" cy="2"/>
            </a:xfrm>
            <a:custGeom>
              <a:avLst/>
              <a:gdLst>
                <a:gd name="T0" fmla="*/ 0 w 19"/>
                <a:gd name="T1" fmla="*/ 1 h 4"/>
                <a:gd name="T2" fmla="*/ 1 w 19"/>
                <a:gd name="T3" fmla="*/ 1 h 4"/>
                <a:gd name="T4" fmla="*/ 1 w 19"/>
                <a:gd name="T5" fmla="*/ 0 h 4"/>
                <a:gd name="T6" fmla="*/ 0 w 19"/>
                <a:gd name="T7" fmla="*/ 1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4"/>
                <a:gd name="T14" fmla="*/ 19 w 19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4">
                  <a:moveTo>
                    <a:pt x="0" y="4"/>
                  </a:moveTo>
                  <a:lnTo>
                    <a:pt x="19" y="2"/>
                  </a:lnTo>
                  <a:lnTo>
                    <a:pt x="4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22" name="Freeform 250"/>
            <p:cNvSpPr>
              <a:spLocks/>
            </p:cNvSpPr>
            <p:nvPr/>
          </p:nvSpPr>
          <p:spPr bwMode="auto">
            <a:xfrm>
              <a:off x="4722" y="3363"/>
              <a:ext cx="7" cy="7"/>
            </a:xfrm>
            <a:custGeom>
              <a:avLst/>
              <a:gdLst>
                <a:gd name="T0" fmla="*/ 0 w 12"/>
                <a:gd name="T1" fmla="*/ 1 h 14"/>
                <a:gd name="T2" fmla="*/ 1 w 12"/>
                <a:gd name="T3" fmla="*/ 1 h 14"/>
                <a:gd name="T4" fmla="*/ 1 w 12"/>
                <a:gd name="T5" fmla="*/ 0 h 14"/>
                <a:gd name="T6" fmla="*/ 0 w 12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14"/>
                <a:gd name="T14" fmla="*/ 12 w 12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14">
                  <a:moveTo>
                    <a:pt x="0" y="5"/>
                  </a:moveTo>
                  <a:lnTo>
                    <a:pt x="12" y="14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23" name="Freeform 251"/>
            <p:cNvSpPr>
              <a:spLocks/>
            </p:cNvSpPr>
            <p:nvPr/>
          </p:nvSpPr>
          <p:spPr bwMode="auto">
            <a:xfrm>
              <a:off x="4736" y="3383"/>
              <a:ext cx="6" cy="5"/>
            </a:xfrm>
            <a:custGeom>
              <a:avLst/>
              <a:gdLst>
                <a:gd name="T0" fmla="*/ 0 w 9"/>
                <a:gd name="T1" fmla="*/ 0 h 11"/>
                <a:gd name="T2" fmla="*/ 1 w 9"/>
                <a:gd name="T3" fmla="*/ 0 h 11"/>
                <a:gd name="T4" fmla="*/ 1 w 9"/>
                <a:gd name="T5" fmla="*/ 0 h 11"/>
                <a:gd name="T6" fmla="*/ 1 w 9"/>
                <a:gd name="T7" fmla="*/ 0 h 11"/>
                <a:gd name="T8" fmla="*/ 0 w 9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1"/>
                <a:gd name="T17" fmla="*/ 9 w 9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1">
                  <a:moveTo>
                    <a:pt x="0" y="0"/>
                  </a:moveTo>
                  <a:lnTo>
                    <a:pt x="4" y="11"/>
                  </a:lnTo>
                  <a:lnTo>
                    <a:pt x="9" y="9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24" name="Freeform 252"/>
            <p:cNvSpPr>
              <a:spLocks/>
            </p:cNvSpPr>
            <p:nvPr/>
          </p:nvSpPr>
          <p:spPr bwMode="auto">
            <a:xfrm>
              <a:off x="4568" y="3299"/>
              <a:ext cx="19" cy="30"/>
            </a:xfrm>
            <a:custGeom>
              <a:avLst/>
              <a:gdLst>
                <a:gd name="T0" fmla="*/ 0 w 31"/>
                <a:gd name="T1" fmla="*/ 1 h 57"/>
                <a:gd name="T2" fmla="*/ 1 w 31"/>
                <a:gd name="T3" fmla="*/ 1 h 57"/>
                <a:gd name="T4" fmla="*/ 1 w 31"/>
                <a:gd name="T5" fmla="*/ 1 h 57"/>
                <a:gd name="T6" fmla="*/ 1 w 31"/>
                <a:gd name="T7" fmla="*/ 1 h 57"/>
                <a:gd name="T8" fmla="*/ 1 w 31"/>
                <a:gd name="T9" fmla="*/ 1 h 57"/>
                <a:gd name="T10" fmla="*/ 1 w 31"/>
                <a:gd name="T11" fmla="*/ 0 h 57"/>
                <a:gd name="T12" fmla="*/ 0 w 31"/>
                <a:gd name="T13" fmla="*/ 1 h 5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1"/>
                <a:gd name="T22" fmla="*/ 0 h 57"/>
                <a:gd name="T23" fmla="*/ 31 w 31"/>
                <a:gd name="T24" fmla="*/ 57 h 5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1" h="57">
                  <a:moveTo>
                    <a:pt x="0" y="26"/>
                  </a:moveTo>
                  <a:lnTo>
                    <a:pt x="7" y="57"/>
                  </a:lnTo>
                  <a:lnTo>
                    <a:pt x="29" y="50"/>
                  </a:lnTo>
                  <a:lnTo>
                    <a:pt x="31" y="33"/>
                  </a:lnTo>
                  <a:lnTo>
                    <a:pt x="12" y="5"/>
                  </a:lnTo>
                  <a:lnTo>
                    <a:pt x="5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25" name="Freeform 253"/>
            <p:cNvSpPr>
              <a:spLocks/>
            </p:cNvSpPr>
            <p:nvPr/>
          </p:nvSpPr>
          <p:spPr bwMode="auto">
            <a:xfrm>
              <a:off x="4823" y="3218"/>
              <a:ext cx="21" cy="15"/>
            </a:xfrm>
            <a:custGeom>
              <a:avLst/>
              <a:gdLst>
                <a:gd name="T0" fmla="*/ 0 w 36"/>
                <a:gd name="T1" fmla="*/ 1 h 29"/>
                <a:gd name="T2" fmla="*/ 1 w 36"/>
                <a:gd name="T3" fmla="*/ 1 h 29"/>
                <a:gd name="T4" fmla="*/ 1 w 36"/>
                <a:gd name="T5" fmla="*/ 1 h 29"/>
                <a:gd name="T6" fmla="*/ 1 w 36"/>
                <a:gd name="T7" fmla="*/ 1 h 29"/>
                <a:gd name="T8" fmla="*/ 1 w 36"/>
                <a:gd name="T9" fmla="*/ 0 h 29"/>
                <a:gd name="T10" fmla="*/ 1 w 36"/>
                <a:gd name="T11" fmla="*/ 0 h 29"/>
                <a:gd name="T12" fmla="*/ 0 w 36"/>
                <a:gd name="T13" fmla="*/ 1 h 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"/>
                <a:gd name="T22" fmla="*/ 0 h 29"/>
                <a:gd name="T23" fmla="*/ 36 w 36"/>
                <a:gd name="T24" fmla="*/ 29 h 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" h="29">
                  <a:moveTo>
                    <a:pt x="0" y="10"/>
                  </a:moveTo>
                  <a:lnTo>
                    <a:pt x="3" y="24"/>
                  </a:lnTo>
                  <a:lnTo>
                    <a:pt x="17" y="29"/>
                  </a:lnTo>
                  <a:lnTo>
                    <a:pt x="29" y="19"/>
                  </a:lnTo>
                  <a:lnTo>
                    <a:pt x="36" y="0"/>
                  </a:lnTo>
                  <a:lnTo>
                    <a:pt x="14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26" name="Freeform 254"/>
            <p:cNvSpPr>
              <a:spLocks/>
            </p:cNvSpPr>
            <p:nvPr/>
          </p:nvSpPr>
          <p:spPr bwMode="auto">
            <a:xfrm>
              <a:off x="4925" y="3176"/>
              <a:ext cx="16" cy="25"/>
            </a:xfrm>
            <a:custGeom>
              <a:avLst/>
              <a:gdLst>
                <a:gd name="T0" fmla="*/ 0 w 26"/>
                <a:gd name="T1" fmla="*/ 1 h 47"/>
                <a:gd name="T2" fmla="*/ 1 w 26"/>
                <a:gd name="T3" fmla="*/ 1 h 47"/>
                <a:gd name="T4" fmla="*/ 1 w 26"/>
                <a:gd name="T5" fmla="*/ 1 h 47"/>
                <a:gd name="T6" fmla="*/ 1 w 26"/>
                <a:gd name="T7" fmla="*/ 0 h 47"/>
                <a:gd name="T8" fmla="*/ 1 w 26"/>
                <a:gd name="T9" fmla="*/ 0 h 47"/>
                <a:gd name="T10" fmla="*/ 0 w 26"/>
                <a:gd name="T11" fmla="*/ 1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"/>
                <a:gd name="T19" fmla="*/ 0 h 47"/>
                <a:gd name="T20" fmla="*/ 26 w 26"/>
                <a:gd name="T21" fmla="*/ 47 h 4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" h="47">
                  <a:moveTo>
                    <a:pt x="0" y="21"/>
                  </a:moveTo>
                  <a:lnTo>
                    <a:pt x="2" y="38"/>
                  </a:lnTo>
                  <a:lnTo>
                    <a:pt x="9" y="47"/>
                  </a:lnTo>
                  <a:lnTo>
                    <a:pt x="26" y="0"/>
                  </a:lnTo>
                  <a:lnTo>
                    <a:pt x="14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27" name="Freeform 255"/>
            <p:cNvSpPr>
              <a:spLocks/>
            </p:cNvSpPr>
            <p:nvPr/>
          </p:nvSpPr>
          <p:spPr bwMode="auto">
            <a:xfrm>
              <a:off x="5008" y="3098"/>
              <a:ext cx="21" cy="25"/>
            </a:xfrm>
            <a:custGeom>
              <a:avLst/>
              <a:gdLst>
                <a:gd name="T0" fmla="*/ 0 w 35"/>
                <a:gd name="T1" fmla="*/ 1 h 49"/>
                <a:gd name="T2" fmla="*/ 1 w 35"/>
                <a:gd name="T3" fmla="*/ 1 h 49"/>
                <a:gd name="T4" fmla="*/ 1 w 35"/>
                <a:gd name="T5" fmla="*/ 1 h 49"/>
                <a:gd name="T6" fmla="*/ 1 w 35"/>
                <a:gd name="T7" fmla="*/ 1 h 49"/>
                <a:gd name="T8" fmla="*/ 1 w 35"/>
                <a:gd name="T9" fmla="*/ 1 h 49"/>
                <a:gd name="T10" fmla="*/ 1 w 35"/>
                <a:gd name="T11" fmla="*/ 1 h 49"/>
                <a:gd name="T12" fmla="*/ 1 w 35"/>
                <a:gd name="T13" fmla="*/ 1 h 49"/>
                <a:gd name="T14" fmla="*/ 1 w 35"/>
                <a:gd name="T15" fmla="*/ 1 h 49"/>
                <a:gd name="T16" fmla="*/ 1 w 35"/>
                <a:gd name="T17" fmla="*/ 1 h 49"/>
                <a:gd name="T18" fmla="*/ 1 w 35"/>
                <a:gd name="T19" fmla="*/ 1 h 49"/>
                <a:gd name="T20" fmla="*/ 1 w 35"/>
                <a:gd name="T21" fmla="*/ 0 h 49"/>
                <a:gd name="T22" fmla="*/ 0 w 35"/>
                <a:gd name="T23" fmla="*/ 1 h 4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5"/>
                <a:gd name="T37" fmla="*/ 0 h 49"/>
                <a:gd name="T38" fmla="*/ 35 w 35"/>
                <a:gd name="T39" fmla="*/ 49 h 4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5" h="49">
                  <a:moveTo>
                    <a:pt x="0" y="9"/>
                  </a:moveTo>
                  <a:lnTo>
                    <a:pt x="5" y="19"/>
                  </a:lnTo>
                  <a:lnTo>
                    <a:pt x="9" y="19"/>
                  </a:lnTo>
                  <a:lnTo>
                    <a:pt x="12" y="14"/>
                  </a:lnTo>
                  <a:lnTo>
                    <a:pt x="14" y="19"/>
                  </a:lnTo>
                  <a:lnTo>
                    <a:pt x="9" y="47"/>
                  </a:lnTo>
                  <a:lnTo>
                    <a:pt x="19" y="49"/>
                  </a:lnTo>
                  <a:lnTo>
                    <a:pt x="28" y="42"/>
                  </a:lnTo>
                  <a:lnTo>
                    <a:pt x="35" y="19"/>
                  </a:lnTo>
                  <a:lnTo>
                    <a:pt x="31" y="4"/>
                  </a:lnTo>
                  <a:lnTo>
                    <a:pt x="14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28" name="Freeform 256"/>
            <p:cNvSpPr>
              <a:spLocks/>
            </p:cNvSpPr>
            <p:nvPr/>
          </p:nvSpPr>
          <p:spPr bwMode="auto">
            <a:xfrm>
              <a:off x="5031" y="3093"/>
              <a:ext cx="22" cy="14"/>
            </a:xfrm>
            <a:custGeom>
              <a:avLst/>
              <a:gdLst>
                <a:gd name="T0" fmla="*/ 0 w 36"/>
                <a:gd name="T1" fmla="*/ 1 h 26"/>
                <a:gd name="T2" fmla="*/ 1 w 36"/>
                <a:gd name="T3" fmla="*/ 1 h 26"/>
                <a:gd name="T4" fmla="*/ 1 w 36"/>
                <a:gd name="T5" fmla="*/ 1 h 26"/>
                <a:gd name="T6" fmla="*/ 1 w 36"/>
                <a:gd name="T7" fmla="*/ 1 h 26"/>
                <a:gd name="T8" fmla="*/ 1 w 36"/>
                <a:gd name="T9" fmla="*/ 1 h 26"/>
                <a:gd name="T10" fmla="*/ 1 w 36"/>
                <a:gd name="T11" fmla="*/ 1 h 26"/>
                <a:gd name="T12" fmla="*/ 1 w 36"/>
                <a:gd name="T13" fmla="*/ 1 h 26"/>
                <a:gd name="T14" fmla="*/ 1 w 36"/>
                <a:gd name="T15" fmla="*/ 1 h 26"/>
                <a:gd name="T16" fmla="*/ 1 w 36"/>
                <a:gd name="T17" fmla="*/ 0 h 26"/>
                <a:gd name="T18" fmla="*/ 0 w 36"/>
                <a:gd name="T19" fmla="*/ 1 h 2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26"/>
                <a:gd name="T32" fmla="*/ 36 w 36"/>
                <a:gd name="T33" fmla="*/ 26 h 2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26">
                  <a:moveTo>
                    <a:pt x="0" y="14"/>
                  </a:moveTo>
                  <a:lnTo>
                    <a:pt x="3" y="23"/>
                  </a:lnTo>
                  <a:lnTo>
                    <a:pt x="12" y="26"/>
                  </a:lnTo>
                  <a:lnTo>
                    <a:pt x="17" y="16"/>
                  </a:lnTo>
                  <a:lnTo>
                    <a:pt x="24" y="14"/>
                  </a:lnTo>
                  <a:lnTo>
                    <a:pt x="29" y="16"/>
                  </a:lnTo>
                  <a:lnTo>
                    <a:pt x="36" y="7"/>
                  </a:lnTo>
                  <a:lnTo>
                    <a:pt x="36" y="2"/>
                  </a:lnTo>
                  <a:lnTo>
                    <a:pt x="21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29" name="Freeform 257"/>
            <p:cNvSpPr>
              <a:spLocks/>
            </p:cNvSpPr>
            <p:nvPr/>
          </p:nvSpPr>
          <p:spPr bwMode="auto">
            <a:xfrm>
              <a:off x="5020" y="3022"/>
              <a:ext cx="97" cy="79"/>
            </a:xfrm>
            <a:custGeom>
              <a:avLst/>
              <a:gdLst>
                <a:gd name="T0" fmla="*/ 0 w 163"/>
                <a:gd name="T1" fmla="*/ 2 h 151"/>
                <a:gd name="T2" fmla="*/ 0 w 163"/>
                <a:gd name="T3" fmla="*/ 2 h 151"/>
                <a:gd name="T4" fmla="*/ 1 w 163"/>
                <a:gd name="T5" fmla="*/ 2 h 151"/>
                <a:gd name="T6" fmla="*/ 1 w 163"/>
                <a:gd name="T7" fmla="*/ 2 h 151"/>
                <a:gd name="T8" fmla="*/ 1 w 163"/>
                <a:gd name="T9" fmla="*/ 2 h 151"/>
                <a:gd name="T10" fmla="*/ 2 w 163"/>
                <a:gd name="T11" fmla="*/ 2 h 151"/>
                <a:gd name="T12" fmla="*/ 2 w 163"/>
                <a:gd name="T13" fmla="*/ 2 h 151"/>
                <a:gd name="T14" fmla="*/ 2 w 163"/>
                <a:gd name="T15" fmla="*/ 2 h 151"/>
                <a:gd name="T16" fmla="*/ 2 w 163"/>
                <a:gd name="T17" fmla="*/ 2 h 151"/>
                <a:gd name="T18" fmla="*/ 2 w 163"/>
                <a:gd name="T19" fmla="*/ 2 h 151"/>
                <a:gd name="T20" fmla="*/ 2 w 163"/>
                <a:gd name="T21" fmla="*/ 2 h 151"/>
                <a:gd name="T22" fmla="*/ 2 w 163"/>
                <a:gd name="T23" fmla="*/ 2 h 151"/>
                <a:gd name="T24" fmla="*/ 3 w 163"/>
                <a:gd name="T25" fmla="*/ 2 h 151"/>
                <a:gd name="T26" fmla="*/ 3 w 163"/>
                <a:gd name="T27" fmla="*/ 2 h 151"/>
                <a:gd name="T28" fmla="*/ 3 w 163"/>
                <a:gd name="T29" fmla="*/ 2 h 151"/>
                <a:gd name="T30" fmla="*/ 3 w 163"/>
                <a:gd name="T31" fmla="*/ 2 h 151"/>
                <a:gd name="T32" fmla="*/ 4 w 163"/>
                <a:gd name="T33" fmla="*/ 1 h 151"/>
                <a:gd name="T34" fmla="*/ 4 w 163"/>
                <a:gd name="T35" fmla="*/ 2 h 151"/>
                <a:gd name="T36" fmla="*/ 4 w 163"/>
                <a:gd name="T37" fmla="*/ 2 h 151"/>
                <a:gd name="T38" fmla="*/ 4 w 163"/>
                <a:gd name="T39" fmla="*/ 1 h 151"/>
                <a:gd name="T40" fmla="*/ 4 w 163"/>
                <a:gd name="T41" fmla="*/ 1 h 151"/>
                <a:gd name="T42" fmla="*/ 4 w 163"/>
                <a:gd name="T43" fmla="*/ 1 h 151"/>
                <a:gd name="T44" fmla="*/ 4 w 163"/>
                <a:gd name="T45" fmla="*/ 1 h 151"/>
                <a:gd name="T46" fmla="*/ 4 w 163"/>
                <a:gd name="T47" fmla="*/ 1 h 151"/>
                <a:gd name="T48" fmla="*/ 4 w 163"/>
                <a:gd name="T49" fmla="*/ 0 h 151"/>
                <a:gd name="T50" fmla="*/ 4 w 163"/>
                <a:gd name="T51" fmla="*/ 1 h 151"/>
                <a:gd name="T52" fmla="*/ 4 w 163"/>
                <a:gd name="T53" fmla="*/ 1 h 151"/>
                <a:gd name="T54" fmla="*/ 4 w 163"/>
                <a:gd name="T55" fmla="*/ 1 h 151"/>
                <a:gd name="T56" fmla="*/ 3 w 163"/>
                <a:gd name="T57" fmla="*/ 1 h 151"/>
                <a:gd name="T58" fmla="*/ 2 w 163"/>
                <a:gd name="T59" fmla="*/ 1 h 151"/>
                <a:gd name="T60" fmla="*/ 2 w 163"/>
                <a:gd name="T61" fmla="*/ 1 h 151"/>
                <a:gd name="T62" fmla="*/ 2 w 163"/>
                <a:gd name="T63" fmla="*/ 1 h 151"/>
                <a:gd name="T64" fmla="*/ 2 w 163"/>
                <a:gd name="T65" fmla="*/ 1 h 151"/>
                <a:gd name="T66" fmla="*/ 2 w 163"/>
                <a:gd name="T67" fmla="*/ 1 h 151"/>
                <a:gd name="T68" fmla="*/ 1 w 163"/>
                <a:gd name="T69" fmla="*/ 1 h 151"/>
                <a:gd name="T70" fmla="*/ 0 w 163"/>
                <a:gd name="T71" fmla="*/ 2 h 15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63"/>
                <a:gd name="T109" fmla="*/ 0 h 151"/>
                <a:gd name="T110" fmla="*/ 163 w 163"/>
                <a:gd name="T111" fmla="*/ 151 h 15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63" h="151">
                  <a:moveTo>
                    <a:pt x="0" y="134"/>
                  </a:moveTo>
                  <a:lnTo>
                    <a:pt x="0" y="144"/>
                  </a:lnTo>
                  <a:lnTo>
                    <a:pt x="17" y="144"/>
                  </a:lnTo>
                  <a:lnTo>
                    <a:pt x="22" y="137"/>
                  </a:lnTo>
                  <a:lnTo>
                    <a:pt x="52" y="125"/>
                  </a:lnTo>
                  <a:lnTo>
                    <a:pt x="69" y="127"/>
                  </a:lnTo>
                  <a:lnTo>
                    <a:pt x="64" y="144"/>
                  </a:lnTo>
                  <a:lnTo>
                    <a:pt x="71" y="151"/>
                  </a:lnTo>
                  <a:lnTo>
                    <a:pt x="88" y="134"/>
                  </a:lnTo>
                  <a:lnTo>
                    <a:pt x="83" y="130"/>
                  </a:lnTo>
                  <a:lnTo>
                    <a:pt x="88" y="122"/>
                  </a:lnTo>
                  <a:lnTo>
                    <a:pt x="95" y="130"/>
                  </a:lnTo>
                  <a:lnTo>
                    <a:pt x="107" y="130"/>
                  </a:lnTo>
                  <a:lnTo>
                    <a:pt x="116" y="122"/>
                  </a:lnTo>
                  <a:lnTo>
                    <a:pt x="118" y="130"/>
                  </a:lnTo>
                  <a:lnTo>
                    <a:pt x="121" y="118"/>
                  </a:lnTo>
                  <a:lnTo>
                    <a:pt x="133" y="115"/>
                  </a:lnTo>
                  <a:lnTo>
                    <a:pt x="130" y="125"/>
                  </a:lnTo>
                  <a:lnTo>
                    <a:pt x="140" y="120"/>
                  </a:lnTo>
                  <a:lnTo>
                    <a:pt x="147" y="111"/>
                  </a:lnTo>
                  <a:lnTo>
                    <a:pt x="149" y="66"/>
                  </a:lnTo>
                  <a:lnTo>
                    <a:pt x="159" y="61"/>
                  </a:lnTo>
                  <a:lnTo>
                    <a:pt x="163" y="47"/>
                  </a:lnTo>
                  <a:lnTo>
                    <a:pt x="156" y="4"/>
                  </a:lnTo>
                  <a:lnTo>
                    <a:pt x="147" y="0"/>
                  </a:lnTo>
                  <a:lnTo>
                    <a:pt x="151" y="11"/>
                  </a:lnTo>
                  <a:lnTo>
                    <a:pt x="140" y="7"/>
                  </a:lnTo>
                  <a:lnTo>
                    <a:pt x="133" y="49"/>
                  </a:lnTo>
                  <a:lnTo>
                    <a:pt x="114" y="78"/>
                  </a:lnTo>
                  <a:lnTo>
                    <a:pt x="90" y="92"/>
                  </a:lnTo>
                  <a:lnTo>
                    <a:pt x="92" y="78"/>
                  </a:lnTo>
                  <a:lnTo>
                    <a:pt x="88" y="82"/>
                  </a:lnTo>
                  <a:lnTo>
                    <a:pt x="71" y="115"/>
                  </a:lnTo>
                  <a:lnTo>
                    <a:pt x="64" y="111"/>
                  </a:lnTo>
                  <a:lnTo>
                    <a:pt x="26" y="115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30" name="Freeform 258"/>
            <p:cNvSpPr>
              <a:spLocks/>
            </p:cNvSpPr>
            <p:nvPr/>
          </p:nvSpPr>
          <p:spPr bwMode="auto">
            <a:xfrm>
              <a:off x="5099" y="2979"/>
              <a:ext cx="53" cy="45"/>
            </a:xfrm>
            <a:custGeom>
              <a:avLst/>
              <a:gdLst>
                <a:gd name="T0" fmla="*/ 0 w 89"/>
                <a:gd name="T1" fmla="*/ 1 h 85"/>
                <a:gd name="T2" fmla="*/ 1 w 89"/>
                <a:gd name="T3" fmla="*/ 1 h 85"/>
                <a:gd name="T4" fmla="*/ 1 w 89"/>
                <a:gd name="T5" fmla="*/ 1 h 85"/>
                <a:gd name="T6" fmla="*/ 1 w 89"/>
                <a:gd name="T7" fmla="*/ 1 h 85"/>
                <a:gd name="T8" fmla="*/ 1 w 89"/>
                <a:gd name="T9" fmla="*/ 1 h 85"/>
                <a:gd name="T10" fmla="*/ 1 w 89"/>
                <a:gd name="T11" fmla="*/ 1 h 85"/>
                <a:gd name="T12" fmla="*/ 1 w 89"/>
                <a:gd name="T13" fmla="*/ 1 h 85"/>
                <a:gd name="T14" fmla="*/ 1 w 89"/>
                <a:gd name="T15" fmla="*/ 1 h 85"/>
                <a:gd name="T16" fmla="*/ 2 w 89"/>
                <a:gd name="T17" fmla="*/ 1 h 85"/>
                <a:gd name="T18" fmla="*/ 2 w 89"/>
                <a:gd name="T19" fmla="*/ 1 h 85"/>
                <a:gd name="T20" fmla="*/ 2 w 89"/>
                <a:gd name="T21" fmla="*/ 1 h 85"/>
                <a:gd name="T22" fmla="*/ 2 w 89"/>
                <a:gd name="T23" fmla="*/ 1 h 85"/>
                <a:gd name="T24" fmla="*/ 2 w 89"/>
                <a:gd name="T25" fmla="*/ 1 h 85"/>
                <a:gd name="T26" fmla="*/ 2 w 89"/>
                <a:gd name="T27" fmla="*/ 1 h 85"/>
                <a:gd name="T28" fmla="*/ 2 w 89"/>
                <a:gd name="T29" fmla="*/ 1 h 85"/>
                <a:gd name="T30" fmla="*/ 1 w 89"/>
                <a:gd name="T31" fmla="*/ 1 h 85"/>
                <a:gd name="T32" fmla="*/ 1 w 89"/>
                <a:gd name="T33" fmla="*/ 0 h 85"/>
                <a:gd name="T34" fmla="*/ 1 w 89"/>
                <a:gd name="T35" fmla="*/ 1 h 85"/>
                <a:gd name="T36" fmla="*/ 1 w 89"/>
                <a:gd name="T37" fmla="*/ 1 h 85"/>
                <a:gd name="T38" fmla="*/ 1 w 89"/>
                <a:gd name="T39" fmla="*/ 1 h 85"/>
                <a:gd name="T40" fmla="*/ 1 w 89"/>
                <a:gd name="T41" fmla="*/ 1 h 85"/>
                <a:gd name="T42" fmla="*/ 1 w 89"/>
                <a:gd name="T43" fmla="*/ 1 h 85"/>
                <a:gd name="T44" fmla="*/ 0 w 89"/>
                <a:gd name="T45" fmla="*/ 1 h 8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9"/>
                <a:gd name="T70" fmla="*/ 0 h 85"/>
                <a:gd name="T71" fmla="*/ 89 w 89"/>
                <a:gd name="T72" fmla="*/ 85 h 8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9" h="85">
                  <a:moveTo>
                    <a:pt x="0" y="61"/>
                  </a:moveTo>
                  <a:lnTo>
                    <a:pt x="2" y="85"/>
                  </a:lnTo>
                  <a:lnTo>
                    <a:pt x="18" y="76"/>
                  </a:lnTo>
                  <a:lnTo>
                    <a:pt x="7" y="68"/>
                  </a:lnTo>
                  <a:lnTo>
                    <a:pt x="7" y="64"/>
                  </a:lnTo>
                  <a:lnTo>
                    <a:pt x="16" y="66"/>
                  </a:lnTo>
                  <a:lnTo>
                    <a:pt x="30" y="61"/>
                  </a:lnTo>
                  <a:lnTo>
                    <a:pt x="52" y="73"/>
                  </a:lnTo>
                  <a:lnTo>
                    <a:pt x="63" y="52"/>
                  </a:lnTo>
                  <a:lnTo>
                    <a:pt x="73" y="54"/>
                  </a:lnTo>
                  <a:lnTo>
                    <a:pt x="89" y="45"/>
                  </a:lnTo>
                  <a:lnTo>
                    <a:pt x="80" y="47"/>
                  </a:lnTo>
                  <a:lnTo>
                    <a:pt x="78" y="38"/>
                  </a:lnTo>
                  <a:lnTo>
                    <a:pt x="82" y="28"/>
                  </a:lnTo>
                  <a:lnTo>
                    <a:pt x="73" y="33"/>
                  </a:lnTo>
                  <a:lnTo>
                    <a:pt x="56" y="28"/>
                  </a:lnTo>
                  <a:lnTo>
                    <a:pt x="30" y="0"/>
                  </a:lnTo>
                  <a:lnTo>
                    <a:pt x="26" y="7"/>
                  </a:lnTo>
                  <a:lnTo>
                    <a:pt x="28" y="16"/>
                  </a:lnTo>
                  <a:lnTo>
                    <a:pt x="21" y="50"/>
                  </a:lnTo>
                  <a:lnTo>
                    <a:pt x="7" y="47"/>
                  </a:lnTo>
                  <a:lnTo>
                    <a:pt x="9" y="54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31" name="Freeform 259"/>
            <p:cNvSpPr>
              <a:spLocks/>
            </p:cNvSpPr>
            <p:nvPr/>
          </p:nvSpPr>
          <p:spPr bwMode="auto">
            <a:xfrm>
              <a:off x="5162" y="2979"/>
              <a:ext cx="16" cy="13"/>
            </a:xfrm>
            <a:custGeom>
              <a:avLst/>
              <a:gdLst>
                <a:gd name="T0" fmla="*/ 0 w 28"/>
                <a:gd name="T1" fmla="*/ 1 h 24"/>
                <a:gd name="T2" fmla="*/ 1 w 28"/>
                <a:gd name="T3" fmla="*/ 0 h 24"/>
                <a:gd name="T4" fmla="*/ 1 w 28"/>
                <a:gd name="T5" fmla="*/ 1 h 24"/>
                <a:gd name="T6" fmla="*/ 0 w 28"/>
                <a:gd name="T7" fmla="*/ 1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8"/>
                <a:gd name="T13" fmla="*/ 0 h 24"/>
                <a:gd name="T14" fmla="*/ 28 w 28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8" h="24">
                  <a:moveTo>
                    <a:pt x="0" y="24"/>
                  </a:moveTo>
                  <a:lnTo>
                    <a:pt x="28" y="0"/>
                  </a:lnTo>
                  <a:lnTo>
                    <a:pt x="14" y="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32" name="Freeform 260"/>
            <p:cNvSpPr>
              <a:spLocks/>
            </p:cNvSpPr>
            <p:nvPr/>
          </p:nvSpPr>
          <p:spPr bwMode="auto">
            <a:xfrm>
              <a:off x="5235" y="2919"/>
              <a:ext cx="8" cy="9"/>
            </a:xfrm>
            <a:custGeom>
              <a:avLst/>
              <a:gdLst>
                <a:gd name="T0" fmla="*/ 0 w 14"/>
                <a:gd name="T1" fmla="*/ 1 h 17"/>
                <a:gd name="T2" fmla="*/ 0 w 14"/>
                <a:gd name="T3" fmla="*/ 1 h 17"/>
                <a:gd name="T4" fmla="*/ 1 w 14"/>
                <a:gd name="T5" fmla="*/ 1 h 17"/>
                <a:gd name="T6" fmla="*/ 1 w 14"/>
                <a:gd name="T7" fmla="*/ 0 h 17"/>
                <a:gd name="T8" fmla="*/ 0 w 14"/>
                <a:gd name="T9" fmla="*/ 1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17"/>
                <a:gd name="T17" fmla="*/ 14 w 14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17">
                  <a:moveTo>
                    <a:pt x="0" y="12"/>
                  </a:moveTo>
                  <a:lnTo>
                    <a:pt x="0" y="17"/>
                  </a:lnTo>
                  <a:lnTo>
                    <a:pt x="9" y="12"/>
                  </a:lnTo>
                  <a:lnTo>
                    <a:pt x="14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33" name="Freeform 261"/>
            <p:cNvSpPr>
              <a:spLocks/>
            </p:cNvSpPr>
            <p:nvPr/>
          </p:nvSpPr>
          <p:spPr bwMode="auto">
            <a:xfrm>
              <a:off x="5481" y="2904"/>
              <a:ext cx="5" cy="4"/>
            </a:xfrm>
            <a:custGeom>
              <a:avLst/>
              <a:gdLst>
                <a:gd name="T0" fmla="*/ 0 w 10"/>
                <a:gd name="T1" fmla="*/ 1 h 7"/>
                <a:gd name="T2" fmla="*/ 1 w 10"/>
                <a:gd name="T3" fmla="*/ 1 h 7"/>
                <a:gd name="T4" fmla="*/ 1 w 10"/>
                <a:gd name="T5" fmla="*/ 0 h 7"/>
                <a:gd name="T6" fmla="*/ 0 w 10"/>
                <a:gd name="T7" fmla="*/ 1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7"/>
                <a:gd name="T14" fmla="*/ 10 w 10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7">
                  <a:moveTo>
                    <a:pt x="0" y="7"/>
                  </a:moveTo>
                  <a:lnTo>
                    <a:pt x="10" y="5"/>
                  </a:lnTo>
                  <a:lnTo>
                    <a:pt x="3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34" name="Freeform 262"/>
            <p:cNvSpPr>
              <a:spLocks/>
            </p:cNvSpPr>
            <p:nvPr/>
          </p:nvSpPr>
          <p:spPr bwMode="auto">
            <a:xfrm>
              <a:off x="5077" y="2863"/>
              <a:ext cx="7" cy="7"/>
            </a:xfrm>
            <a:custGeom>
              <a:avLst/>
              <a:gdLst>
                <a:gd name="T0" fmla="*/ 0 w 12"/>
                <a:gd name="T1" fmla="*/ 1 h 14"/>
                <a:gd name="T2" fmla="*/ 1 w 12"/>
                <a:gd name="T3" fmla="*/ 1 h 14"/>
                <a:gd name="T4" fmla="*/ 1 w 12"/>
                <a:gd name="T5" fmla="*/ 1 h 14"/>
                <a:gd name="T6" fmla="*/ 1 w 12"/>
                <a:gd name="T7" fmla="*/ 0 h 14"/>
                <a:gd name="T8" fmla="*/ 0 w 12"/>
                <a:gd name="T9" fmla="*/ 1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14"/>
                <a:gd name="T17" fmla="*/ 12 w 12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14">
                  <a:moveTo>
                    <a:pt x="0" y="7"/>
                  </a:moveTo>
                  <a:lnTo>
                    <a:pt x="5" y="14"/>
                  </a:lnTo>
                  <a:lnTo>
                    <a:pt x="12" y="4"/>
                  </a:lnTo>
                  <a:lnTo>
                    <a:pt x="2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35" name="Freeform 263"/>
            <p:cNvSpPr>
              <a:spLocks/>
            </p:cNvSpPr>
            <p:nvPr/>
          </p:nvSpPr>
          <p:spPr bwMode="auto">
            <a:xfrm>
              <a:off x="5308" y="2804"/>
              <a:ext cx="8" cy="10"/>
            </a:xfrm>
            <a:custGeom>
              <a:avLst/>
              <a:gdLst>
                <a:gd name="T0" fmla="*/ 0 w 14"/>
                <a:gd name="T1" fmla="*/ 1 h 18"/>
                <a:gd name="T2" fmla="*/ 1 w 14"/>
                <a:gd name="T3" fmla="*/ 1 h 18"/>
                <a:gd name="T4" fmla="*/ 1 w 14"/>
                <a:gd name="T5" fmla="*/ 0 h 18"/>
                <a:gd name="T6" fmla="*/ 1 w 14"/>
                <a:gd name="T7" fmla="*/ 1 h 18"/>
                <a:gd name="T8" fmla="*/ 0 w 14"/>
                <a:gd name="T9" fmla="*/ 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18"/>
                <a:gd name="T17" fmla="*/ 14 w 14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18">
                  <a:moveTo>
                    <a:pt x="0" y="18"/>
                  </a:moveTo>
                  <a:lnTo>
                    <a:pt x="14" y="7"/>
                  </a:lnTo>
                  <a:lnTo>
                    <a:pt x="11" y="0"/>
                  </a:lnTo>
                  <a:lnTo>
                    <a:pt x="4" y="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36" name="Freeform 264"/>
            <p:cNvSpPr>
              <a:spLocks/>
            </p:cNvSpPr>
            <p:nvPr/>
          </p:nvSpPr>
          <p:spPr bwMode="auto">
            <a:xfrm>
              <a:off x="5116" y="2873"/>
              <a:ext cx="23" cy="103"/>
            </a:xfrm>
            <a:custGeom>
              <a:avLst/>
              <a:gdLst>
                <a:gd name="T0" fmla="*/ 0 w 40"/>
                <a:gd name="T1" fmla="*/ 1 h 196"/>
                <a:gd name="T2" fmla="*/ 0 w 40"/>
                <a:gd name="T3" fmla="*/ 1 h 196"/>
                <a:gd name="T4" fmla="*/ 1 w 40"/>
                <a:gd name="T5" fmla="*/ 1 h 196"/>
                <a:gd name="T6" fmla="*/ 1 w 40"/>
                <a:gd name="T7" fmla="*/ 2 h 196"/>
                <a:gd name="T8" fmla="*/ 1 w 40"/>
                <a:gd name="T9" fmla="*/ 2 h 196"/>
                <a:gd name="T10" fmla="*/ 0 w 40"/>
                <a:gd name="T11" fmla="*/ 2 h 196"/>
                <a:gd name="T12" fmla="*/ 1 w 40"/>
                <a:gd name="T13" fmla="*/ 2 h 196"/>
                <a:gd name="T14" fmla="*/ 1 w 40"/>
                <a:gd name="T15" fmla="*/ 2 h 196"/>
                <a:gd name="T16" fmla="*/ 1 w 40"/>
                <a:gd name="T17" fmla="*/ 2 h 196"/>
                <a:gd name="T18" fmla="*/ 1 w 40"/>
                <a:gd name="T19" fmla="*/ 2 h 196"/>
                <a:gd name="T20" fmla="*/ 1 w 40"/>
                <a:gd name="T21" fmla="*/ 2 h 196"/>
                <a:gd name="T22" fmla="*/ 1 w 40"/>
                <a:gd name="T23" fmla="*/ 2 h 196"/>
                <a:gd name="T24" fmla="*/ 1 w 40"/>
                <a:gd name="T25" fmla="*/ 2 h 196"/>
                <a:gd name="T26" fmla="*/ 1 w 40"/>
                <a:gd name="T27" fmla="*/ 2 h 196"/>
                <a:gd name="T28" fmla="*/ 1 w 40"/>
                <a:gd name="T29" fmla="*/ 1 h 196"/>
                <a:gd name="T30" fmla="*/ 1 w 40"/>
                <a:gd name="T31" fmla="*/ 1 h 196"/>
                <a:gd name="T32" fmla="*/ 1 w 40"/>
                <a:gd name="T33" fmla="*/ 0 h 196"/>
                <a:gd name="T34" fmla="*/ 1 w 40"/>
                <a:gd name="T35" fmla="*/ 1 h 196"/>
                <a:gd name="T36" fmla="*/ 1 w 40"/>
                <a:gd name="T37" fmla="*/ 1 h 196"/>
                <a:gd name="T38" fmla="*/ 0 w 40"/>
                <a:gd name="T39" fmla="*/ 1 h 19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0"/>
                <a:gd name="T61" fmla="*/ 0 h 196"/>
                <a:gd name="T62" fmla="*/ 40 w 40"/>
                <a:gd name="T63" fmla="*/ 196 h 19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0" h="196">
                  <a:moveTo>
                    <a:pt x="0" y="23"/>
                  </a:moveTo>
                  <a:lnTo>
                    <a:pt x="0" y="64"/>
                  </a:lnTo>
                  <a:lnTo>
                    <a:pt x="5" y="80"/>
                  </a:lnTo>
                  <a:lnTo>
                    <a:pt x="2" y="132"/>
                  </a:lnTo>
                  <a:lnTo>
                    <a:pt x="7" y="151"/>
                  </a:lnTo>
                  <a:lnTo>
                    <a:pt x="0" y="182"/>
                  </a:lnTo>
                  <a:lnTo>
                    <a:pt x="5" y="196"/>
                  </a:lnTo>
                  <a:lnTo>
                    <a:pt x="12" y="179"/>
                  </a:lnTo>
                  <a:lnTo>
                    <a:pt x="26" y="189"/>
                  </a:lnTo>
                  <a:lnTo>
                    <a:pt x="26" y="177"/>
                  </a:lnTo>
                  <a:lnTo>
                    <a:pt x="12" y="153"/>
                  </a:lnTo>
                  <a:lnTo>
                    <a:pt x="16" y="125"/>
                  </a:lnTo>
                  <a:lnTo>
                    <a:pt x="31" y="120"/>
                  </a:lnTo>
                  <a:lnTo>
                    <a:pt x="40" y="125"/>
                  </a:lnTo>
                  <a:lnTo>
                    <a:pt x="21" y="57"/>
                  </a:lnTo>
                  <a:lnTo>
                    <a:pt x="16" y="9"/>
                  </a:lnTo>
                  <a:lnTo>
                    <a:pt x="14" y="0"/>
                  </a:lnTo>
                  <a:lnTo>
                    <a:pt x="7" y="2"/>
                  </a:lnTo>
                  <a:lnTo>
                    <a:pt x="12" y="12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37" name="Freeform 265"/>
            <p:cNvSpPr>
              <a:spLocks/>
            </p:cNvSpPr>
            <p:nvPr/>
          </p:nvSpPr>
          <p:spPr bwMode="auto">
            <a:xfrm>
              <a:off x="5441" y="2571"/>
              <a:ext cx="35" cy="16"/>
            </a:xfrm>
            <a:custGeom>
              <a:avLst/>
              <a:gdLst>
                <a:gd name="T0" fmla="*/ 1 w 59"/>
                <a:gd name="T1" fmla="*/ 1 h 30"/>
                <a:gd name="T2" fmla="*/ 1 w 59"/>
                <a:gd name="T3" fmla="*/ 1 h 30"/>
                <a:gd name="T4" fmla="*/ 1 w 59"/>
                <a:gd name="T5" fmla="*/ 1 h 30"/>
                <a:gd name="T6" fmla="*/ 1 w 59"/>
                <a:gd name="T7" fmla="*/ 0 h 30"/>
                <a:gd name="T8" fmla="*/ 1 w 59"/>
                <a:gd name="T9" fmla="*/ 0 h 30"/>
                <a:gd name="T10" fmla="*/ 0 w 59"/>
                <a:gd name="T11" fmla="*/ 1 h 30"/>
                <a:gd name="T12" fmla="*/ 1 w 59"/>
                <a:gd name="T13" fmla="*/ 1 h 30"/>
                <a:gd name="T14" fmla="*/ 1 w 59"/>
                <a:gd name="T15" fmla="*/ 1 h 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9"/>
                <a:gd name="T25" fmla="*/ 0 h 30"/>
                <a:gd name="T26" fmla="*/ 59 w 59"/>
                <a:gd name="T27" fmla="*/ 30 h 3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9" h="30">
                  <a:moveTo>
                    <a:pt x="19" y="23"/>
                  </a:moveTo>
                  <a:lnTo>
                    <a:pt x="33" y="28"/>
                  </a:lnTo>
                  <a:lnTo>
                    <a:pt x="59" y="16"/>
                  </a:lnTo>
                  <a:lnTo>
                    <a:pt x="48" y="0"/>
                  </a:lnTo>
                  <a:lnTo>
                    <a:pt x="19" y="0"/>
                  </a:lnTo>
                  <a:lnTo>
                    <a:pt x="0" y="19"/>
                  </a:lnTo>
                  <a:lnTo>
                    <a:pt x="3" y="30"/>
                  </a:lnTo>
                  <a:lnTo>
                    <a:pt x="19" y="23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38" name="Freeform 266"/>
            <p:cNvSpPr>
              <a:spLocks/>
            </p:cNvSpPr>
            <p:nvPr/>
          </p:nvSpPr>
          <p:spPr bwMode="auto">
            <a:xfrm>
              <a:off x="5106" y="2508"/>
              <a:ext cx="25" cy="20"/>
            </a:xfrm>
            <a:custGeom>
              <a:avLst/>
              <a:gdLst>
                <a:gd name="T0" fmla="*/ 0 w 43"/>
                <a:gd name="T1" fmla="*/ 1 h 40"/>
                <a:gd name="T2" fmla="*/ 1 w 43"/>
                <a:gd name="T3" fmla="*/ 1 h 40"/>
                <a:gd name="T4" fmla="*/ 1 w 43"/>
                <a:gd name="T5" fmla="*/ 1 h 40"/>
                <a:gd name="T6" fmla="*/ 1 w 43"/>
                <a:gd name="T7" fmla="*/ 1 h 40"/>
                <a:gd name="T8" fmla="*/ 1 w 43"/>
                <a:gd name="T9" fmla="*/ 0 h 40"/>
                <a:gd name="T10" fmla="*/ 1 w 43"/>
                <a:gd name="T11" fmla="*/ 1 h 40"/>
                <a:gd name="T12" fmla="*/ 0 w 43"/>
                <a:gd name="T13" fmla="*/ 1 h 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3"/>
                <a:gd name="T22" fmla="*/ 0 h 40"/>
                <a:gd name="T23" fmla="*/ 43 w 43"/>
                <a:gd name="T24" fmla="*/ 40 h 4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3" h="40">
                  <a:moveTo>
                    <a:pt x="0" y="22"/>
                  </a:moveTo>
                  <a:lnTo>
                    <a:pt x="15" y="36"/>
                  </a:lnTo>
                  <a:lnTo>
                    <a:pt x="43" y="40"/>
                  </a:lnTo>
                  <a:lnTo>
                    <a:pt x="43" y="22"/>
                  </a:lnTo>
                  <a:lnTo>
                    <a:pt x="24" y="0"/>
                  </a:lnTo>
                  <a:lnTo>
                    <a:pt x="5" y="3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39" name="Freeform 267"/>
            <p:cNvSpPr>
              <a:spLocks/>
            </p:cNvSpPr>
            <p:nvPr/>
          </p:nvSpPr>
          <p:spPr bwMode="auto">
            <a:xfrm>
              <a:off x="5101" y="2498"/>
              <a:ext cx="7" cy="10"/>
            </a:xfrm>
            <a:custGeom>
              <a:avLst/>
              <a:gdLst>
                <a:gd name="T0" fmla="*/ 0 w 12"/>
                <a:gd name="T1" fmla="*/ 0 h 19"/>
                <a:gd name="T2" fmla="*/ 1 w 12"/>
                <a:gd name="T3" fmla="*/ 1 h 19"/>
                <a:gd name="T4" fmla="*/ 1 w 12"/>
                <a:gd name="T5" fmla="*/ 1 h 19"/>
                <a:gd name="T6" fmla="*/ 1 w 12"/>
                <a:gd name="T7" fmla="*/ 0 h 19"/>
                <a:gd name="T8" fmla="*/ 0 w 12"/>
                <a:gd name="T9" fmla="*/ 0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19"/>
                <a:gd name="T17" fmla="*/ 12 w 12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19">
                  <a:moveTo>
                    <a:pt x="0" y="0"/>
                  </a:moveTo>
                  <a:lnTo>
                    <a:pt x="3" y="19"/>
                  </a:lnTo>
                  <a:lnTo>
                    <a:pt x="12" y="15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40" name="Freeform 268"/>
            <p:cNvSpPr>
              <a:spLocks/>
            </p:cNvSpPr>
            <p:nvPr/>
          </p:nvSpPr>
          <p:spPr bwMode="auto">
            <a:xfrm>
              <a:off x="5158" y="2459"/>
              <a:ext cx="40" cy="24"/>
            </a:xfrm>
            <a:custGeom>
              <a:avLst/>
              <a:gdLst>
                <a:gd name="T0" fmla="*/ 0 w 68"/>
                <a:gd name="T1" fmla="*/ 0 h 47"/>
                <a:gd name="T2" fmla="*/ 1 w 68"/>
                <a:gd name="T3" fmla="*/ 1 h 47"/>
                <a:gd name="T4" fmla="*/ 1 w 68"/>
                <a:gd name="T5" fmla="*/ 1 h 47"/>
                <a:gd name="T6" fmla="*/ 1 w 68"/>
                <a:gd name="T7" fmla="*/ 1 h 47"/>
                <a:gd name="T8" fmla="*/ 2 w 68"/>
                <a:gd name="T9" fmla="*/ 1 h 47"/>
                <a:gd name="T10" fmla="*/ 1 w 68"/>
                <a:gd name="T11" fmla="*/ 1 h 47"/>
                <a:gd name="T12" fmla="*/ 0 w 68"/>
                <a:gd name="T13" fmla="*/ 0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8"/>
                <a:gd name="T22" fmla="*/ 0 h 47"/>
                <a:gd name="T23" fmla="*/ 68 w 68"/>
                <a:gd name="T24" fmla="*/ 47 h 4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8" h="47">
                  <a:moveTo>
                    <a:pt x="0" y="0"/>
                  </a:moveTo>
                  <a:lnTo>
                    <a:pt x="12" y="28"/>
                  </a:lnTo>
                  <a:lnTo>
                    <a:pt x="40" y="47"/>
                  </a:lnTo>
                  <a:lnTo>
                    <a:pt x="59" y="47"/>
                  </a:lnTo>
                  <a:lnTo>
                    <a:pt x="68" y="23"/>
                  </a:lnTo>
                  <a:lnTo>
                    <a:pt x="12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41" name="Freeform 269"/>
            <p:cNvSpPr>
              <a:spLocks/>
            </p:cNvSpPr>
            <p:nvPr/>
          </p:nvSpPr>
          <p:spPr bwMode="auto">
            <a:xfrm>
              <a:off x="5075" y="2440"/>
              <a:ext cx="70" cy="46"/>
            </a:xfrm>
            <a:custGeom>
              <a:avLst/>
              <a:gdLst>
                <a:gd name="T0" fmla="*/ 0 w 119"/>
                <a:gd name="T1" fmla="*/ 1 h 88"/>
                <a:gd name="T2" fmla="*/ 1 w 119"/>
                <a:gd name="T3" fmla="*/ 1 h 88"/>
                <a:gd name="T4" fmla="*/ 1 w 119"/>
                <a:gd name="T5" fmla="*/ 1 h 88"/>
                <a:gd name="T6" fmla="*/ 2 w 119"/>
                <a:gd name="T7" fmla="*/ 1 h 88"/>
                <a:gd name="T8" fmla="*/ 2 w 119"/>
                <a:gd name="T9" fmla="*/ 1 h 88"/>
                <a:gd name="T10" fmla="*/ 3 w 119"/>
                <a:gd name="T11" fmla="*/ 1 h 88"/>
                <a:gd name="T12" fmla="*/ 3 w 119"/>
                <a:gd name="T13" fmla="*/ 1 h 88"/>
                <a:gd name="T14" fmla="*/ 2 w 119"/>
                <a:gd name="T15" fmla="*/ 1 h 88"/>
                <a:gd name="T16" fmla="*/ 2 w 119"/>
                <a:gd name="T17" fmla="*/ 1 h 88"/>
                <a:gd name="T18" fmla="*/ 2 w 119"/>
                <a:gd name="T19" fmla="*/ 0 h 88"/>
                <a:gd name="T20" fmla="*/ 1 w 119"/>
                <a:gd name="T21" fmla="*/ 1 h 88"/>
                <a:gd name="T22" fmla="*/ 1 w 119"/>
                <a:gd name="T23" fmla="*/ 0 h 88"/>
                <a:gd name="T24" fmla="*/ 1 w 119"/>
                <a:gd name="T25" fmla="*/ 1 h 88"/>
                <a:gd name="T26" fmla="*/ 0 w 119"/>
                <a:gd name="T27" fmla="*/ 1 h 8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19"/>
                <a:gd name="T43" fmla="*/ 0 h 88"/>
                <a:gd name="T44" fmla="*/ 119 w 119"/>
                <a:gd name="T45" fmla="*/ 88 h 8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19" h="88">
                  <a:moveTo>
                    <a:pt x="0" y="55"/>
                  </a:moveTo>
                  <a:lnTo>
                    <a:pt x="15" y="83"/>
                  </a:lnTo>
                  <a:lnTo>
                    <a:pt x="33" y="88"/>
                  </a:lnTo>
                  <a:lnTo>
                    <a:pt x="74" y="69"/>
                  </a:lnTo>
                  <a:lnTo>
                    <a:pt x="85" y="78"/>
                  </a:lnTo>
                  <a:lnTo>
                    <a:pt x="119" y="45"/>
                  </a:lnTo>
                  <a:lnTo>
                    <a:pt x="119" y="29"/>
                  </a:lnTo>
                  <a:lnTo>
                    <a:pt x="102" y="19"/>
                  </a:lnTo>
                  <a:lnTo>
                    <a:pt x="93" y="19"/>
                  </a:lnTo>
                  <a:lnTo>
                    <a:pt x="74" y="0"/>
                  </a:lnTo>
                  <a:lnTo>
                    <a:pt x="57" y="24"/>
                  </a:lnTo>
                  <a:lnTo>
                    <a:pt x="29" y="0"/>
                  </a:lnTo>
                  <a:lnTo>
                    <a:pt x="5" y="15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42" name="Freeform 270"/>
            <p:cNvSpPr>
              <a:spLocks/>
            </p:cNvSpPr>
            <p:nvPr/>
          </p:nvSpPr>
          <p:spPr bwMode="auto">
            <a:xfrm>
              <a:off x="4321" y="2412"/>
              <a:ext cx="152" cy="180"/>
            </a:xfrm>
            <a:custGeom>
              <a:avLst/>
              <a:gdLst>
                <a:gd name="T0" fmla="*/ 0 w 258"/>
                <a:gd name="T1" fmla="*/ 3 h 347"/>
                <a:gd name="T2" fmla="*/ 1 w 258"/>
                <a:gd name="T3" fmla="*/ 3 h 347"/>
                <a:gd name="T4" fmla="*/ 2 w 258"/>
                <a:gd name="T5" fmla="*/ 4 h 347"/>
                <a:gd name="T6" fmla="*/ 2 w 258"/>
                <a:gd name="T7" fmla="*/ 3 h 347"/>
                <a:gd name="T8" fmla="*/ 2 w 258"/>
                <a:gd name="T9" fmla="*/ 3 h 347"/>
                <a:gd name="T10" fmla="*/ 1 w 258"/>
                <a:gd name="T11" fmla="*/ 3 h 347"/>
                <a:gd name="T12" fmla="*/ 1 w 258"/>
                <a:gd name="T13" fmla="*/ 3 h 347"/>
                <a:gd name="T14" fmla="*/ 2 w 258"/>
                <a:gd name="T15" fmla="*/ 3 h 347"/>
                <a:gd name="T16" fmla="*/ 3 w 258"/>
                <a:gd name="T17" fmla="*/ 2 h 347"/>
                <a:gd name="T18" fmla="*/ 5 w 258"/>
                <a:gd name="T19" fmla="*/ 1 h 347"/>
                <a:gd name="T20" fmla="*/ 6 w 258"/>
                <a:gd name="T21" fmla="*/ 1 h 347"/>
                <a:gd name="T22" fmla="*/ 6 w 258"/>
                <a:gd name="T23" fmla="*/ 1 h 347"/>
                <a:gd name="T24" fmla="*/ 6 w 258"/>
                <a:gd name="T25" fmla="*/ 0 h 347"/>
                <a:gd name="T26" fmla="*/ 5 w 258"/>
                <a:gd name="T27" fmla="*/ 1 h 347"/>
                <a:gd name="T28" fmla="*/ 5 w 258"/>
                <a:gd name="T29" fmla="*/ 1 h 347"/>
                <a:gd name="T30" fmla="*/ 4 w 258"/>
                <a:gd name="T31" fmla="*/ 1 h 347"/>
                <a:gd name="T32" fmla="*/ 4 w 258"/>
                <a:gd name="T33" fmla="*/ 1 h 347"/>
                <a:gd name="T34" fmla="*/ 3 w 258"/>
                <a:gd name="T35" fmla="*/ 1 h 347"/>
                <a:gd name="T36" fmla="*/ 2 w 258"/>
                <a:gd name="T37" fmla="*/ 1 h 347"/>
                <a:gd name="T38" fmla="*/ 1 w 258"/>
                <a:gd name="T39" fmla="*/ 2 h 347"/>
                <a:gd name="T40" fmla="*/ 1 w 258"/>
                <a:gd name="T41" fmla="*/ 2 h 347"/>
                <a:gd name="T42" fmla="*/ 1 w 258"/>
                <a:gd name="T43" fmla="*/ 2 h 347"/>
                <a:gd name="T44" fmla="*/ 1 w 258"/>
                <a:gd name="T45" fmla="*/ 2 h 347"/>
                <a:gd name="T46" fmla="*/ 1 w 258"/>
                <a:gd name="T47" fmla="*/ 2 h 347"/>
                <a:gd name="T48" fmla="*/ 1 w 258"/>
                <a:gd name="T49" fmla="*/ 2 h 347"/>
                <a:gd name="T50" fmla="*/ 1 w 258"/>
                <a:gd name="T51" fmla="*/ 3 h 347"/>
                <a:gd name="T52" fmla="*/ 1 w 258"/>
                <a:gd name="T53" fmla="*/ 3 h 347"/>
                <a:gd name="T54" fmla="*/ 0 w 258"/>
                <a:gd name="T55" fmla="*/ 3 h 347"/>
                <a:gd name="T56" fmla="*/ 0 w 258"/>
                <a:gd name="T57" fmla="*/ 3 h 34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58"/>
                <a:gd name="T88" fmla="*/ 0 h 347"/>
                <a:gd name="T89" fmla="*/ 258 w 258"/>
                <a:gd name="T90" fmla="*/ 347 h 34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58" h="347">
                  <a:moveTo>
                    <a:pt x="0" y="300"/>
                  </a:moveTo>
                  <a:lnTo>
                    <a:pt x="31" y="335"/>
                  </a:lnTo>
                  <a:lnTo>
                    <a:pt x="78" y="347"/>
                  </a:lnTo>
                  <a:lnTo>
                    <a:pt x="88" y="340"/>
                  </a:lnTo>
                  <a:lnTo>
                    <a:pt x="69" y="324"/>
                  </a:lnTo>
                  <a:lnTo>
                    <a:pt x="59" y="305"/>
                  </a:lnTo>
                  <a:lnTo>
                    <a:pt x="57" y="258"/>
                  </a:lnTo>
                  <a:lnTo>
                    <a:pt x="66" y="236"/>
                  </a:lnTo>
                  <a:lnTo>
                    <a:pt x="135" y="123"/>
                  </a:lnTo>
                  <a:lnTo>
                    <a:pt x="182" y="83"/>
                  </a:lnTo>
                  <a:lnTo>
                    <a:pt x="255" y="43"/>
                  </a:lnTo>
                  <a:lnTo>
                    <a:pt x="258" y="12"/>
                  </a:lnTo>
                  <a:lnTo>
                    <a:pt x="239" y="0"/>
                  </a:lnTo>
                  <a:lnTo>
                    <a:pt x="213" y="17"/>
                  </a:lnTo>
                  <a:lnTo>
                    <a:pt x="201" y="38"/>
                  </a:lnTo>
                  <a:lnTo>
                    <a:pt x="170" y="50"/>
                  </a:lnTo>
                  <a:lnTo>
                    <a:pt x="142" y="50"/>
                  </a:lnTo>
                  <a:lnTo>
                    <a:pt x="111" y="69"/>
                  </a:lnTo>
                  <a:lnTo>
                    <a:pt x="88" y="104"/>
                  </a:lnTo>
                  <a:lnTo>
                    <a:pt x="59" y="118"/>
                  </a:lnTo>
                  <a:lnTo>
                    <a:pt x="59" y="137"/>
                  </a:lnTo>
                  <a:lnTo>
                    <a:pt x="47" y="170"/>
                  </a:lnTo>
                  <a:lnTo>
                    <a:pt x="31" y="191"/>
                  </a:lnTo>
                  <a:lnTo>
                    <a:pt x="40" y="210"/>
                  </a:lnTo>
                  <a:lnTo>
                    <a:pt x="24" y="224"/>
                  </a:lnTo>
                  <a:lnTo>
                    <a:pt x="12" y="248"/>
                  </a:lnTo>
                  <a:lnTo>
                    <a:pt x="17" y="265"/>
                  </a:lnTo>
                  <a:lnTo>
                    <a:pt x="0" y="276"/>
                  </a:lnTo>
                  <a:lnTo>
                    <a:pt x="0" y="30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43" name="Freeform 271"/>
            <p:cNvSpPr>
              <a:spLocks/>
            </p:cNvSpPr>
            <p:nvPr/>
          </p:nvSpPr>
          <p:spPr bwMode="auto">
            <a:xfrm>
              <a:off x="4293" y="2615"/>
              <a:ext cx="15" cy="18"/>
            </a:xfrm>
            <a:custGeom>
              <a:avLst/>
              <a:gdLst>
                <a:gd name="T0" fmla="*/ 1 w 26"/>
                <a:gd name="T1" fmla="*/ 1 h 35"/>
                <a:gd name="T2" fmla="*/ 1 w 26"/>
                <a:gd name="T3" fmla="*/ 1 h 35"/>
                <a:gd name="T4" fmla="*/ 1 w 26"/>
                <a:gd name="T5" fmla="*/ 1 h 35"/>
                <a:gd name="T6" fmla="*/ 1 w 26"/>
                <a:gd name="T7" fmla="*/ 0 h 35"/>
                <a:gd name="T8" fmla="*/ 0 w 26"/>
                <a:gd name="T9" fmla="*/ 1 h 35"/>
                <a:gd name="T10" fmla="*/ 1 w 26"/>
                <a:gd name="T11" fmla="*/ 1 h 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"/>
                <a:gd name="T19" fmla="*/ 0 h 35"/>
                <a:gd name="T20" fmla="*/ 26 w 26"/>
                <a:gd name="T21" fmla="*/ 35 h 3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" h="35">
                  <a:moveTo>
                    <a:pt x="2" y="35"/>
                  </a:moveTo>
                  <a:lnTo>
                    <a:pt x="21" y="28"/>
                  </a:lnTo>
                  <a:lnTo>
                    <a:pt x="26" y="14"/>
                  </a:lnTo>
                  <a:lnTo>
                    <a:pt x="9" y="0"/>
                  </a:lnTo>
                  <a:lnTo>
                    <a:pt x="0" y="14"/>
                  </a:lnTo>
                  <a:lnTo>
                    <a:pt x="2" y="35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44" name="Freeform 272"/>
            <p:cNvSpPr>
              <a:spLocks/>
            </p:cNvSpPr>
            <p:nvPr/>
          </p:nvSpPr>
          <p:spPr bwMode="auto">
            <a:xfrm>
              <a:off x="3799" y="2754"/>
              <a:ext cx="8" cy="7"/>
            </a:xfrm>
            <a:custGeom>
              <a:avLst/>
              <a:gdLst>
                <a:gd name="T0" fmla="*/ 0 w 14"/>
                <a:gd name="T1" fmla="*/ 1 h 12"/>
                <a:gd name="T2" fmla="*/ 1 w 14"/>
                <a:gd name="T3" fmla="*/ 1 h 12"/>
                <a:gd name="T4" fmla="*/ 1 w 14"/>
                <a:gd name="T5" fmla="*/ 0 h 12"/>
                <a:gd name="T6" fmla="*/ 1 w 14"/>
                <a:gd name="T7" fmla="*/ 1 h 12"/>
                <a:gd name="T8" fmla="*/ 0 w 14"/>
                <a:gd name="T9" fmla="*/ 1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12"/>
                <a:gd name="T17" fmla="*/ 14 w 14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12">
                  <a:moveTo>
                    <a:pt x="0" y="9"/>
                  </a:moveTo>
                  <a:lnTo>
                    <a:pt x="7" y="12"/>
                  </a:lnTo>
                  <a:lnTo>
                    <a:pt x="14" y="0"/>
                  </a:lnTo>
                  <a:lnTo>
                    <a:pt x="2" y="2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45" name="Freeform 273"/>
            <p:cNvSpPr>
              <a:spLocks/>
            </p:cNvSpPr>
            <p:nvPr/>
          </p:nvSpPr>
          <p:spPr bwMode="auto">
            <a:xfrm>
              <a:off x="3800" y="2814"/>
              <a:ext cx="10" cy="14"/>
            </a:xfrm>
            <a:custGeom>
              <a:avLst/>
              <a:gdLst>
                <a:gd name="T0" fmla="*/ 0 w 17"/>
                <a:gd name="T1" fmla="*/ 1 h 26"/>
                <a:gd name="T2" fmla="*/ 1 w 17"/>
                <a:gd name="T3" fmla="*/ 1 h 26"/>
                <a:gd name="T4" fmla="*/ 1 w 17"/>
                <a:gd name="T5" fmla="*/ 0 h 26"/>
                <a:gd name="T6" fmla="*/ 1 w 17"/>
                <a:gd name="T7" fmla="*/ 1 h 26"/>
                <a:gd name="T8" fmla="*/ 0 w 17"/>
                <a:gd name="T9" fmla="*/ 1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26"/>
                <a:gd name="T17" fmla="*/ 17 w 17"/>
                <a:gd name="T18" fmla="*/ 26 h 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26">
                  <a:moveTo>
                    <a:pt x="0" y="26"/>
                  </a:moveTo>
                  <a:lnTo>
                    <a:pt x="12" y="15"/>
                  </a:lnTo>
                  <a:lnTo>
                    <a:pt x="17" y="0"/>
                  </a:lnTo>
                  <a:lnTo>
                    <a:pt x="3" y="1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46" name="Freeform 274"/>
            <p:cNvSpPr>
              <a:spLocks/>
            </p:cNvSpPr>
            <p:nvPr/>
          </p:nvSpPr>
          <p:spPr bwMode="auto">
            <a:xfrm>
              <a:off x="3950" y="2856"/>
              <a:ext cx="8" cy="8"/>
            </a:xfrm>
            <a:custGeom>
              <a:avLst/>
              <a:gdLst>
                <a:gd name="T0" fmla="*/ 0 w 14"/>
                <a:gd name="T1" fmla="*/ 1 h 14"/>
                <a:gd name="T2" fmla="*/ 1 w 14"/>
                <a:gd name="T3" fmla="*/ 1 h 14"/>
                <a:gd name="T4" fmla="*/ 1 w 14"/>
                <a:gd name="T5" fmla="*/ 1 h 14"/>
                <a:gd name="T6" fmla="*/ 1 w 14"/>
                <a:gd name="T7" fmla="*/ 1 h 14"/>
                <a:gd name="T8" fmla="*/ 1 w 14"/>
                <a:gd name="T9" fmla="*/ 0 h 14"/>
                <a:gd name="T10" fmla="*/ 0 w 14"/>
                <a:gd name="T11" fmla="*/ 1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14"/>
                <a:gd name="T20" fmla="*/ 14 w 14"/>
                <a:gd name="T21" fmla="*/ 14 h 1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14">
                  <a:moveTo>
                    <a:pt x="0" y="4"/>
                  </a:moveTo>
                  <a:lnTo>
                    <a:pt x="5" y="14"/>
                  </a:lnTo>
                  <a:lnTo>
                    <a:pt x="14" y="14"/>
                  </a:lnTo>
                  <a:lnTo>
                    <a:pt x="14" y="7"/>
                  </a:lnTo>
                  <a:lnTo>
                    <a:pt x="10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47" name="Freeform 275"/>
            <p:cNvSpPr>
              <a:spLocks/>
            </p:cNvSpPr>
            <p:nvPr/>
          </p:nvSpPr>
          <p:spPr bwMode="auto">
            <a:xfrm>
              <a:off x="3961" y="2849"/>
              <a:ext cx="14" cy="12"/>
            </a:xfrm>
            <a:custGeom>
              <a:avLst/>
              <a:gdLst>
                <a:gd name="T0" fmla="*/ 0 w 24"/>
                <a:gd name="T1" fmla="*/ 1 h 23"/>
                <a:gd name="T2" fmla="*/ 1 w 24"/>
                <a:gd name="T3" fmla="*/ 1 h 23"/>
                <a:gd name="T4" fmla="*/ 1 w 24"/>
                <a:gd name="T5" fmla="*/ 1 h 23"/>
                <a:gd name="T6" fmla="*/ 1 w 24"/>
                <a:gd name="T7" fmla="*/ 1 h 23"/>
                <a:gd name="T8" fmla="*/ 1 w 24"/>
                <a:gd name="T9" fmla="*/ 1 h 23"/>
                <a:gd name="T10" fmla="*/ 1 w 24"/>
                <a:gd name="T11" fmla="*/ 0 h 23"/>
                <a:gd name="T12" fmla="*/ 0 w 24"/>
                <a:gd name="T13" fmla="*/ 1 h 2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23"/>
                <a:gd name="T23" fmla="*/ 24 w 24"/>
                <a:gd name="T24" fmla="*/ 23 h 2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23">
                  <a:moveTo>
                    <a:pt x="0" y="11"/>
                  </a:moveTo>
                  <a:lnTo>
                    <a:pt x="5" y="23"/>
                  </a:lnTo>
                  <a:lnTo>
                    <a:pt x="21" y="23"/>
                  </a:lnTo>
                  <a:lnTo>
                    <a:pt x="17" y="18"/>
                  </a:lnTo>
                  <a:lnTo>
                    <a:pt x="24" y="11"/>
                  </a:lnTo>
                  <a:lnTo>
                    <a:pt x="21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48" name="Freeform 276"/>
            <p:cNvSpPr>
              <a:spLocks/>
            </p:cNvSpPr>
            <p:nvPr/>
          </p:nvSpPr>
          <p:spPr bwMode="auto">
            <a:xfrm>
              <a:off x="3961" y="2866"/>
              <a:ext cx="10" cy="4"/>
            </a:xfrm>
            <a:custGeom>
              <a:avLst/>
              <a:gdLst>
                <a:gd name="T0" fmla="*/ 0 w 17"/>
                <a:gd name="T1" fmla="*/ 0 h 7"/>
                <a:gd name="T2" fmla="*/ 1 w 17"/>
                <a:gd name="T3" fmla="*/ 1 h 7"/>
                <a:gd name="T4" fmla="*/ 1 w 17"/>
                <a:gd name="T5" fmla="*/ 0 h 7"/>
                <a:gd name="T6" fmla="*/ 0 w 17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7"/>
                <a:gd name="T14" fmla="*/ 17 w 17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7">
                  <a:moveTo>
                    <a:pt x="0" y="0"/>
                  </a:moveTo>
                  <a:lnTo>
                    <a:pt x="5" y="7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49" name="Freeform 277"/>
            <p:cNvSpPr>
              <a:spLocks/>
            </p:cNvSpPr>
            <p:nvPr/>
          </p:nvSpPr>
          <p:spPr bwMode="auto">
            <a:xfrm>
              <a:off x="4024" y="2823"/>
              <a:ext cx="10" cy="12"/>
            </a:xfrm>
            <a:custGeom>
              <a:avLst/>
              <a:gdLst>
                <a:gd name="T0" fmla="*/ 0 w 17"/>
                <a:gd name="T1" fmla="*/ 1 h 24"/>
                <a:gd name="T2" fmla="*/ 1 w 17"/>
                <a:gd name="T3" fmla="*/ 1 h 24"/>
                <a:gd name="T4" fmla="*/ 1 w 17"/>
                <a:gd name="T5" fmla="*/ 1 h 24"/>
                <a:gd name="T6" fmla="*/ 1 w 17"/>
                <a:gd name="T7" fmla="*/ 1 h 24"/>
                <a:gd name="T8" fmla="*/ 1 w 17"/>
                <a:gd name="T9" fmla="*/ 0 h 24"/>
                <a:gd name="T10" fmla="*/ 0 w 17"/>
                <a:gd name="T11" fmla="*/ 1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24"/>
                <a:gd name="T20" fmla="*/ 17 w 17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24">
                  <a:moveTo>
                    <a:pt x="0" y="12"/>
                  </a:moveTo>
                  <a:lnTo>
                    <a:pt x="3" y="24"/>
                  </a:lnTo>
                  <a:lnTo>
                    <a:pt x="10" y="19"/>
                  </a:lnTo>
                  <a:lnTo>
                    <a:pt x="10" y="7"/>
                  </a:lnTo>
                  <a:lnTo>
                    <a:pt x="17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50" name="Freeform 278"/>
            <p:cNvSpPr>
              <a:spLocks/>
            </p:cNvSpPr>
            <p:nvPr/>
          </p:nvSpPr>
          <p:spPr bwMode="auto">
            <a:xfrm>
              <a:off x="4056" y="2813"/>
              <a:ext cx="13" cy="7"/>
            </a:xfrm>
            <a:custGeom>
              <a:avLst/>
              <a:gdLst>
                <a:gd name="T0" fmla="*/ 0 w 21"/>
                <a:gd name="T1" fmla="*/ 1 h 14"/>
                <a:gd name="T2" fmla="*/ 1 w 21"/>
                <a:gd name="T3" fmla="*/ 1 h 14"/>
                <a:gd name="T4" fmla="*/ 1 w 21"/>
                <a:gd name="T5" fmla="*/ 1 h 14"/>
                <a:gd name="T6" fmla="*/ 1 w 21"/>
                <a:gd name="T7" fmla="*/ 0 h 14"/>
                <a:gd name="T8" fmla="*/ 0 w 21"/>
                <a:gd name="T9" fmla="*/ 1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14"/>
                <a:gd name="T17" fmla="*/ 21 w 21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14">
                  <a:moveTo>
                    <a:pt x="0" y="7"/>
                  </a:moveTo>
                  <a:lnTo>
                    <a:pt x="4" y="14"/>
                  </a:lnTo>
                  <a:lnTo>
                    <a:pt x="21" y="2"/>
                  </a:lnTo>
                  <a:lnTo>
                    <a:pt x="9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51" name="Freeform 279"/>
            <p:cNvSpPr>
              <a:spLocks/>
            </p:cNvSpPr>
            <p:nvPr/>
          </p:nvSpPr>
          <p:spPr bwMode="auto">
            <a:xfrm>
              <a:off x="4062" y="2806"/>
              <a:ext cx="6" cy="6"/>
            </a:xfrm>
            <a:custGeom>
              <a:avLst/>
              <a:gdLst>
                <a:gd name="T0" fmla="*/ 0 w 10"/>
                <a:gd name="T1" fmla="*/ 1 h 12"/>
                <a:gd name="T2" fmla="*/ 0 w 10"/>
                <a:gd name="T3" fmla="*/ 1 h 12"/>
                <a:gd name="T4" fmla="*/ 1 w 10"/>
                <a:gd name="T5" fmla="*/ 1 h 12"/>
                <a:gd name="T6" fmla="*/ 0 w 10"/>
                <a:gd name="T7" fmla="*/ 0 h 12"/>
                <a:gd name="T8" fmla="*/ 0 w 10"/>
                <a:gd name="T9" fmla="*/ 1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2"/>
                <a:gd name="T17" fmla="*/ 10 w 10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2">
                  <a:moveTo>
                    <a:pt x="0" y="7"/>
                  </a:moveTo>
                  <a:lnTo>
                    <a:pt x="0" y="12"/>
                  </a:lnTo>
                  <a:lnTo>
                    <a:pt x="10" y="7"/>
                  </a:lnTo>
                  <a:lnTo>
                    <a:pt x="0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52" name="Freeform 280"/>
            <p:cNvSpPr>
              <a:spLocks/>
            </p:cNvSpPr>
            <p:nvPr/>
          </p:nvSpPr>
          <p:spPr bwMode="auto">
            <a:xfrm>
              <a:off x="3804" y="2813"/>
              <a:ext cx="76" cy="115"/>
            </a:xfrm>
            <a:custGeom>
              <a:avLst/>
              <a:gdLst>
                <a:gd name="T0" fmla="*/ 1 w 128"/>
                <a:gd name="T1" fmla="*/ 2 h 220"/>
                <a:gd name="T2" fmla="*/ 1 w 128"/>
                <a:gd name="T3" fmla="*/ 2 h 220"/>
                <a:gd name="T4" fmla="*/ 1 w 128"/>
                <a:gd name="T5" fmla="*/ 2 h 220"/>
                <a:gd name="T6" fmla="*/ 1 w 128"/>
                <a:gd name="T7" fmla="*/ 2 h 220"/>
                <a:gd name="T8" fmla="*/ 1 w 128"/>
                <a:gd name="T9" fmla="*/ 2 h 220"/>
                <a:gd name="T10" fmla="*/ 1 w 128"/>
                <a:gd name="T11" fmla="*/ 2 h 220"/>
                <a:gd name="T12" fmla="*/ 2 w 128"/>
                <a:gd name="T13" fmla="*/ 2 h 220"/>
                <a:gd name="T14" fmla="*/ 2 w 128"/>
                <a:gd name="T15" fmla="*/ 2 h 220"/>
                <a:gd name="T16" fmla="*/ 3 w 128"/>
                <a:gd name="T17" fmla="*/ 2 h 220"/>
                <a:gd name="T18" fmla="*/ 3 w 128"/>
                <a:gd name="T19" fmla="*/ 2 h 220"/>
                <a:gd name="T20" fmla="*/ 3 w 128"/>
                <a:gd name="T21" fmla="*/ 2 h 220"/>
                <a:gd name="T22" fmla="*/ 4 w 128"/>
                <a:gd name="T23" fmla="*/ 2 h 220"/>
                <a:gd name="T24" fmla="*/ 3 w 128"/>
                <a:gd name="T25" fmla="*/ 2 h 220"/>
                <a:gd name="T26" fmla="*/ 3 w 128"/>
                <a:gd name="T27" fmla="*/ 2 h 220"/>
                <a:gd name="T28" fmla="*/ 2 w 128"/>
                <a:gd name="T29" fmla="*/ 2 h 220"/>
                <a:gd name="T30" fmla="*/ 3 w 128"/>
                <a:gd name="T31" fmla="*/ 2 h 220"/>
                <a:gd name="T32" fmla="*/ 3 w 128"/>
                <a:gd name="T33" fmla="*/ 2 h 220"/>
                <a:gd name="T34" fmla="*/ 2 w 128"/>
                <a:gd name="T35" fmla="*/ 1 h 220"/>
                <a:gd name="T36" fmla="*/ 2 w 128"/>
                <a:gd name="T37" fmla="*/ 1 h 220"/>
                <a:gd name="T38" fmla="*/ 2 w 128"/>
                <a:gd name="T39" fmla="*/ 1 h 220"/>
                <a:gd name="T40" fmla="*/ 1 w 128"/>
                <a:gd name="T41" fmla="*/ 1 h 220"/>
                <a:gd name="T42" fmla="*/ 2 w 128"/>
                <a:gd name="T43" fmla="*/ 1 h 220"/>
                <a:gd name="T44" fmla="*/ 2 w 128"/>
                <a:gd name="T45" fmla="*/ 1 h 220"/>
                <a:gd name="T46" fmla="*/ 1 w 128"/>
                <a:gd name="T47" fmla="*/ 1 h 220"/>
                <a:gd name="T48" fmla="*/ 1 w 128"/>
                <a:gd name="T49" fmla="*/ 1 h 220"/>
                <a:gd name="T50" fmla="*/ 1 w 128"/>
                <a:gd name="T51" fmla="*/ 1 h 220"/>
                <a:gd name="T52" fmla="*/ 1 w 128"/>
                <a:gd name="T53" fmla="*/ 0 h 220"/>
                <a:gd name="T54" fmla="*/ 1 w 128"/>
                <a:gd name="T55" fmla="*/ 1 h 220"/>
                <a:gd name="T56" fmla="*/ 1 w 128"/>
                <a:gd name="T57" fmla="*/ 1 h 220"/>
                <a:gd name="T58" fmla="*/ 1 w 128"/>
                <a:gd name="T59" fmla="*/ 1 h 220"/>
                <a:gd name="T60" fmla="*/ 0 w 128"/>
                <a:gd name="T61" fmla="*/ 1 h 220"/>
                <a:gd name="T62" fmla="*/ 1 w 128"/>
                <a:gd name="T63" fmla="*/ 1 h 220"/>
                <a:gd name="T64" fmla="*/ 1 w 128"/>
                <a:gd name="T65" fmla="*/ 1 h 220"/>
                <a:gd name="T66" fmla="*/ 1 w 128"/>
                <a:gd name="T67" fmla="*/ 1 h 220"/>
                <a:gd name="T68" fmla="*/ 1 w 128"/>
                <a:gd name="T69" fmla="*/ 1 h 220"/>
                <a:gd name="T70" fmla="*/ 1 w 128"/>
                <a:gd name="T71" fmla="*/ 1 h 220"/>
                <a:gd name="T72" fmla="*/ 1 w 128"/>
                <a:gd name="T73" fmla="*/ 1 h 220"/>
                <a:gd name="T74" fmla="*/ 1 w 128"/>
                <a:gd name="T75" fmla="*/ 1 h 220"/>
                <a:gd name="T76" fmla="*/ 1 w 128"/>
                <a:gd name="T77" fmla="*/ 1 h 220"/>
                <a:gd name="T78" fmla="*/ 1 w 128"/>
                <a:gd name="T79" fmla="*/ 1 h 220"/>
                <a:gd name="T80" fmla="*/ 1 w 128"/>
                <a:gd name="T81" fmla="*/ 1 h 220"/>
                <a:gd name="T82" fmla="*/ 1 w 128"/>
                <a:gd name="T83" fmla="*/ 1 h 220"/>
                <a:gd name="T84" fmla="*/ 1 w 128"/>
                <a:gd name="T85" fmla="*/ 1 h 220"/>
                <a:gd name="T86" fmla="*/ 1 w 128"/>
                <a:gd name="T87" fmla="*/ 1 h 220"/>
                <a:gd name="T88" fmla="*/ 1 w 128"/>
                <a:gd name="T89" fmla="*/ 1 h 220"/>
                <a:gd name="T90" fmla="*/ 1 w 128"/>
                <a:gd name="T91" fmla="*/ 2 h 220"/>
                <a:gd name="T92" fmla="*/ 2 w 128"/>
                <a:gd name="T93" fmla="*/ 2 h 220"/>
                <a:gd name="T94" fmla="*/ 1 w 128"/>
                <a:gd name="T95" fmla="*/ 2 h 220"/>
                <a:gd name="T96" fmla="*/ 1 w 128"/>
                <a:gd name="T97" fmla="*/ 2 h 220"/>
                <a:gd name="T98" fmla="*/ 1 w 128"/>
                <a:gd name="T99" fmla="*/ 2 h 220"/>
                <a:gd name="T100" fmla="*/ 1 w 128"/>
                <a:gd name="T101" fmla="*/ 2 h 220"/>
                <a:gd name="T102" fmla="*/ 1 w 128"/>
                <a:gd name="T103" fmla="*/ 2 h 220"/>
                <a:gd name="T104" fmla="*/ 1 w 128"/>
                <a:gd name="T105" fmla="*/ 2 h 220"/>
                <a:gd name="T106" fmla="*/ 1 w 128"/>
                <a:gd name="T107" fmla="*/ 2 h 220"/>
                <a:gd name="T108" fmla="*/ 1 w 128"/>
                <a:gd name="T109" fmla="*/ 2 h 220"/>
                <a:gd name="T110" fmla="*/ 1 w 128"/>
                <a:gd name="T111" fmla="*/ 2 h 220"/>
                <a:gd name="T112" fmla="*/ 1 w 128"/>
                <a:gd name="T113" fmla="*/ 2 h 220"/>
                <a:gd name="T114" fmla="*/ 2 w 128"/>
                <a:gd name="T115" fmla="*/ 2 h 220"/>
                <a:gd name="T116" fmla="*/ 1 w 128"/>
                <a:gd name="T117" fmla="*/ 2 h 220"/>
                <a:gd name="T118" fmla="*/ 1 w 128"/>
                <a:gd name="T119" fmla="*/ 2 h 220"/>
                <a:gd name="T120" fmla="*/ 1 w 128"/>
                <a:gd name="T121" fmla="*/ 2 h 2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8"/>
                <a:gd name="T184" fmla="*/ 0 h 220"/>
                <a:gd name="T185" fmla="*/ 128 w 128"/>
                <a:gd name="T186" fmla="*/ 220 h 2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8" h="220">
                  <a:moveTo>
                    <a:pt x="17" y="220"/>
                  </a:moveTo>
                  <a:lnTo>
                    <a:pt x="24" y="220"/>
                  </a:lnTo>
                  <a:lnTo>
                    <a:pt x="34" y="213"/>
                  </a:lnTo>
                  <a:lnTo>
                    <a:pt x="48" y="217"/>
                  </a:lnTo>
                  <a:lnTo>
                    <a:pt x="48" y="208"/>
                  </a:lnTo>
                  <a:lnTo>
                    <a:pt x="60" y="206"/>
                  </a:lnTo>
                  <a:lnTo>
                    <a:pt x="71" y="210"/>
                  </a:lnTo>
                  <a:lnTo>
                    <a:pt x="81" y="203"/>
                  </a:lnTo>
                  <a:lnTo>
                    <a:pt x="114" y="201"/>
                  </a:lnTo>
                  <a:lnTo>
                    <a:pt x="123" y="191"/>
                  </a:lnTo>
                  <a:lnTo>
                    <a:pt x="109" y="189"/>
                  </a:lnTo>
                  <a:lnTo>
                    <a:pt x="128" y="163"/>
                  </a:lnTo>
                  <a:lnTo>
                    <a:pt x="116" y="151"/>
                  </a:lnTo>
                  <a:lnTo>
                    <a:pt x="104" y="158"/>
                  </a:lnTo>
                  <a:lnTo>
                    <a:pt x="100" y="154"/>
                  </a:lnTo>
                  <a:lnTo>
                    <a:pt x="107" y="147"/>
                  </a:lnTo>
                  <a:lnTo>
                    <a:pt x="104" y="139"/>
                  </a:lnTo>
                  <a:lnTo>
                    <a:pt x="95" y="113"/>
                  </a:lnTo>
                  <a:lnTo>
                    <a:pt x="83" y="109"/>
                  </a:lnTo>
                  <a:lnTo>
                    <a:pt x="71" y="76"/>
                  </a:lnTo>
                  <a:lnTo>
                    <a:pt x="52" y="73"/>
                  </a:lnTo>
                  <a:lnTo>
                    <a:pt x="74" y="36"/>
                  </a:lnTo>
                  <a:lnTo>
                    <a:pt x="71" y="26"/>
                  </a:lnTo>
                  <a:lnTo>
                    <a:pt x="38" y="28"/>
                  </a:lnTo>
                  <a:lnTo>
                    <a:pt x="43" y="17"/>
                  </a:lnTo>
                  <a:lnTo>
                    <a:pt x="57" y="7"/>
                  </a:lnTo>
                  <a:lnTo>
                    <a:pt x="52" y="0"/>
                  </a:lnTo>
                  <a:lnTo>
                    <a:pt x="26" y="2"/>
                  </a:lnTo>
                  <a:lnTo>
                    <a:pt x="15" y="33"/>
                  </a:lnTo>
                  <a:lnTo>
                    <a:pt x="5" y="28"/>
                  </a:lnTo>
                  <a:lnTo>
                    <a:pt x="0" y="33"/>
                  </a:lnTo>
                  <a:lnTo>
                    <a:pt x="8" y="40"/>
                  </a:lnTo>
                  <a:lnTo>
                    <a:pt x="17" y="40"/>
                  </a:lnTo>
                  <a:lnTo>
                    <a:pt x="12" y="64"/>
                  </a:lnTo>
                  <a:lnTo>
                    <a:pt x="19" y="59"/>
                  </a:lnTo>
                  <a:lnTo>
                    <a:pt x="19" y="69"/>
                  </a:lnTo>
                  <a:lnTo>
                    <a:pt x="10" y="78"/>
                  </a:lnTo>
                  <a:lnTo>
                    <a:pt x="17" y="78"/>
                  </a:lnTo>
                  <a:lnTo>
                    <a:pt x="17" y="87"/>
                  </a:lnTo>
                  <a:lnTo>
                    <a:pt x="24" y="76"/>
                  </a:lnTo>
                  <a:lnTo>
                    <a:pt x="31" y="85"/>
                  </a:lnTo>
                  <a:lnTo>
                    <a:pt x="24" y="102"/>
                  </a:lnTo>
                  <a:lnTo>
                    <a:pt x="31" y="109"/>
                  </a:lnTo>
                  <a:lnTo>
                    <a:pt x="52" y="102"/>
                  </a:lnTo>
                  <a:lnTo>
                    <a:pt x="48" y="111"/>
                  </a:lnTo>
                  <a:lnTo>
                    <a:pt x="52" y="121"/>
                  </a:lnTo>
                  <a:lnTo>
                    <a:pt x="62" y="121"/>
                  </a:lnTo>
                  <a:lnTo>
                    <a:pt x="57" y="139"/>
                  </a:lnTo>
                  <a:lnTo>
                    <a:pt x="34" y="139"/>
                  </a:lnTo>
                  <a:lnTo>
                    <a:pt x="36" y="147"/>
                  </a:lnTo>
                  <a:lnTo>
                    <a:pt x="31" y="156"/>
                  </a:lnTo>
                  <a:lnTo>
                    <a:pt x="41" y="156"/>
                  </a:lnTo>
                  <a:lnTo>
                    <a:pt x="41" y="168"/>
                  </a:lnTo>
                  <a:lnTo>
                    <a:pt x="24" y="177"/>
                  </a:lnTo>
                  <a:lnTo>
                    <a:pt x="26" y="184"/>
                  </a:lnTo>
                  <a:lnTo>
                    <a:pt x="36" y="182"/>
                  </a:lnTo>
                  <a:lnTo>
                    <a:pt x="52" y="189"/>
                  </a:lnTo>
                  <a:lnTo>
                    <a:pt x="62" y="184"/>
                  </a:lnTo>
                  <a:lnTo>
                    <a:pt x="57" y="194"/>
                  </a:lnTo>
                  <a:lnTo>
                    <a:pt x="41" y="194"/>
                  </a:lnTo>
                  <a:lnTo>
                    <a:pt x="17" y="220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53" name="Freeform 281"/>
            <p:cNvSpPr>
              <a:spLocks/>
            </p:cNvSpPr>
            <p:nvPr/>
          </p:nvSpPr>
          <p:spPr bwMode="auto">
            <a:xfrm>
              <a:off x="3940" y="3006"/>
              <a:ext cx="7" cy="18"/>
            </a:xfrm>
            <a:custGeom>
              <a:avLst/>
              <a:gdLst>
                <a:gd name="T0" fmla="*/ 0 w 11"/>
                <a:gd name="T1" fmla="*/ 1 h 35"/>
                <a:gd name="T2" fmla="*/ 0 w 11"/>
                <a:gd name="T3" fmla="*/ 1 h 35"/>
                <a:gd name="T4" fmla="*/ 1 w 11"/>
                <a:gd name="T5" fmla="*/ 1 h 35"/>
                <a:gd name="T6" fmla="*/ 1 w 11"/>
                <a:gd name="T7" fmla="*/ 0 h 35"/>
                <a:gd name="T8" fmla="*/ 0 w 11"/>
                <a:gd name="T9" fmla="*/ 1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35"/>
                <a:gd name="T17" fmla="*/ 11 w 11"/>
                <a:gd name="T18" fmla="*/ 35 h 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35">
                  <a:moveTo>
                    <a:pt x="0" y="12"/>
                  </a:moveTo>
                  <a:lnTo>
                    <a:pt x="0" y="26"/>
                  </a:lnTo>
                  <a:lnTo>
                    <a:pt x="7" y="35"/>
                  </a:lnTo>
                  <a:lnTo>
                    <a:pt x="11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54" name="Freeform 282"/>
            <p:cNvSpPr>
              <a:spLocks/>
            </p:cNvSpPr>
            <p:nvPr/>
          </p:nvSpPr>
          <p:spPr bwMode="auto">
            <a:xfrm>
              <a:off x="3936" y="3024"/>
              <a:ext cx="14" cy="26"/>
            </a:xfrm>
            <a:custGeom>
              <a:avLst/>
              <a:gdLst>
                <a:gd name="T0" fmla="*/ 0 w 23"/>
                <a:gd name="T1" fmla="*/ 1 h 48"/>
                <a:gd name="T2" fmla="*/ 1 w 23"/>
                <a:gd name="T3" fmla="*/ 1 h 48"/>
                <a:gd name="T4" fmla="*/ 1 w 23"/>
                <a:gd name="T5" fmla="*/ 1 h 48"/>
                <a:gd name="T6" fmla="*/ 1 w 23"/>
                <a:gd name="T7" fmla="*/ 1 h 48"/>
                <a:gd name="T8" fmla="*/ 1 w 23"/>
                <a:gd name="T9" fmla="*/ 1 h 48"/>
                <a:gd name="T10" fmla="*/ 1 w 23"/>
                <a:gd name="T11" fmla="*/ 0 h 48"/>
                <a:gd name="T12" fmla="*/ 0 w 23"/>
                <a:gd name="T13" fmla="*/ 1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48"/>
                <a:gd name="T23" fmla="*/ 23 w 23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48">
                  <a:moveTo>
                    <a:pt x="0" y="7"/>
                  </a:moveTo>
                  <a:lnTo>
                    <a:pt x="2" y="41"/>
                  </a:lnTo>
                  <a:lnTo>
                    <a:pt x="9" y="48"/>
                  </a:lnTo>
                  <a:lnTo>
                    <a:pt x="18" y="41"/>
                  </a:lnTo>
                  <a:lnTo>
                    <a:pt x="23" y="10"/>
                  </a:lnTo>
                  <a:lnTo>
                    <a:pt x="16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55" name="Freeform 283"/>
            <p:cNvSpPr>
              <a:spLocks/>
            </p:cNvSpPr>
            <p:nvPr/>
          </p:nvSpPr>
          <p:spPr bwMode="auto">
            <a:xfrm>
              <a:off x="3972" y="3055"/>
              <a:ext cx="31" cy="15"/>
            </a:xfrm>
            <a:custGeom>
              <a:avLst/>
              <a:gdLst>
                <a:gd name="T0" fmla="*/ 0 w 52"/>
                <a:gd name="T1" fmla="*/ 1 h 29"/>
                <a:gd name="T2" fmla="*/ 1 w 52"/>
                <a:gd name="T3" fmla="*/ 1 h 29"/>
                <a:gd name="T4" fmla="*/ 1 w 52"/>
                <a:gd name="T5" fmla="*/ 1 h 29"/>
                <a:gd name="T6" fmla="*/ 1 w 52"/>
                <a:gd name="T7" fmla="*/ 0 h 29"/>
                <a:gd name="T8" fmla="*/ 1 w 52"/>
                <a:gd name="T9" fmla="*/ 1 h 29"/>
                <a:gd name="T10" fmla="*/ 1 w 52"/>
                <a:gd name="T11" fmla="*/ 0 h 29"/>
                <a:gd name="T12" fmla="*/ 0 w 52"/>
                <a:gd name="T13" fmla="*/ 1 h 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29"/>
                <a:gd name="T23" fmla="*/ 52 w 52"/>
                <a:gd name="T24" fmla="*/ 29 h 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29">
                  <a:moveTo>
                    <a:pt x="0" y="5"/>
                  </a:moveTo>
                  <a:lnTo>
                    <a:pt x="5" y="15"/>
                  </a:lnTo>
                  <a:lnTo>
                    <a:pt x="42" y="29"/>
                  </a:lnTo>
                  <a:lnTo>
                    <a:pt x="52" y="0"/>
                  </a:lnTo>
                  <a:lnTo>
                    <a:pt x="28" y="5"/>
                  </a:lnTo>
                  <a:lnTo>
                    <a:pt x="7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56" name="Freeform 284"/>
            <p:cNvSpPr>
              <a:spLocks/>
            </p:cNvSpPr>
            <p:nvPr/>
          </p:nvSpPr>
          <p:spPr bwMode="auto">
            <a:xfrm>
              <a:off x="4051" y="3055"/>
              <a:ext cx="18" cy="17"/>
            </a:xfrm>
            <a:custGeom>
              <a:avLst/>
              <a:gdLst>
                <a:gd name="T0" fmla="*/ 0 w 31"/>
                <a:gd name="T1" fmla="*/ 1 h 33"/>
                <a:gd name="T2" fmla="*/ 1 w 31"/>
                <a:gd name="T3" fmla="*/ 1 h 33"/>
                <a:gd name="T4" fmla="*/ 1 w 31"/>
                <a:gd name="T5" fmla="*/ 1 h 33"/>
                <a:gd name="T6" fmla="*/ 1 w 31"/>
                <a:gd name="T7" fmla="*/ 1 h 33"/>
                <a:gd name="T8" fmla="*/ 1 w 31"/>
                <a:gd name="T9" fmla="*/ 1 h 33"/>
                <a:gd name="T10" fmla="*/ 1 w 31"/>
                <a:gd name="T11" fmla="*/ 1 h 33"/>
                <a:gd name="T12" fmla="*/ 1 w 31"/>
                <a:gd name="T13" fmla="*/ 1 h 33"/>
                <a:gd name="T14" fmla="*/ 1 w 31"/>
                <a:gd name="T15" fmla="*/ 1 h 33"/>
                <a:gd name="T16" fmla="*/ 1 w 31"/>
                <a:gd name="T17" fmla="*/ 1 h 33"/>
                <a:gd name="T18" fmla="*/ 1 w 31"/>
                <a:gd name="T19" fmla="*/ 0 h 33"/>
                <a:gd name="T20" fmla="*/ 0 w 31"/>
                <a:gd name="T21" fmla="*/ 1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1"/>
                <a:gd name="T34" fmla="*/ 0 h 33"/>
                <a:gd name="T35" fmla="*/ 31 w 31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1" h="33">
                  <a:moveTo>
                    <a:pt x="0" y="10"/>
                  </a:moveTo>
                  <a:lnTo>
                    <a:pt x="7" y="15"/>
                  </a:lnTo>
                  <a:lnTo>
                    <a:pt x="7" y="29"/>
                  </a:lnTo>
                  <a:lnTo>
                    <a:pt x="19" y="33"/>
                  </a:lnTo>
                  <a:lnTo>
                    <a:pt x="24" y="29"/>
                  </a:lnTo>
                  <a:lnTo>
                    <a:pt x="29" y="33"/>
                  </a:lnTo>
                  <a:lnTo>
                    <a:pt x="24" y="15"/>
                  </a:lnTo>
                  <a:lnTo>
                    <a:pt x="31" y="17"/>
                  </a:lnTo>
                  <a:lnTo>
                    <a:pt x="26" y="7"/>
                  </a:lnTo>
                  <a:lnTo>
                    <a:pt x="1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57" name="Freeform 285"/>
            <p:cNvSpPr>
              <a:spLocks/>
            </p:cNvSpPr>
            <p:nvPr/>
          </p:nvSpPr>
          <p:spPr bwMode="auto">
            <a:xfrm>
              <a:off x="4072" y="3081"/>
              <a:ext cx="24" cy="7"/>
            </a:xfrm>
            <a:custGeom>
              <a:avLst/>
              <a:gdLst>
                <a:gd name="T0" fmla="*/ 0 w 40"/>
                <a:gd name="T1" fmla="*/ 1 h 12"/>
                <a:gd name="T2" fmla="*/ 1 w 40"/>
                <a:gd name="T3" fmla="*/ 1 h 12"/>
                <a:gd name="T4" fmla="*/ 1 w 40"/>
                <a:gd name="T5" fmla="*/ 1 h 12"/>
                <a:gd name="T6" fmla="*/ 1 w 40"/>
                <a:gd name="T7" fmla="*/ 1 h 12"/>
                <a:gd name="T8" fmla="*/ 1 w 40"/>
                <a:gd name="T9" fmla="*/ 1 h 12"/>
                <a:gd name="T10" fmla="*/ 1 w 40"/>
                <a:gd name="T11" fmla="*/ 1 h 12"/>
                <a:gd name="T12" fmla="*/ 0 w 40"/>
                <a:gd name="T13" fmla="*/ 0 h 12"/>
                <a:gd name="T14" fmla="*/ 0 w 40"/>
                <a:gd name="T15" fmla="*/ 1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0"/>
                <a:gd name="T25" fmla="*/ 0 h 12"/>
                <a:gd name="T26" fmla="*/ 40 w 40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0" h="12">
                  <a:moveTo>
                    <a:pt x="0" y="7"/>
                  </a:moveTo>
                  <a:lnTo>
                    <a:pt x="19" y="12"/>
                  </a:lnTo>
                  <a:lnTo>
                    <a:pt x="40" y="12"/>
                  </a:lnTo>
                  <a:lnTo>
                    <a:pt x="40" y="5"/>
                  </a:lnTo>
                  <a:lnTo>
                    <a:pt x="33" y="9"/>
                  </a:lnTo>
                  <a:lnTo>
                    <a:pt x="33" y="5"/>
                  </a:lnTo>
                  <a:lnTo>
                    <a:pt x="0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58" name="Freeform 286"/>
            <p:cNvSpPr>
              <a:spLocks/>
            </p:cNvSpPr>
            <p:nvPr/>
          </p:nvSpPr>
          <p:spPr bwMode="auto">
            <a:xfrm>
              <a:off x="4149" y="3081"/>
              <a:ext cx="19" cy="9"/>
            </a:xfrm>
            <a:custGeom>
              <a:avLst/>
              <a:gdLst>
                <a:gd name="T0" fmla="*/ 0 w 33"/>
                <a:gd name="T1" fmla="*/ 1 h 17"/>
                <a:gd name="T2" fmla="*/ 1 w 33"/>
                <a:gd name="T3" fmla="*/ 1 h 17"/>
                <a:gd name="T4" fmla="*/ 1 w 33"/>
                <a:gd name="T5" fmla="*/ 1 h 17"/>
                <a:gd name="T6" fmla="*/ 1 w 33"/>
                <a:gd name="T7" fmla="*/ 1 h 17"/>
                <a:gd name="T8" fmla="*/ 1 w 33"/>
                <a:gd name="T9" fmla="*/ 1 h 17"/>
                <a:gd name="T10" fmla="*/ 1 w 33"/>
                <a:gd name="T11" fmla="*/ 0 h 17"/>
                <a:gd name="T12" fmla="*/ 0 w 33"/>
                <a:gd name="T13" fmla="*/ 1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3"/>
                <a:gd name="T22" fmla="*/ 0 h 17"/>
                <a:gd name="T23" fmla="*/ 33 w 33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3" h="17">
                  <a:moveTo>
                    <a:pt x="0" y="9"/>
                  </a:moveTo>
                  <a:lnTo>
                    <a:pt x="2" y="17"/>
                  </a:lnTo>
                  <a:lnTo>
                    <a:pt x="18" y="17"/>
                  </a:lnTo>
                  <a:lnTo>
                    <a:pt x="28" y="12"/>
                  </a:lnTo>
                  <a:lnTo>
                    <a:pt x="26" y="7"/>
                  </a:lnTo>
                  <a:lnTo>
                    <a:pt x="33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59" name="Freeform 287"/>
            <p:cNvSpPr>
              <a:spLocks/>
            </p:cNvSpPr>
            <p:nvPr/>
          </p:nvSpPr>
          <p:spPr bwMode="auto">
            <a:xfrm>
              <a:off x="3884" y="3038"/>
              <a:ext cx="10" cy="8"/>
            </a:xfrm>
            <a:custGeom>
              <a:avLst/>
              <a:gdLst>
                <a:gd name="T0" fmla="*/ 0 w 17"/>
                <a:gd name="T1" fmla="*/ 1 h 15"/>
                <a:gd name="T2" fmla="*/ 1 w 17"/>
                <a:gd name="T3" fmla="*/ 1 h 15"/>
                <a:gd name="T4" fmla="*/ 1 w 17"/>
                <a:gd name="T5" fmla="*/ 1 h 15"/>
                <a:gd name="T6" fmla="*/ 1 w 17"/>
                <a:gd name="T7" fmla="*/ 0 h 15"/>
                <a:gd name="T8" fmla="*/ 0 w 17"/>
                <a:gd name="T9" fmla="*/ 1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5"/>
                <a:gd name="T17" fmla="*/ 17 w 17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5">
                  <a:moveTo>
                    <a:pt x="0" y="7"/>
                  </a:moveTo>
                  <a:lnTo>
                    <a:pt x="12" y="15"/>
                  </a:lnTo>
                  <a:lnTo>
                    <a:pt x="17" y="5"/>
                  </a:lnTo>
                  <a:lnTo>
                    <a:pt x="10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60" name="Freeform 288"/>
            <p:cNvSpPr>
              <a:spLocks/>
            </p:cNvSpPr>
            <p:nvPr/>
          </p:nvSpPr>
          <p:spPr bwMode="auto">
            <a:xfrm>
              <a:off x="4108" y="3072"/>
              <a:ext cx="6" cy="6"/>
            </a:xfrm>
            <a:custGeom>
              <a:avLst/>
              <a:gdLst>
                <a:gd name="T0" fmla="*/ 0 w 10"/>
                <a:gd name="T1" fmla="*/ 1 h 10"/>
                <a:gd name="T2" fmla="*/ 1 w 10"/>
                <a:gd name="T3" fmla="*/ 1 h 10"/>
                <a:gd name="T4" fmla="*/ 1 w 10"/>
                <a:gd name="T5" fmla="*/ 0 h 10"/>
                <a:gd name="T6" fmla="*/ 0 w 10"/>
                <a:gd name="T7" fmla="*/ 1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10"/>
                <a:gd name="T14" fmla="*/ 10 w 10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10">
                  <a:moveTo>
                    <a:pt x="0" y="5"/>
                  </a:moveTo>
                  <a:lnTo>
                    <a:pt x="2" y="10"/>
                  </a:lnTo>
                  <a:lnTo>
                    <a:pt x="1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61" name="Freeform 289"/>
            <p:cNvSpPr>
              <a:spLocks/>
            </p:cNvSpPr>
            <p:nvPr/>
          </p:nvSpPr>
          <p:spPr bwMode="auto">
            <a:xfrm>
              <a:off x="3715" y="3146"/>
              <a:ext cx="6" cy="4"/>
            </a:xfrm>
            <a:custGeom>
              <a:avLst/>
              <a:gdLst>
                <a:gd name="T0" fmla="*/ 0 w 10"/>
                <a:gd name="T1" fmla="*/ 0 h 9"/>
                <a:gd name="T2" fmla="*/ 1 w 10"/>
                <a:gd name="T3" fmla="*/ 0 h 9"/>
                <a:gd name="T4" fmla="*/ 1 w 10"/>
                <a:gd name="T5" fmla="*/ 0 h 9"/>
                <a:gd name="T6" fmla="*/ 0 w 10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9"/>
                <a:gd name="T14" fmla="*/ 10 w 10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9">
                  <a:moveTo>
                    <a:pt x="0" y="2"/>
                  </a:moveTo>
                  <a:lnTo>
                    <a:pt x="5" y="9"/>
                  </a:lnTo>
                  <a:lnTo>
                    <a:pt x="10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62" name="Freeform 290"/>
            <p:cNvSpPr>
              <a:spLocks/>
            </p:cNvSpPr>
            <p:nvPr/>
          </p:nvSpPr>
          <p:spPr bwMode="auto">
            <a:xfrm>
              <a:off x="3725" y="3149"/>
              <a:ext cx="4" cy="3"/>
            </a:xfrm>
            <a:custGeom>
              <a:avLst/>
              <a:gdLst>
                <a:gd name="T0" fmla="*/ 0 w 7"/>
                <a:gd name="T1" fmla="*/ 1 h 5"/>
                <a:gd name="T2" fmla="*/ 1 w 7"/>
                <a:gd name="T3" fmla="*/ 1 h 5"/>
                <a:gd name="T4" fmla="*/ 1 w 7"/>
                <a:gd name="T5" fmla="*/ 0 h 5"/>
                <a:gd name="T6" fmla="*/ 0 w 7"/>
                <a:gd name="T7" fmla="*/ 1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5"/>
                <a:gd name="T14" fmla="*/ 7 w 7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5">
                  <a:moveTo>
                    <a:pt x="0" y="2"/>
                  </a:moveTo>
                  <a:lnTo>
                    <a:pt x="7" y="5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63" name="Freeform 291"/>
            <p:cNvSpPr>
              <a:spLocks/>
            </p:cNvSpPr>
            <p:nvPr/>
          </p:nvSpPr>
          <p:spPr bwMode="auto">
            <a:xfrm>
              <a:off x="3741" y="3140"/>
              <a:ext cx="4" cy="6"/>
            </a:xfrm>
            <a:custGeom>
              <a:avLst/>
              <a:gdLst>
                <a:gd name="T0" fmla="*/ 0 w 7"/>
                <a:gd name="T1" fmla="*/ 1 h 10"/>
                <a:gd name="T2" fmla="*/ 0 w 7"/>
                <a:gd name="T3" fmla="*/ 1 h 10"/>
                <a:gd name="T4" fmla="*/ 1 w 7"/>
                <a:gd name="T5" fmla="*/ 0 h 10"/>
                <a:gd name="T6" fmla="*/ 0 w 7"/>
                <a:gd name="T7" fmla="*/ 1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0"/>
                <a:gd name="T14" fmla="*/ 7 w 7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0">
                  <a:moveTo>
                    <a:pt x="0" y="10"/>
                  </a:moveTo>
                  <a:lnTo>
                    <a:pt x="0" y="5"/>
                  </a:lnTo>
                  <a:lnTo>
                    <a:pt x="7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64" name="Freeform 292"/>
            <p:cNvSpPr>
              <a:spLocks/>
            </p:cNvSpPr>
            <p:nvPr/>
          </p:nvSpPr>
          <p:spPr bwMode="auto">
            <a:xfrm>
              <a:off x="3738" y="3146"/>
              <a:ext cx="3" cy="3"/>
            </a:xfrm>
            <a:custGeom>
              <a:avLst/>
              <a:gdLst>
                <a:gd name="T0" fmla="*/ 1 w 5"/>
                <a:gd name="T1" fmla="*/ 0 h 7"/>
                <a:gd name="T2" fmla="*/ 0 w 5"/>
                <a:gd name="T3" fmla="*/ 0 h 7"/>
                <a:gd name="T4" fmla="*/ 1 w 5"/>
                <a:gd name="T5" fmla="*/ 0 h 7"/>
                <a:gd name="T6" fmla="*/ 1 w 5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7"/>
                <a:gd name="T14" fmla="*/ 5 w 5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7">
                  <a:moveTo>
                    <a:pt x="5" y="0"/>
                  </a:moveTo>
                  <a:lnTo>
                    <a:pt x="0" y="7"/>
                  </a:lnTo>
                  <a:lnTo>
                    <a:pt x="5" y="5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65" name="Freeform 293"/>
            <p:cNvSpPr>
              <a:spLocks/>
            </p:cNvSpPr>
            <p:nvPr/>
          </p:nvSpPr>
          <p:spPr bwMode="auto">
            <a:xfrm>
              <a:off x="3939" y="3346"/>
              <a:ext cx="4" cy="3"/>
            </a:xfrm>
            <a:custGeom>
              <a:avLst/>
              <a:gdLst>
                <a:gd name="T0" fmla="*/ 0 w 7"/>
                <a:gd name="T1" fmla="*/ 0 h 7"/>
                <a:gd name="T2" fmla="*/ 1 w 7"/>
                <a:gd name="T3" fmla="*/ 0 h 7"/>
                <a:gd name="T4" fmla="*/ 1 w 7"/>
                <a:gd name="T5" fmla="*/ 0 h 7"/>
                <a:gd name="T6" fmla="*/ 0 w 7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7"/>
                <a:gd name="T14" fmla="*/ 7 w 7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7">
                  <a:moveTo>
                    <a:pt x="0" y="7"/>
                  </a:moveTo>
                  <a:lnTo>
                    <a:pt x="7" y="5"/>
                  </a:lnTo>
                  <a:lnTo>
                    <a:pt x="3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66" name="Freeform 294"/>
            <p:cNvSpPr>
              <a:spLocks/>
            </p:cNvSpPr>
            <p:nvPr/>
          </p:nvSpPr>
          <p:spPr bwMode="auto">
            <a:xfrm>
              <a:off x="4865" y="3459"/>
              <a:ext cx="355" cy="246"/>
            </a:xfrm>
            <a:custGeom>
              <a:avLst/>
              <a:gdLst>
                <a:gd name="T0" fmla="*/ 1 w 600"/>
                <a:gd name="T1" fmla="*/ 4 h 473"/>
                <a:gd name="T2" fmla="*/ 2 w 600"/>
                <a:gd name="T3" fmla="*/ 4 h 473"/>
                <a:gd name="T4" fmla="*/ 4 w 600"/>
                <a:gd name="T5" fmla="*/ 4 h 473"/>
                <a:gd name="T6" fmla="*/ 7 w 600"/>
                <a:gd name="T7" fmla="*/ 3 h 473"/>
                <a:gd name="T8" fmla="*/ 8 w 600"/>
                <a:gd name="T9" fmla="*/ 4 h 473"/>
                <a:gd name="T10" fmla="*/ 8 w 600"/>
                <a:gd name="T11" fmla="*/ 4 h 473"/>
                <a:gd name="T12" fmla="*/ 9 w 600"/>
                <a:gd name="T13" fmla="*/ 4 h 473"/>
                <a:gd name="T14" fmla="*/ 9 w 600"/>
                <a:gd name="T15" fmla="*/ 4 h 473"/>
                <a:gd name="T16" fmla="*/ 9 w 600"/>
                <a:gd name="T17" fmla="*/ 4 h 473"/>
                <a:gd name="T18" fmla="*/ 10 w 600"/>
                <a:gd name="T19" fmla="*/ 4 h 473"/>
                <a:gd name="T20" fmla="*/ 10 w 600"/>
                <a:gd name="T21" fmla="*/ 4 h 473"/>
                <a:gd name="T22" fmla="*/ 11 w 600"/>
                <a:gd name="T23" fmla="*/ 5 h 473"/>
                <a:gd name="T24" fmla="*/ 11 w 600"/>
                <a:gd name="T25" fmla="*/ 5 h 473"/>
                <a:gd name="T26" fmla="*/ 12 w 600"/>
                <a:gd name="T27" fmla="*/ 5 h 473"/>
                <a:gd name="T28" fmla="*/ 12 w 600"/>
                <a:gd name="T29" fmla="*/ 5 h 473"/>
                <a:gd name="T30" fmla="*/ 12 w 600"/>
                <a:gd name="T31" fmla="*/ 5 h 473"/>
                <a:gd name="T32" fmla="*/ 14 w 600"/>
                <a:gd name="T33" fmla="*/ 5 h 473"/>
                <a:gd name="T34" fmla="*/ 15 w 600"/>
                <a:gd name="T35" fmla="*/ 3 h 473"/>
                <a:gd name="T36" fmla="*/ 15 w 600"/>
                <a:gd name="T37" fmla="*/ 3 h 473"/>
                <a:gd name="T38" fmla="*/ 14 w 600"/>
                <a:gd name="T39" fmla="*/ 2 h 473"/>
                <a:gd name="T40" fmla="*/ 14 w 600"/>
                <a:gd name="T41" fmla="*/ 2 h 473"/>
                <a:gd name="T42" fmla="*/ 13 w 600"/>
                <a:gd name="T43" fmla="*/ 2 h 473"/>
                <a:gd name="T44" fmla="*/ 12 w 600"/>
                <a:gd name="T45" fmla="*/ 1 h 473"/>
                <a:gd name="T46" fmla="*/ 12 w 600"/>
                <a:gd name="T47" fmla="*/ 1 h 473"/>
                <a:gd name="T48" fmla="*/ 12 w 600"/>
                <a:gd name="T49" fmla="*/ 1 h 473"/>
                <a:gd name="T50" fmla="*/ 11 w 600"/>
                <a:gd name="T51" fmla="*/ 0 h 473"/>
                <a:gd name="T52" fmla="*/ 11 w 600"/>
                <a:gd name="T53" fmla="*/ 1 h 473"/>
                <a:gd name="T54" fmla="*/ 10 w 600"/>
                <a:gd name="T55" fmla="*/ 1 h 473"/>
                <a:gd name="T56" fmla="*/ 9 w 600"/>
                <a:gd name="T57" fmla="*/ 1 h 473"/>
                <a:gd name="T58" fmla="*/ 8 w 600"/>
                <a:gd name="T59" fmla="*/ 1 h 473"/>
                <a:gd name="T60" fmla="*/ 9 w 600"/>
                <a:gd name="T61" fmla="*/ 1 h 473"/>
                <a:gd name="T62" fmla="*/ 9 w 600"/>
                <a:gd name="T63" fmla="*/ 1 h 473"/>
                <a:gd name="T64" fmla="*/ 8 w 600"/>
                <a:gd name="T65" fmla="*/ 1 h 473"/>
                <a:gd name="T66" fmla="*/ 7 w 600"/>
                <a:gd name="T67" fmla="*/ 1 h 473"/>
                <a:gd name="T68" fmla="*/ 7 w 600"/>
                <a:gd name="T69" fmla="*/ 1 h 473"/>
                <a:gd name="T70" fmla="*/ 7 w 600"/>
                <a:gd name="T71" fmla="*/ 1 h 473"/>
                <a:gd name="T72" fmla="*/ 7 w 600"/>
                <a:gd name="T73" fmla="*/ 1 h 473"/>
                <a:gd name="T74" fmla="*/ 7 w 600"/>
                <a:gd name="T75" fmla="*/ 1 h 473"/>
                <a:gd name="T76" fmla="*/ 6 w 600"/>
                <a:gd name="T77" fmla="*/ 1 h 473"/>
                <a:gd name="T78" fmla="*/ 5 w 600"/>
                <a:gd name="T79" fmla="*/ 1 h 473"/>
                <a:gd name="T80" fmla="*/ 5 w 600"/>
                <a:gd name="T81" fmla="*/ 1 h 473"/>
                <a:gd name="T82" fmla="*/ 5 w 600"/>
                <a:gd name="T83" fmla="*/ 1 h 473"/>
                <a:gd name="T84" fmla="*/ 4 w 600"/>
                <a:gd name="T85" fmla="*/ 1 h 473"/>
                <a:gd name="T86" fmla="*/ 4 w 600"/>
                <a:gd name="T87" fmla="*/ 1 h 473"/>
                <a:gd name="T88" fmla="*/ 4 w 600"/>
                <a:gd name="T89" fmla="*/ 1 h 473"/>
                <a:gd name="T90" fmla="*/ 4 w 600"/>
                <a:gd name="T91" fmla="*/ 1 h 473"/>
                <a:gd name="T92" fmla="*/ 1 w 600"/>
                <a:gd name="T93" fmla="*/ 2 h 473"/>
                <a:gd name="T94" fmla="*/ 1 w 600"/>
                <a:gd name="T95" fmla="*/ 2 h 473"/>
                <a:gd name="T96" fmla="*/ 1 w 600"/>
                <a:gd name="T97" fmla="*/ 2 h 473"/>
                <a:gd name="T98" fmla="*/ 1 w 600"/>
                <a:gd name="T99" fmla="*/ 3 h 473"/>
                <a:gd name="T100" fmla="*/ 1 w 600"/>
                <a:gd name="T101" fmla="*/ 3 h 473"/>
                <a:gd name="T102" fmla="*/ 1 w 600"/>
                <a:gd name="T103" fmla="*/ 3 h 473"/>
                <a:gd name="T104" fmla="*/ 1 w 600"/>
                <a:gd name="T105" fmla="*/ 4 h 473"/>
                <a:gd name="T106" fmla="*/ 1 w 600"/>
                <a:gd name="T107" fmla="*/ 4 h 47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00"/>
                <a:gd name="T163" fmla="*/ 0 h 473"/>
                <a:gd name="T164" fmla="*/ 600 w 600"/>
                <a:gd name="T165" fmla="*/ 473 h 47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00" h="473">
                  <a:moveTo>
                    <a:pt x="28" y="378"/>
                  </a:moveTo>
                  <a:lnTo>
                    <a:pt x="50" y="395"/>
                  </a:lnTo>
                  <a:lnTo>
                    <a:pt x="76" y="395"/>
                  </a:lnTo>
                  <a:lnTo>
                    <a:pt x="99" y="373"/>
                  </a:lnTo>
                  <a:lnTo>
                    <a:pt x="151" y="373"/>
                  </a:lnTo>
                  <a:lnTo>
                    <a:pt x="161" y="359"/>
                  </a:lnTo>
                  <a:lnTo>
                    <a:pt x="191" y="343"/>
                  </a:lnTo>
                  <a:lnTo>
                    <a:pt x="269" y="333"/>
                  </a:lnTo>
                  <a:lnTo>
                    <a:pt x="312" y="350"/>
                  </a:lnTo>
                  <a:lnTo>
                    <a:pt x="310" y="359"/>
                  </a:lnTo>
                  <a:lnTo>
                    <a:pt x="321" y="362"/>
                  </a:lnTo>
                  <a:lnTo>
                    <a:pt x="333" y="395"/>
                  </a:lnTo>
                  <a:lnTo>
                    <a:pt x="364" y="354"/>
                  </a:lnTo>
                  <a:lnTo>
                    <a:pt x="366" y="369"/>
                  </a:lnTo>
                  <a:lnTo>
                    <a:pt x="352" y="397"/>
                  </a:lnTo>
                  <a:lnTo>
                    <a:pt x="364" y="397"/>
                  </a:lnTo>
                  <a:lnTo>
                    <a:pt x="369" y="380"/>
                  </a:lnTo>
                  <a:lnTo>
                    <a:pt x="376" y="395"/>
                  </a:lnTo>
                  <a:lnTo>
                    <a:pt x="369" y="406"/>
                  </a:lnTo>
                  <a:lnTo>
                    <a:pt x="380" y="404"/>
                  </a:lnTo>
                  <a:lnTo>
                    <a:pt x="387" y="411"/>
                  </a:lnTo>
                  <a:lnTo>
                    <a:pt x="397" y="425"/>
                  </a:lnTo>
                  <a:lnTo>
                    <a:pt x="397" y="437"/>
                  </a:lnTo>
                  <a:lnTo>
                    <a:pt x="406" y="449"/>
                  </a:lnTo>
                  <a:lnTo>
                    <a:pt x="418" y="458"/>
                  </a:lnTo>
                  <a:lnTo>
                    <a:pt x="437" y="458"/>
                  </a:lnTo>
                  <a:lnTo>
                    <a:pt x="449" y="465"/>
                  </a:lnTo>
                  <a:lnTo>
                    <a:pt x="470" y="447"/>
                  </a:lnTo>
                  <a:lnTo>
                    <a:pt x="473" y="458"/>
                  </a:lnTo>
                  <a:lnTo>
                    <a:pt x="480" y="454"/>
                  </a:lnTo>
                  <a:lnTo>
                    <a:pt x="480" y="463"/>
                  </a:lnTo>
                  <a:lnTo>
                    <a:pt x="494" y="473"/>
                  </a:lnTo>
                  <a:lnTo>
                    <a:pt x="520" y="449"/>
                  </a:lnTo>
                  <a:lnTo>
                    <a:pt x="546" y="442"/>
                  </a:lnTo>
                  <a:lnTo>
                    <a:pt x="550" y="406"/>
                  </a:lnTo>
                  <a:lnTo>
                    <a:pt x="593" y="324"/>
                  </a:lnTo>
                  <a:lnTo>
                    <a:pt x="600" y="284"/>
                  </a:lnTo>
                  <a:lnTo>
                    <a:pt x="593" y="241"/>
                  </a:lnTo>
                  <a:lnTo>
                    <a:pt x="574" y="208"/>
                  </a:lnTo>
                  <a:lnTo>
                    <a:pt x="562" y="199"/>
                  </a:lnTo>
                  <a:lnTo>
                    <a:pt x="558" y="184"/>
                  </a:lnTo>
                  <a:lnTo>
                    <a:pt x="546" y="175"/>
                  </a:lnTo>
                  <a:lnTo>
                    <a:pt x="543" y="180"/>
                  </a:lnTo>
                  <a:lnTo>
                    <a:pt x="529" y="149"/>
                  </a:lnTo>
                  <a:lnTo>
                    <a:pt x="494" y="125"/>
                  </a:lnTo>
                  <a:lnTo>
                    <a:pt x="487" y="99"/>
                  </a:lnTo>
                  <a:lnTo>
                    <a:pt x="480" y="90"/>
                  </a:lnTo>
                  <a:lnTo>
                    <a:pt x="477" y="64"/>
                  </a:lnTo>
                  <a:lnTo>
                    <a:pt x="465" y="54"/>
                  </a:lnTo>
                  <a:lnTo>
                    <a:pt x="454" y="54"/>
                  </a:lnTo>
                  <a:lnTo>
                    <a:pt x="439" y="5"/>
                  </a:lnTo>
                  <a:lnTo>
                    <a:pt x="435" y="0"/>
                  </a:lnTo>
                  <a:lnTo>
                    <a:pt x="423" y="21"/>
                  </a:lnTo>
                  <a:lnTo>
                    <a:pt x="423" y="66"/>
                  </a:lnTo>
                  <a:lnTo>
                    <a:pt x="411" y="104"/>
                  </a:lnTo>
                  <a:lnTo>
                    <a:pt x="397" y="109"/>
                  </a:lnTo>
                  <a:lnTo>
                    <a:pt x="357" y="80"/>
                  </a:lnTo>
                  <a:lnTo>
                    <a:pt x="345" y="80"/>
                  </a:lnTo>
                  <a:lnTo>
                    <a:pt x="345" y="71"/>
                  </a:lnTo>
                  <a:lnTo>
                    <a:pt x="331" y="64"/>
                  </a:lnTo>
                  <a:lnTo>
                    <a:pt x="338" y="38"/>
                  </a:lnTo>
                  <a:lnTo>
                    <a:pt x="345" y="38"/>
                  </a:lnTo>
                  <a:lnTo>
                    <a:pt x="352" y="24"/>
                  </a:lnTo>
                  <a:lnTo>
                    <a:pt x="345" y="19"/>
                  </a:lnTo>
                  <a:lnTo>
                    <a:pt x="340" y="28"/>
                  </a:lnTo>
                  <a:lnTo>
                    <a:pt x="336" y="21"/>
                  </a:lnTo>
                  <a:lnTo>
                    <a:pt x="326" y="24"/>
                  </a:lnTo>
                  <a:lnTo>
                    <a:pt x="284" y="10"/>
                  </a:lnTo>
                  <a:lnTo>
                    <a:pt x="288" y="17"/>
                  </a:lnTo>
                  <a:lnTo>
                    <a:pt x="284" y="24"/>
                  </a:lnTo>
                  <a:lnTo>
                    <a:pt x="265" y="24"/>
                  </a:lnTo>
                  <a:lnTo>
                    <a:pt x="255" y="31"/>
                  </a:lnTo>
                  <a:lnTo>
                    <a:pt x="255" y="43"/>
                  </a:lnTo>
                  <a:lnTo>
                    <a:pt x="246" y="43"/>
                  </a:lnTo>
                  <a:lnTo>
                    <a:pt x="239" y="57"/>
                  </a:lnTo>
                  <a:lnTo>
                    <a:pt x="246" y="62"/>
                  </a:lnTo>
                  <a:lnTo>
                    <a:pt x="243" y="69"/>
                  </a:lnTo>
                  <a:lnTo>
                    <a:pt x="227" y="62"/>
                  </a:lnTo>
                  <a:lnTo>
                    <a:pt x="222" y="69"/>
                  </a:lnTo>
                  <a:lnTo>
                    <a:pt x="222" y="62"/>
                  </a:lnTo>
                  <a:lnTo>
                    <a:pt x="210" y="50"/>
                  </a:lnTo>
                  <a:lnTo>
                    <a:pt x="201" y="47"/>
                  </a:lnTo>
                  <a:lnTo>
                    <a:pt x="187" y="59"/>
                  </a:lnTo>
                  <a:lnTo>
                    <a:pt x="177" y="59"/>
                  </a:lnTo>
                  <a:lnTo>
                    <a:pt x="163" y="85"/>
                  </a:lnTo>
                  <a:lnTo>
                    <a:pt x="156" y="83"/>
                  </a:lnTo>
                  <a:lnTo>
                    <a:pt x="151" y="90"/>
                  </a:lnTo>
                  <a:lnTo>
                    <a:pt x="158" y="95"/>
                  </a:lnTo>
                  <a:lnTo>
                    <a:pt x="151" y="104"/>
                  </a:lnTo>
                  <a:lnTo>
                    <a:pt x="144" y="88"/>
                  </a:lnTo>
                  <a:lnTo>
                    <a:pt x="132" y="102"/>
                  </a:lnTo>
                  <a:lnTo>
                    <a:pt x="135" y="114"/>
                  </a:lnTo>
                  <a:lnTo>
                    <a:pt x="113" y="137"/>
                  </a:lnTo>
                  <a:lnTo>
                    <a:pt x="43" y="156"/>
                  </a:lnTo>
                  <a:lnTo>
                    <a:pt x="14" y="180"/>
                  </a:lnTo>
                  <a:lnTo>
                    <a:pt x="10" y="170"/>
                  </a:lnTo>
                  <a:lnTo>
                    <a:pt x="5" y="184"/>
                  </a:lnTo>
                  <a:lnTo>
                    <a:pt x="7" y="199"/>
                  </a:lnTo>
                  <a:lnTo>
                    <a:pt x="0" y="203"/>
                  </a:lnTo>
                  <a:lnTo>
                    <a:pt x="12" y="246"/>
                  </a:lnTo>
                  <a:lnTo>
                    <a:pt x="2" y="232"/>
                  </a:lnTo>
                  <a:lnTo>
                    <a:pt x="7" y="248"/>
                  </a:lnTo>
                  <a:lnTo>
                    <a:pt x="0" y="241"/>
                  </a:lnTo>
                  <a:lnTo>
                    <a:pt x="24" y="291"/>
                  </a:lnTo>
                  <a:lnTo>
                    <a:pt x="38" y="336"/>
                  </a:lnTo>
                  <a:lnTo>
                    <a:pt x="38" y="362"/>
                  </a:lnTo>
                  <a:lnTo>
                    <a:pt x="28" y="369"/>
                  </a:lnTo>
                  <a:lnTo>
                    <a:pt x="28" y="378"/>
                  </a:lnTo>
                  <a:close/>
                </a:path>
              </a:pathLst>
            </a:custGeom>
            <a:solidFill>
              <a:srgbClr val="12457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27432" tIns="27432" rIns="27432" bIns="27432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67" name="Freeform 295"/>
            <p:cNvSpPr>
              <a:spLocks/>
            </p:cNvSpPr>
            <p:nvPr/>
          </p:nvSpPr>
          <p:spPr bwMode="auto">
            <a:xfrm>
              <a:off x="5013" y="3464"/>
              <a:ext cx="11" cy="5"/>
            </a:xfrm>
            <a:custGeom>
              <a:avLst/>
              <a:gdLst>
                <a:gd name="T0" fmla="*/ 0 w 19"/>
                <a:gd name="T1" fmla="*/ 1 h 9"/>
                <a:gd name="T2" fmla="*/ 1 w 19"/>
                <a:gd name="T3" fmla="*/ 1 h 9"/>
                <a:gd name="T4" fmla="*/ 1 w 19"/>
                <a:gd name="T5" fmla="*/ 1 h 9"/>
                <a:gd name="T6" fmla="*/ 1 w 19"/>
                <a:gd name="T7" fmla="*/ 0 h 9"/>
                <a:gd name="T8" fmla="*/ 0 w 19"/>
                <a:gd name="T9" fmla="*/ 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9"/>
                <a:gd name="T17" fmla="*/ 19 w 1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9">
                  <a:moveTo>
                    <a:pt x="0" y="7"/>
                  </a:moveTo>
                  <a:lnTo>
                    <a:pt x="12" y="9"/>
                  </a:lnTo>
                  <a:lnTo>
                    <a:pt x="19" y="2"/>
                  </a:lnTo>
                  <a:lnTo>
                    <a:pt x="3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68" name="Freeform 296"/>
            <p:cNvSpPr>
              <a:spLocks/>
            </p:cNvSpPr>
            <p:nvPr/>
          </p:nvSpPr>
          <p:spPr bwMode="auto">
            <a:xfrm>
              <a:off x="5069" y="3670"/>
              <a:ext cx="15" cy="6"/>
            </a:xfrm>
            <a:custGeom>
              <a:avLst/>
              <a:gdLst>
                <a:gd name="T0" fmla="*/ 0 w 24"/>
                <a:gd name="T1" fmla="*/ 1 h 10"/>
                <a:gd name="T2" fmla="*/ 1 w 24"/>
                <a:gd name="T3" fmla="*/ 1 h 10"/>
                <a:gd name="T4" fmla="*/ 1 w 24"/>
                <a:gd name="T5" fmla="*/ 1 h 10"/>
                <a:gd name="T6" fmla="*/ 1 w 24"/>
                <a:gd name="T7" fmla="*/ 0 h 10"/>
                <a:gd name="T8" fmla="*/ 0 w 24"/>
                <a:gd name="T9" fmla="*/ 1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10"/>
                <a:gd name="T17" fmla="*/ 24 w 24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10">
                  <a:moveTo>
                    <a:pt x="0" y="5"/>
                  </a:moveTo>
                  <a:lnTo>
                    <a:pt x="17" y="10"/>
                  </a:lnTo>
                  <a:lnTo>
                    <a:pt x="24" y="5"/>
                  </a:lnTo>
                  <a:lnTo>
                    <a:pt x="14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69" name="Freeform 297"/>
            <p:cNvSpPr>
              <a:spLocks/>
            </p:cNvSpPr>
            <p:nvPr/>
          </p:nvSpPr>
          <p:spPr bwMode="auto">
            <a:xfrm>
              <a:off x="5143" y="3720"/>
              <a:ext cx="31" cy="30"/>
            </a:xfrm>
            <a:custGeom>
              <a:avLst/>
              <a:gdLst>
                <a:gd name="T0" fmla="*/ 0 w 52"/>
                <a:gd name="T1" fmla="*/ 0 h 57"/>
                <a:gd name="T2" fmla="*/ 1 w 52"/>
                <a:gd name="T3" fmla="*/ 1 h 57"/>
                <a:gd name="T4" fmla="*/ 1 w 52"/>
                <a:gd name="T5" fmla="*/ 1 h 57"/>
                <a:gd name="T6" fmla="*/ 1 w 52"/>
                <a:gd name="T7" fmla="*/ 1 h 57"/>
                <a:gd name="T8" fmla="*/ 1 w 52"/>
                <a:gd name="T9" fmla="*/ 1 h 57"/>
                <a:gd name="T10" fmla="*/ 1 w 52"/>
                <a:gd name="T11" fmla="*/ 1 h 57"/>
                <a:gd name="T12" fmla="*/ 1 w 52"/>
                <a:gd name="T13" fmla="*/ 1 h 57"/>
                <a:gd name="T14" fmla="*/ 1 w 52"/>
                <a:gd name="T15" fmla="*/ 1 h 57"/>
                <a:gd name="T16" fmla="*/ 0 w 52"/>
                <a:gd name="T17" fmla="*/ 0 h 5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2"/>
                <a:gd name="T28" fmla="*/ 0 h 57"/>
                <a:gd name="T29" fmla="*/ 52 w 52"/>
                <a:gd name="T30" fmla="*/ 57 h 5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2" h="57">
                  <a:moveTo>
                    <a:pt x="0" y="0"/>
                  </a:moveTo>
                  <a:lnTo>
                    <a:pt x="12" y="52"/>
                  </a:lnTo>
                  <a:lnTo>
                    <a:pt x="29" y="57"/>
                  </a:lnTo>
                  <a:lnTo>
                    <a:pt x="40" y="42"/>
                  </a:lnTo>
                  <a:lnTo>
                    <a:pt x="45" y="47"/>
                  </a:lnTo>
                  <a:lnTo>
                    <a:pt x="52" y="5"/>
                  </a:lnTo>
                  <a:lnTo>
                    <a:pt x="45" y="2"/>
                  </a:lnTo>
                  <a:lnTo>
                    <a:pt x="19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457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27432" tIns="27432" rIns="27432" bIns="27432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70" name="Freeform 298"/>
            <p:cNvSpPr>
              <a:spLocks/>
            </p:cNvSpPr>
            <p:nvPr/>
          </p:nvSpPr>
          <p:spPr bwMode="auto">
            <a:xfrm>
              <a:off x="5390" y="3660"/>
              <a:ext cx="50" cy="70"/>
            </a:xfrm>
            <a:custGeom>
              <a:avLst/>
              <a:gdLst>
                <a:gd name="T0" fmla="*/ 1 w 85"/>
                <a:gd name="T1" fmla="*/ 1 h 135"/>
                <a:gd name="T2" fmla="*/ 1 w 85"/>
                <a:gd name="T3" fmla="*/ 1 h 135"/>
                <a:gd name="T4" fmla="*/ 1 w 85"/>
                <a:gd name="T5" fmla="*/ 2 h 135"/>
                <a:gd name="T6" fmla="*/ 1 w 85"/>
                <a:gd name="T7" fmla="*/ 2 h 135"/>
                <a:gd name="T8" fmla="*/ 1 w 85"/>
                <a:gd name="T9" fmla="*/ 2 h 135"/>
                <a:gd name="T10" fmla="*/ 2 w 85"/>
                <a:gd name="T11" fmla="*/ 1 h 135"/>
                <a:gd name="T12" fmla="*/ 2 w 85"/>
                <a:gd name="T13" fmla="*/ 1 h 135"/>
                <a:gd name="T14" fmla="*/ 2 w 85"/>
                <a:gd name="T15" fmla="*/ 1 h 135"/>
                <a:gd name="T16" fmla="*/ 2 w 85"/>
                <a:gd name="T17" fmla="*/ 1 h 135"/>
                <a:gd name="T18" fmla="*/ 2 w 85"/>
                <a:gd name="T19" fmla="*/ 1 h 135"/>
                <a:gd name="T20" fmla="*/ 2 w 85"/>
                <a:gd name="T21" fmla="*/ 1 h 135"/>
                <a:gd name="T22" fmla="*/ 1 w 85"/>
                <a:gd name="T23" fmla="*/ 1 h 135"/>
                <a:gd name="T24" fmla="*/ 1 w 85"/>
                <a:gd name="T25" fmla="*/ 1 h 135"/>
                <a:gd name="T26" fmla="*/ 1 w 85"/>
                <a:gd name="T27" fmla="*/ 1 h 135"/>
                <a:gd name="T28" fmla="*/ 1 w 85"/>
                <a:gd name="T29" fmla="*/ 1 h 135"/>
                <a:gd name="T30" fmla="*/ 1 w 85"/>
                <a:gd name="T31" fmla="*/ 1 h 135"/>
                <a:gd name="T32" fmla="*/ 1 w 85"/>
                <a:gd name="T33" fmla="*/ 1 h 135"/>
                <a:gd name="T34" fmla="*/ 0 w 85"/>
                <a:gd name="T35" fmla="*/ 0 h 135"/>
                <a:gd name="T36" fmla="*/ 1 w 85"/>
                <a:gd name="T37" fmla="*/ 1 h 135"/>
                <a:gd name="T38" fmla="*/ 1 w 85"/>
                <a:gd name="T39" fmla="*/ 1 h 135"/>
                <a:gd name="T40" fmla="*/ 1 w 85"/>
                <a:gd name="T41" fmla="*/ 1 h 135"/>
                <a:gd name="T42" fmla="*/ 1 w 85"/>
                <a:gd name="T43" fmla="*/ 1 h 13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5"/>
                <a:gd name="T67" fmla="*/ 0 h 135"/>
                <a:gd name="T68" fmla="*/ 85 w 85"/>
                <a:gd name="T69" fmla="*/ 135 h 13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5" h="135">
                  <a:moveTo>
                    <a:pt x="14" y="90"/>
                  </a:moveTo>
                  <a:lnTo>
                    <a:pt x="35" y="102"/>
                  </a:lnTo>
                  <a:lnTo>
                    <a:pt x="31" y="128"/>
                  </a:lnTo>
                  <a:lnTo>
                    <a:pt x="35" y="135"/>
                  </a:lnTo>
                  <a:lnTo>
                    <a:pt x="45" y="130"/>
                  </a:lnTo>
                  <a:lnTo>
                    <a:pt x="64" y="88"/>
                  </a:lnTo>
                  <a:lnTo>
                    <a:pt x="78" y="85"/>
                  </a:lnTo>
                  <a:lnTo>
                    <a:pt x="83" y="76"/>
                  </a:lnTo>
                  <a:lnTo>
                    <a:pt x="85" y="59"/>
                  </a:lnTo>
                  <a:lnTo>
                    <a:pt x="78" y="54"/>
                  </a:lnTo>
                  <a:lnTo>
                    <a:pt x="66" y="64"/>
                  </a:lnTo>
                  <a:lnTo>
                    <a:pt x="50" y="59"/>
                  </a:lnTo>
                  <a:lnTo>
                    <a:pt x="45" y="40"/>
                  </a:lnTo>
                  <a:lnTo>
                    <a:pt x="40" y="38"/>
                  </a:lnTo>
                  <a:lnTo>
                    <a:pt x="40" y="50"/>
                  </a:lnTo>
                  <a:lnTo>
                    <a:pt x="31" y="45"/>
                  </a:lnTo>
                  <a:lnTo>
                    <a:pt x="24" y="17"/>
                  </a:lnTo>
                  <a:lnTo>
                    <a:pt x="0" y="0"/>
                  </a:lnTo>
                  <a:lnTo>
                    <a:pt x="24" y="45"/>
                  </a:lnTo>
                  <a:lnTo>
                    <a:pt x="31" y="45"/>
                  </a:lnTo>
                  <a:lnTo>
                    <a:pt x="26" y="83"/>
                  </a:lnTo>
                  <a:lnTo>
                    <a:pt x="14" y="9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71" name="Freeform 299"/>
            <p:cNvSpPr>
              <a:spLocks/>
            </p:cNvSpPr>
            <p:nvPr/>
          </p:nvSpPr>
          <p:spPr bwMode="auto">
            <a:xfrm>
              <a:off x="5334" y="3720"/>
              <a:ext cx="70" cy="64"/>
            </a:xfrm>
            <a:custGeom>
              <a:avLst/>
              <a:gdLst>
                <a:gd name="T0" fmla="*/ 0 w 119"/>
                <a:gd name="T1" fmla="*/ 1 h 123"/>
                <a:gd name="T2" fmla="*/ 1 w 119"/>
                <a:gd name="T3" fmla="*/ 1 h 123"/>
                <a:gd name="T4" fmla="*/ 1 w 119"/>
                <a:gd name="T5" fmla="*/ 1 h 123"/>
                <a:gd name="T6" fmla="*/ 1 w 119"/>
                <a:gd name="T7" fmla="*/ 2 h 123"/>
                <a:gd name="T8" fmla="*/ 1 w 119"/>
                <a:gd name="T9" fmla="*/ 1 h 123"/>
                <a:gd name="T10" fmla="*/ 2 w 119"/>
                <a:gd name="T11" fmla="*/ 1 h 123"/>
                <a:gd name="T12" fmla="*/ 2 w 119"/>
                <a:gd name="T13" fmla="*/ 1 h 123"/>
                <a:gd name="T14" fmla="*/ 2 w 119"/>
                <a:gd name="T15" fmla="*/ 1 h 123"/>
                <a:gd name="T16" fmla="*/ 2 w 119"/>
                <a:gd name="T17" fmla="*/ 1 h 123"/>
                <a:gd name="T18" fmla="*/ 2 w 119"/>
                <a:gd name="T19" fmla="*/ 1 h 123"/>
                <a:gd name="T20" fmla="*/ 3 w 119"/>
                <a:gd name="T21" fmla="*/ 1 h 123"/>
                <a:gd name="T22" fmla="*/ 3 w 119"/>
                <a:gd name="T23" fmla="*/ 1 h 123"/>
                <a:gd name="T24" fmla="*/ 3 w 119"/>
                <a:gd name="T25" fmla="*/ 1 h 123"/>
                <a:gd name="T26" fmla="*/ 3 w 119"/>
                <a:gd name="T27" fmla="*/ 1 h 123"/>
                <a:gd name="T28" fmla="*/ 2 w 119"/>
                <a:gd name="T29" fmla="*/ 1 h 123"/>
                <a:gd name="T30" fmla="*/ 2 w 119"/>
                <a:gd name="T31" fmla="*/ 1 h 123"/>
                <a:gd name="T32" fmla="*/ 2 w 119"/>
                <a:gd name="T33" fmla="*/ 0 h 123"/>
                <a:gd name="T34" fmla="*/ 2 w 119"/>
                <a:gd name="T35" fmla="*/ 1 h 123"/>
                <a:gd name="T36" fmla="*/ 2 w 119"/>
                <a:gd name="T37" fmla="*/ 1 h 123"/>
                <a:gd name="T38" fmla="*/ 2 w 119"/>
                <a:gd name="T39" fmla="*/ 1 h 123"/>
                <a:gd name="T40" fmla="*/ 2 w 119"/>
                <a:gd name="T41" fmla="*/ 1 h 123"/>
                <a:gd name="T42" fmla="*/ 1 w 119"/>
                <a:gd name="T43" fmla="*/ 1 h 123"/>
                <a:gd name="T44" fmla="*/ 0 w 119"/>
                <a:gd name="T45" fmla="*/ 1 h 12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19"/>
                <a:gd name="T70" fmla="*/ 0 h 123"/>
                <a:gd name="T71" fmla="*/ 119 w 119"/>
                <a:gd name="T72" fmla="*/ 123 h 123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19" h="123">
                  <a:moveTo>
                    <a:pt x="0" y="106"/>
                  </a:moveTo>
                  <a:lnTo>
                    <a:pt x="5" y="113"/>
                  </a:lnTo>
                  <a:lnTo>
                    <a:pt x="17" y="113"/>
                  </a:lnTo>
                  <a:lnTo>
                    <a:pt x="38" y="123"/>
                  </a:lnTo>
                  <a:lnTo>
                    <a:pt x="55" y="113"/>
                  </a:lnTo>
                  <a:lnTo>
                    <a:pt x="67" y="99"/>
                  </a:lnTo>
                  <a:lnTo>
                    <a:pt x="74" y="73"/>
                  </a:lnTo>
                  <a:lnTo>
                    <a:pt x="90" y="61"/>
                  </a:lnTo>
                  <a:lnTo>
                    <a:pt x="100" y="61"/>
                  </a:lnTo>
                  <a:lnTo>
                    <a:pt x="95" y="49"/>
                  </a:lnTo>
                  <a:lnTo>
                    <a:pt x="119" y="23"/>
                  </a:lnTo>
                  <a:lnTo>
                    <a:pt x="119" y="12"/>
                  </a:lnTo>
                  <a:lnTo>
                    <a:pt x="111" y="12"/>
                  </a:lnTo>
                  <a:lnTo>
                    <a:pt x="111" y="5"/>
                  </a:lnTo>
                  <a:lnTo>
                    <a:pt x="102" y="12"/>
                  </a:lnTo>
                  <a:lnTo>
                    <a:pt x="100" y="5"/>
                  </a:lnTo>
                  <a:lnTo>
                    <a:pt x="93" y="0"/>
                  </a:lnTo>
                  <a:lnTo>
                    <a:pt x="85" y="5"/>
                  </a:lnTo>
                  <a:lnTo>
                    <a:pt x="83" y="19"/>
                  </a:lnTo>
                  <a:lnTo>
                    <a:pt x="76" y="23"/>
                  </a:lnTo>
                  <a:lnTo>
                    <a:pt x="69" y="40"/>
                  </a:lnTo>
                  <a:lnTo>
                    <a:pt x="29" y="68"/>
                  </a:lnTo>
                  <a:lnTo>
                    <a:pt x="0" y="106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72" name="Freeform 300"/>
            <p:cNvSpPr>
              <a:spLocks/>
            </p:cNvSpPr>
            <p:nvPr/>
          </p:nvSpPr>
          <p:spPr bwMode="auto">
            <a:xfrm>
              <a:off x="5344" y="3784"/>
              <a:ext cx="5" cy="7"/>
            </a:xfrm>
            <a:custGeom>
              <a:avLst/>
              <a:gdLst>
                <a:gd name="T0" fmla="*/ 0 w 9"/>
                <a:gd name="T1" fmla="*/ 1 h 14"/>
                <a:gd name="T2" fmla="*/ 1 w 9"/>
                <a:gd name="T3" fmla="*/ 1 h 14"/>
                <a:gd name="T4" fmla="*/ 1 w 9"/>
                <a:gd name="T5" fmla="*/ 0 h 14"/>
                <a:gd name="T6" fmla="*/ 0 w 9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14"/>
                <a:gd name="T14" fmla="*/ 9 w 9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14">
                  <a:moveTo>
                    <a:pt x="0" y="14"/>
                  </a:moveTo>
                  <a:lnTo>
                    <a:pt x="9" y="7"/>
                  </a:lnTo>
                  <a:lnTo>
                    <a:pt x="7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73" name="Freeform 301"/>
            <p:cNvSpPr>
              <a:spLocks/>
            </p:cNvSpPr>
            <p:nvPr/>
          </p:nvSpPr>
          <p:spPr bwMode="auto">
            <a:xfrm>
              <a:off x="4706" y="3331"/>
              <a:ext cx="96" cy="89"/>
            </a:xfrm>
            <a:custGeom>
              <a:avLst/>
              <a:gdLst>
                <a:gd name="T0" fmla="*/ 0 w 163"/>
                <a:gd name="T1" fmla="*/ 0 h 171"/>
                <a:gd name="T2" fmla="*/ 1 w 163"/>
                <a:gd name="T3" fmla="*/ 1 h 171"/>
                <a:gd name="T4" fmla="*/ 1 w 163"/>
                <a:gd name="T5" fmla="*/ 1 h 171"/>
                <a:gd name="T6" fmla="*/ 1 w 163"/>
                <a:gd name="T7" fmla="*/ 1 h 171"/>
                <a:gd name="T8" fmla="*/ 1 w 163"/>
                <a:gd name="T9" fmla="*/ 1 h 171"/>
                <a:gd name="T10" fmla="*/ 1 w 163"/>
                <a:gd name="T11" fmla="*/ 1 h 171"/>
                <a:gd name="T12" fmla="*/ 2 w 163"/>
                <a:gd name="T13" fmla="*/ 1 h 171"/>
                <a:gd name="T14" fmla="*/ 2 w 163"/>
                <a:gd name="T15" fmla="*/ 2 h 171"/>
                <a:gd name="T16" fmla="*/ 3 w 163"/>
                <a:gd name="T17" fmla="*/ 2 h 171"/>
                <a:gd name="T18" fmla="*/ 4 w 163"/>
                <a:gd name="T19" fmla="*/ 2 h 171"/>
                <a:gd name="T20" fmla="*/ 4 w 163"/>
                <a:gd name="T21" fmla="*/ 2 h 171"/>
                <a:gd name="T22" fmla="*/ 4 w 163"/>
                <a:gd name="T23" fmla="*/ 2 h 171"/>
                <a:gd name="T24" fmla="*/ 4 w 163"/>
                <a:gd name="T25" fmla="*/ 2 h 171"/>
                <a:gd name="T26" fmla="*/ 3 w 163"/>
                <a:gd name="T27" fmla="*/ 1 h 171"/>
                <a:gd name="T28" fmla="*/ 3 w 163"/>
                <a:gd name="T29" fmla="*/ 1 h 171"/>
                <a:gd name="T30" fmla="*/ 3 w 163"/>
                <a:gd name="T31" fmla="*/ 1 h 171"/>
                <a:gd name="T32" fmla="*/ 3 w 163"/>
                <a:gd name="T33" fmla="*/ 1 h 171"/>
                <a:gd name="T34" fmla="*/ 3 w 163"/>
                <a:gd name="T35" fmla="*/ 1 h 171"/>
                <a:gd name="T36" fmla="*/ 2 w 163"/>
                <a:gd name="T37" fmla="*/ 1 h 171"/>
                <a:gd name="T38" fmla="*/ 2 w 163"/>
                <a:gd name="T39" fmla="*/ 1 h 171"/>
                <a:gd name="T40" fmla="*/ 1 w 163"/>
                <a:gd name="T41" fmla="*/ 1 h 171"/>
                <a:gd name="T42" fmla="*/ 0 w 163"/>
                <a:gd name="T43" fmla="*/ 0 h 17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63"/>
                <a:gd name="T67" fmla="*/ 0 h 171"/>
                <a:gd name="T68" fmla="*/ 163 w 163"/>
                <a:gd name="T69" fmla="*/ 171 h 17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63" h="171">
                  <a:moveTo>
                    <a:pt x="0" y="0"/>
                  </a:moveTo>
                  <a:lnTo>
                    <a:pt x="4" y="15"/>
                  </a:lnTo>
                  <a:lnTo>
                    <a:pt x="23" y="29"/>
                  </a:lnTo>
                  <a:lnTo>
                    <a:pt x="38" y="50"/>
                  </a:lnTo>
                  <a:lnTo>
                    <a:pt x="52" y="57"/>
                  </a:lnTo>
                  <a:lnTo>
                    <a:pt x="59" y="81"/>
                  </a:lnTo>
                  <a:lnTo>
                    <a:pt x="75" y="95"/>
                  </a:lnTo>
                  <a:lnTo>
                    <a:pt x="97" y="133"/>
                  </a:lnTo>
                  <a:lnTo>
                    <a:pt x="137" y="168"/>
                  </a:lnTo>
                  <a:lnTo>
                    <a:pt x="156" y="171"/>
                  </a:lnTo>
                  <a:lnTo>
                    <a:pt x="163" y="130"/>
                  </a:lnTo>
                  <a:lnTo>
                    <a:pt x="153" y="119"/>
                  </a:lnTo>
                  <a:lnTo>
                    <a:pt x="146" y="119"/>
                  </a:lnTo>
                  <a:lnTo>
                    <a:pt x="137" y="100"/>
                  </a:lnTo>
                  <a:lnTo>
                    <a:pt x="123" y="95"/>
                  </a:lnTo>
                  <a:lnTo>
                    <a:pt x="127" y="83"/>
                  </a:lnTo>
                  <a:lnTo>
                    <a:pt x="116" y="76"/>
                  </a:lnTo>
                  <a:lnTo>
                    <a:pt x="116" y="69"/>
                  </a:lnTo>
                  <a:lnTo>
                    <a:pt x="90" y="52"/>
                  </a:lnTo>
                  <a:lnTo>
                    <a:pt x="80" y="52"/>
                  </a:lnTo>
                  <a:lnTo>
                    <a:pt x="33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74" name="Freeform 302"/>
            <p:cNvSpPr>
              <a:spLocks/>
            </p:cNvSpPr>
            <p:nvPr/>
          </p:nvSpPr>
          <p:spPr bwMode="auto">
            <a:xfrm>
              <a:off x="4795" y="3421"/>
              <a:ext cx="80" cy="21"/>
            </a:xfrm>
            <a:custGeom>
              <a:avLst/>
              <a:gdLst>
                <a:gd name="T0" fmla="*/ 0 w 135"/>
                <a:gd name="T1" fmla="*/ 1 h 40"/>
                <a:gd name="T2" fmla="*/ 1 w 135"/>
                <a:gd name="T3" fmla="*/ 1 h 40"/>
                <a:gd name="T4" fmla="*/ 4 w 135"/>
                <a:gd name="T5" fmla="*/ 1 h 40"/>
                <a:gd name="T6" fmla="*/ 4 w 135"/>
                <a:gd name="T7" fmla="*/ 1 h 40"/>
                <a:gd name="T8" fmla="*/ 3 w 135"/>
                <a:gd name="T9" fmla="*/ 1 h 40"/>
                <a:gd name="T10" fmla="*/ 3 w 135"/>
                <a:gd name="T11" fmla="*/ 1 h 40"/>
                <a:gd name="T12" fmla="*/ 2 w 135"/>
                <a:gd name="T13" fmla="*/ 1 h 40"/>
                <a:gd name="T14" fmla="*/ 2 w 135"/>
                <a:gd name="T15" fmla="*/ 1 h 40"/>
                <a:gd name="T16" fmla="*/ 1 w 135"/>
                <a:gd name="T17" fmla="*/ 1 h 40"/>
                <a:gd name="T18" fmla="*/ 1 w 135"/>
                <a:gd name="T19" fmla="*/ 0 h 40"/>
                <a:gd name="T20" fmla="*/ 1 w 135"/>
                <a:gd name="T21" fmla="*/ 0 h 40"/>
                <a:gd name="T22" fmla="*/ 0 w 135"/>
                <a:gd name="T23" fmla="*/ 1 h 4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5"/>
                <a:gd name="T37" fmla="*/ 0 h 40"/>
                <a:gd name="T38" fmla="*/ 135 w 135"/>
                <a:gd name="T39" fmla="*/ 40 h 4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5" h="40">
                  <a:moveTo>
                    <a:pt x="0" y="12"/>
                  </a:moveTo>
                  <a:lnTo>
                    <a:pt x="38" y="26"/>
                  </a:lnTo>
                  <a:lnTo>
                    <a:pt x="135" y="40"/>
                  </a:lnTo>
                  <a:lnTo>
                    <a:pt x="135" y="26"/>
                  </a:lnTo>
                  <a:lnTo>
                    <a:pt x="111" y="24"/>
                  </a:lnTo>
                  <a:lnTo>
                    <a:pt x="104" y="14"/>
                  </a:lnTo>
                  <a:lnTo>
                    <a:pt x="80" y="7"/>
                  </a:lnTo>
                  <a:lnTo>
                    <a:pt x="76" y="14"/>
                  </a:lnTo>
                  <a:lnTo>
                    <a:pt x="54" y="12"/>
                  </a:lnTo>
                  <a:lnTo>
                    <a:pt x="28" y="0"/>
                  </a:lnTo>
                  <a:lnTo>
                    <a:pt x="9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75" name="Freeform 303"/>
            <p:cNvSpPr>
              <a:spLocks/>
            </p:cNvSpPr>
            <p:nvPr/>
          </p:nvSpPr>
          <p:spPr bwMode="auto">
            <a:xfrm>
              <a:off x="4875" y="3438"/>
              <a:ext cx="10" cy="4"/>
            </a:xfrm>
            <a:custGeom>
              <a:avLst/>
              <a:gdLst>
                <a:gd name="T0" fmla="*/ 0 w 16"/>
                <a:gd name="T1" fmla="*/ 0 h 7"/>
                <a:gd name="T2" fmla="*/ 1 w 16"/>
                <a:gd name="T3" fmla="*/ 1 h 7"/>
                <a:gd name="T4" fmla="*/ 1 w 16"/>
                <a:gd name="T5" fmla="*/ 1 h 7"/>
                <a:gd name="T6" fmla="*/ 0 w 16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7"/>
                <a:gd name="T14" fmla="*/ 16 w 16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7">
                  <a:moveTo>
                    <a:pt x="0" y="0"/>
                  </a:moveTo>
                  <a:lnTo>
                    <a:pt x="11" y="7"/>
                  </a:lnTo>
                  <a:lnTo>
                    <a:pt x="16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76" name="Freeform 304"/>
            <p:cNvSpPr>
              <a:spLocks/>
            </p:cNvSpPr>
            <p:nvPr/>
          </p:nvSpPr>
          <p:spPr bwMode="auto">
            <a:xfrm>
              <a:off x="4889" y="3438"/>
              <a:ext cx="67" cy="7"/>
            </a:xfrm>
            <a:custGeom>
              <a:avLst/>
              <a:gdLst>
                <a:gd name="T0" fmla="*/ 0 w 114"/>
                <a:gd name="T1" fmla="*/ 1 h 14"/>
                <a:gd name="T2" fmla="*/ 1 w 114"/>
                <a:gd name="T3" fmla="*/ 1 h 14"/>
                <a:gd name="T4" fmla="*/ 1 w 114"/>
                <a:gd name="T5" fmla="*/ 1 h 14"/>
                <a:gd name="T6" fmla="*/ 2 w 114"/>
                <a:gd name="T7" fmla="*/ 1 h 14"/>
                <a:gd name="T8" fmla="*/ 3 w 114"/>
                <a:gd name="T9" fmla="*/ 1 h 14"/>
                <a:gd name="T10" fmla="*/ 2 w 114"/>
                <a:gd name="T11" fmla="*/ 0 h 14"/>
                <a:gd name="T12" fmla="*/ 2 w 114"/>
                <a:gd name="T13" fmla="*/ 1 h 14"/>
                <a:gd name="T14" fmla="*/ 2 w 114"/>
                <a:gd name="T15" fmla="*/ 0 h 14"/>
                <a:gd name="T16" fmla="*/ 1 w 114"/>
                <a:gd name="T17" fmla="*/ 1 h 14"/>
                <a:gd name="T18" fmla="*/ 1 w 114"/>
                <a:gd name="T19" fmla="*/ 0 h 14"/>
                <a:gd name="T20" fmla="*/ 1 w 114"/>
                <a:gd name="T21" fmla="*/ 1 h 14"/>
                <a:gd name="T22" fmla="*/ 1 w 114"/>
                <a:gd name="T23" fmla="*/ 1 h 14"/>
                <a:gd name="T24" fmla="*/ 0 w 114"/>
                <a:gd name="T25" fmla="*/ 1 h 14"/>
                <a:gd name="T26" fmla="*/ 0 w 114"/>
                <a:gd name="T27" fmla="*/ 1 h 1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14"/>
                <a:gd name="T43" fmla="*/ 0 h 14"/>
                <a:gd name="T44" fmla="*/ 114 w 114"/>
                <a:gd name="T45" fmla="*/ 14 h 1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14" h="14">
                  <a:moveTo>
                    <a:pt x="0" y="12"/>
                  </a:moveTo>
                  <a:lnTo>
                    <a:pt x="17" y="14"/>
                  </a:lnTo>
                  <a:lnTo>
                    <a:pt x="52" y="7"/>
                  </a:lnTo>
                  <a:lnTo>
                    <a:pt x="88" y="12"/>
                  </a:lnTo>
                  <a:lnTo>
                    <a:pt x="114" y="2"/>
                  </a:lnTo>
                  <a:lnTo>
                    <a:pt x="102" y="0"/>
                  </a:lnTo>
                  <a:lnTo>
                    <a:pt x="95" y="7"/>
                  </a:lnTo>
                  <a:lnTo>
                    <a:pt x="66" y="0"/>
                  </a:lnTo>
                  <a:lnTo>
                    <a:pt x="52" y="7"/>
                  </a:lnTo>
                  <a:lnTo>
                    <a:pt x="26" y="0"/>
                  </a:lnTo>
                  <a:lnTo>
                    <a:pt x="29" y="7"/>
                  </a:lnTo>
                  <a:lnTo>
                    <a:pt x="7" y="2"/>
                  </a:lnTo>
                  <a:lnTo>
                    <a:pt x="0" y="5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77" name="Freeform 305"/>
            <p:cNvSpPr>
              <a:spLocks/>
            </p:cNvSpPr>
            <p:nvPr/>
          </p:nvSpPr>
          <p:spPr bwMode="auto">
            <a:xfrm>
              <a:off x="4962" y="3438"/>
              <a:ext cx="7" cy="3"/>
            </a:xfrm>
            <a:custGeom>
              <a:avLst/>
              <a:gdLst>
                <a:gd name="T0" fmla="*/ 0 w 12"/>
                <a:gd name="T1" fmla="*/ 1 h 5"/>
                <a:gd name="T2" fmla="*/ 1 w 12"/>
                <a:gd name="T3" fmla="*/ 1 h 5"/>
                <a:gd name="T4" fmla="*/ 1 w 12"/>
                <a:gd name="T5" fmla="*/ 0 h 5"/>
                <a:gd name="T6" fmla="*/ 0 w 12"/>
                <a:gd name="T7" fmla="*/ 1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5"/>
                <a:gd name="T14" fmla="*/ 12 w 12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5">
                  <a:moveTo>
                    <a:pt x="0" y="5"/>
                  </a:moveTo>
                  <a:lnTo>
                    <a:pt x="12" y="2"/>
                  </a:lnTo>
                  <a:lnTo>
                    <a:pt x="2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78" name="Freeform 306"/>
            <p:cNvSpPr>
              <a:spLocks/>
            </p:cNvSpPr>
            <p:nvPr/>
          </p:nvSpPr>
          <p:spPr bwMode="auto">
            <a:xfrm>
              <a:off x="4976" y="3433"/>
              <a:ext cx="7" cy="4"/>
            </a:xfrm>
            <a:custGeom>
              <a:avLst/>
              <a:gdLst>
                <a:gd name="T0" fmla="*/ 0 w 12"/>
                <a:gd name="T1" fmla="*/ 1 h 7"/>
                <a:gd name="T2" fmla="*/ 1 w 12"/>
                <a:gd name="T3" fmla="*/ 1 h 7"/>
                <a:gd name="T4" fmla="*/ 1 w 12"/>
                <a:gd name="T5" fmla="*/ 0 h 7"/>
                <a:gd name="T6" fmla="*/ 0 w 12"/>
                <a:gd name="T7" fmla="*/ 1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7"/>
                <a:gd name="T14" fmla="*/ 12 w 12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7">
                  <a:moveTo>
                    <a:pt x="0" y="7"/>
                  </a:moveTo>
                  <a:lnTo>
                    <a:pt x="7" y="7"/>
                  </a:lnTo>
                  <a:lnTo>
                    <a:pt x="12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79" name="Freeform 307"/>
            <p:cNvSpPr>
              <a:spLocks/>
            </p:cNvSpPr>
            <p:nvPr/>
          </p:nvSpPr>
          <p:spPr bwMode="auto">
            <a:xfrm>
              <a:off x="4915" y="3448"/>
              <a:ext cx="17" cy="7"/>
            </a:xfrm>
            <a:custGeom>
              <a:avLst/>
              <a:gdLst>
                <a:gd name="T0" fmla="*/ 0 w 28"/>
                <a:gd name="T1" fmla="*/ 0 h 14"/>
                <a:gd name="T2" fmla="*/ 1 w 28"/>
                <a:gd name="T3" fmla="*/ 1 h 14"/>
                <a:gd name="T4" fmla="*/ 1 w 28"/>
                <a:gd name="T5" fmla="*/ 1 h 14"/>
                <a:gd name="T6" fmla="*/ 1 w 28"/>
                <a:gd name="T7" fmla="*/ 0 h 14"/>
                <a:gd name="T8" fmla="*/ 0 w 28"/>
                <a:gd name="T9" fmla="*/ 0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8"/>
                <a:gd name="T16" fmla="*/ 0 h 14"/>
                <a:gd name="T17" fmla="*/ 28 w 28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8" h="14">
                  <a:moveTo>
                    <a:pt x="0" y="0"/>
                  </a:moveTo>
                  <a:lnTo>
                    <a:pt x="19" y="14"/>
                  </a:lnTo>
                  <a:lnTo>
                    <a:pt x="28" y="9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80" name="Freeform 308"/>
            <p:cNvSpPr>
              <a:spLocks/>
            </p:cNvSpPr>
            <p:nvPr/>
          </p:nvSpPr>
          <p:spPr bwMode="auto">
            <a:xfrm>
              <a:off x="4954" y="3439"/>
              <a:ext cx="34" cy="16"/>
            </a:xfrm>
            <a:custGeom>
              <a:avLst/>
              <a:gdLst>
                <a:gd name="T0" fmla="*/ 0 w 57"/>
                <a:gd name="T1" fmla="*/ 1 h 31"/>
                <a:gd name="T2" fmla="*/ 1 w 57"/>
                <a:gd name="T3" fmla="*/ 1 h 31"/>
                <a:gd name="T4" fmla="*/ 1 w 57"/>
                <a:gd name="T5" fmla="*/ 0 h 31"/>
                <a:gd name="T6" fmla="*/ 1 w 57"/>
                <a:gd name="T7" fmla="*/ 1 h 31"/>
                <a:gd name="T8" fmla="*/ 1 w 57"/>
                <a:gd name="T9" fmla="*/ 1 h 31"/>
                <a:gd name="T10" fmla="*/ 0 w 57"/>
                <a:gd name="T11" fmla="*/ 1 h 3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7"/>
                <a:gd name="T19" fmla="*/ 0 h 31"/>
                <a:gd name="T20" fmla="*/ 57 w 57"/>
                <a:gd name="T21" fmla="*/ 31 h 3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7" h="31">
                  <a:moveTo>
                    <a:pt x="0" y="31"/>
                  </a:moveTo>
                  <a:lnTo>
                    <a:pt x="14" y="29"/>
                  </a:lnTo>
                  <a:lnTo>
                    <a:pt x="57" y="0"/>
                  </a:lnTo>
                  <a:lnTo>
                    <a:pt x="24" y="5"/>
                  </a:lnTo>
                  <a:lnTo>
                    <a:pt x="7" y="17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81" name="Freeform 309"/>
            <p:cNvSpPr>
              <a:spLocks/>
            </p:cNvSpPr>
            <p:nvPr/>
          </p:nvSpPr>
          <p:spPr bwMode="auto">
            <a:xfrm>
              <a:off x="5049" y="3417"/>
              <a:ext cx="4" cy="12"/>
            </a:xfrm>
            <a:custGeom>
              <a:avLst/>
              <a:gdLst>
                <a:gd name="T0" fmla="*/ 0 w 7"/>
                <a:gd name="T1" fmla="*/ 1 h 23"/>
                <a:gd name="T2" fmla="*/ 1 w 7"/>
                <a:gd name="T3" fmla="*/ 1 h 23"/>
                <a:gd name="T4" fmla="*/ 1 w 7"/>
                <a:gd name="T5" fmla="*/ 0 h 23"/>
                <a:gd name="T6" fmla="*/ 0 w 7"/>
                <a:gd name="T7" fmla="*/ 1 h 2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23"/>
                <a:gd name="T14" fmla="*/ 7 w 7"/>
                <a:gd name="T15" fmla="*/ 23 h 2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23">
                  <a:moveTo>
                    <a:pt x="0" y="23"/>
                  </a:moveTo>
                  <a:lnTo>
                    <a:pt x="7" y="7"/>
                  </a:lnTo>
                  <a:lnTo>
                    <a:pt x="4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82" name="Freeform 310"/>
            <p:cNvSpPr>
              <a:spLocks/>
            </p:cNvSpPr>
            <p:nvPr/>
          </p:nvSpPr>
          <p:spPr bwMode="auto">
            <a:xfrm>
              <a:off x="4794" y="3388"/>
              <a:ext cx="12" cy="11"/>
            </a:xfrm>
            <a:custGeom>
              <a:avLst/>
              <a:gdLst>
                <a:gd name="T0" fmla="*/ 0 w 21"/>
                <a:gd name="T1" fmla="*/ 1 h 21"/>
                <a:gd name="T2" fmla="*/ 1 w 21"/>
                <a:gd name="T3" fmla="*/ 1 h 21"/>
                <a:gd name="T4" fmla="*/ 1 w 21"/>
                <a:gd name="T5" fmla="*/ 1 h 21"/>
                <a:gd name="T6" fmla="*/ 1 w 21"/>
                <a:gd name="T7" fmla="*/ 1 h 21"/>
                <a:gd name="T8" fmla="*/ 1 w 21"/>
                <a:gd name="T9" fmla="*/ 1 h 21"/>
                <a:gd name="T10" fmla="*/ 1 w 21"/>
                <a:gd name="T11" fmla="*/ 0 h 21"/>
                <a:gd name="T12" fmla="*/ 0 w 21"/>
                <a:gd name="T13" fmla="*/ 1 h 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21"/>
                <a:gd name="T23" fmla="*/ 21 w 21"/>
                <a:gd name="T24" fmla="*/ 21 h 2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21">
                  <a:moveTo>
                    <a:pt x="0" y="5"/>
                  </a:moveTo>
                  <a:lnTo>
                    <a:pt x="7" y="5"/>
                  </a:lnTo>
                  <a:lnTo>
                    <a:pt x="9" y="17"/>
                  </a:lnTo>
                  <a:lnTo>
                    <a:pt x="21" y="21"/>
                  </a:lnTo>
                  <a:lnTo>
                    <a:pt x="21" y="14"/>
                  </a:lnTo>
                  <a:lnTo>
                    <a:pt x="11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83" name="Freeform 311"/>
            <p:cNvSpPr>
              <a:spLocks/>
            </p:cNvSpPr>
            <p:nvPr/>
          </p:nvSpPr>
          <p:spPr bwMode="auto">
            <a:xfrm>
              <a:off x="4815" y="3395"/>
              <a:ext cx="5" cy="5"/>
            </a:xfrm>
            <a:custGeom>
              <a:avLst/>
              <a:gdLst>
                <a:gd name="T0" fmla="*/ 0 w 9"/>
                <a:gd name="T1" fmla="*/ 1 h 10"/>
                <a:gd name="T2" fmla="*/ 1 w 9"/>
                <a:gd name="T3" fmla="*/ 1 h 10"/>
                <a:gd name="T4" fmla="*/ 1 w 9"/>
                <a:gd name="T5" fmla="*/ 1 h 10"/>
                <a:gd name="T6" fmla="*/ 0 w 9"/>
                <a:gd name="T7" fmla="*/ 0 h 10"/>
                <a:gd name="T8" fmla="*/ 0 w 9"/>
                <a:gd name="T9" fmla="*/ 1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0"/>
                <a:gd name="T17" fmla="*/ 9 w 9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0">
                  <a:moveTo>
                    <a:pt x="0" y="7"/>
                  </a:moveTo>
                  <a:lnTo>
                    <a:pt x="7" y="10"/>
                  </a:lnTo>
                  <a:lnTo>
                    <a:pt x="9" y="3"/>
                  </a:lnTo>
                  <a:lnTo>
                    <a:pt x="0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84" name="Freeform 312"/>
            <p:cNvSpPr>
              <a:spLocks/>
            </p:cNvSpPr>
            <p:nvPr/>
          </p:nvSpPr>
          <p:spPr bwMode="auto">
            <a:xfrm>
              <a:off x="4912" y="3362"/>
              <a:ext cx="58" cy="58"/>
            </a:xfrm>
            <a:custGeom>
              <a:avLst/>
              <a:gdLst>
                <a:gd name="T0" fmla="*/ 0 w 97"/>
                <a:gd name="T1" fmla="*/ 1 h 111"/>
                <a:gd name="T2" fmla="*/ 1 w 97"/>
                <a:gd name="T3" fmla="*/ 1 h 111"/>
                <a:gd name="T4" fmla="*/ 1 w 97"/>
                <a:gd name="T5" fmla="*/ 1 h 111"/>
                <a:gd name="T6" fmla="*/ 1 w 97"/>
                <a:gd name="T7" fmla="*/ 1 h 111"/>
                <a:gd name="T8" fmla="*/ 1 w 97"/>
                <a:gd name="T9" fmla="*/ 1 h 111"/>
                <a:gd name="T10" fmla="*/ 1 w 97"/>
                <a:gd name="T11" fmla="*/ 1 h 111"/>
                <a:gd name="T12" fmla="*/ 1 w 97"/>
                <a:gd name="T13" fmla="*/ 1 h 111"/>
                <a:gd name="T14" fmla="*/ 1 w 97"/>
                <a:gd name="T15" fmla="*/ 1 h 111"/>
                <a:gd name="T16" fmla="*/ 1 w 97"/>
                <a:gd name="T17" fmla="*/ 1 h 111"/>
                <a:gd name="T18" fmla="*/ 1 w 97"/>
                <a:gd name="T19" fmla="*/ 1 h 111"/>
                <a:gd name="T20" fmla="*/ 1 w 97"/>
                <a:gd name="T21" fmla="*/ 1 h 111"/>
                <a:gd name="T22" fmla="*/ 1 w 97"/>
                <a:gd name="T23" fmla="*/ 1 h 111"/>
                <a:gd name="T24" fmla="*/ 1 w 97"/>
                <a:gd name="T25" fmla="*/ 1 h 111"/>
                <a:gd name="T26" fmla="*/ 2 w 97"/>
                <a:gd name="T27" fmla="*/ 1 h 111"/>
                <a:gd name="T28" fmla="*/ 2 w 97"/>
                <a:gd name="T29" fmla="*/ 1 h 111"/>
                <a:gd name="T30" fmla="*/ 2 w 97"/>
                <a:gd name="T31" fmla="*/ 1 h 111"/>
                <a:gd name="T32" fmla="*/ 1 w 97"/>
                <a:gd name="T33" fmla="*/ 1 h 111"/>
                <a:gd name="T34" fmla="*/ 1 w 97"/>
                <a:gd name="T35" fmla="*/ 1 h 111"/>
                <a:gd name="T36" fmla="*/ 1 w 97"/>
                <a:gd name="T37" fmla="*/ 1 h 111"/>
                <a:gd name="T38" fmla="*/ 2 w 97"/>
                <a:gd name="T39" fmla="*/ 1 h 111"/>
                <a:gd name="T40" fmla="*/ 2 w 97"/>
                <a:gd name="T41" fmla="*/ 1 h 111"/>
                <a:gd name="T42" fmla="*/ 2 w 97"/>
                <a:gd name="T43" fmla="*/ 1 h 111"/>
                <a:gd name="T44" fmla="*/ 1 w 97"/>
                <a:gd name="T45" fmla="*/ 1 h 111"/>
                <a:gd name="T46" fmla="*/ 1 w 97"/>
                <a:gd name="T47" fmla="*/ 1 h 111"/>
                <a:gd name="T48" fmla="*/ 1 w 97"/>
                <a:gd name="T49" fmla="*/ 1 h 111"/>
                <a:gd name="T50" fmla="*/ 1 w 97"/>
                <a:gd name="T51" fmla="*/ 1 h 111"/>
                <a:gd name="T52" fmla="*/ 2 w 97"/>
                <a:gd name="T53" fmla="*/ 1 h 111"/>
                <a:gd name="T54" fmla="*/ 3 w 97"/>
                <a:gd name="T55" fmla="*/ 1 h 111"/>
                <a:gd name="T56" fmla="*/ 2 w 97"/>
                <a:gd name="T57" fmla="*/ 0 h 111"/>
                <a:gd name="T58" fmla="*/ 2 w 97"/>
                <a:gd name="T59" fmla="*/ 1 h 111"/>
                <a:gd name="T60" fmla="*/ 2 w 97"/>
                <a:gd name="T61" fmla="*/ 1 h 111"/>
                <a:gd name="T62" fmla="*/ 1 w 97"/>
                <a:gd name="T63" fmla="*/ 1 h 111"/>
                <a:gd name="T64" fmla="*/ 1 w 97"/>
                <a:gd name="T65" fmla="*/ 1 h 111"/>
                <a:gd name="T66" fmla="*/ 1 w 97"/>
                <a:gd name="T67" fmla="*/ 1 h 111"/>
                <a:gd name="T68" fmla="*/ 1 w 97"/>
                <a:gd name="T69" fmla="*/ 1 h 111"/>
                <a:gd name="T70" fmla="*/ 0 w 97"/>
                <a:gd name="T71" fmla="*/ 1 h 1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"/>
                <a:gd name="T109" fmla="*/ 0 h 111"/>
                <a:gd name="T110" fmla="*/ 97 w 97"/>
                <a:gd name="T111" fmla="*/ 111 h 1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" h="111">
                  <a:moveTo>
                    <a:pt x="0" y="68"/>
                  </a:moveTo>
                  <a:lnTo>
                    <a:pt x="5" y="77"/>
                  </a:lnTo>
                  <a:lnTo>
                    <a:pt x="12" y="77"/>
                  </a:lnTo>
                  <a:lnTo>
                    <a:pt x="15" y="85"/>
                  </a:lnTo>
                  <a:lnTo>
                    <a:pt x="12" y="108"/>
                  </a:lnTo>
                  <a:lnTo>
                    <a:pt x="24" y="106"/>
                  </a:lnTo>
                  <a:lnTo>
                    <a:pt x="24" y="70"/>
                  </a:lnTo>
                  <a:lnTo>
                    <a:pt x="29" y="66"/>
                  </a:lnTo>
                  <a:lnTo>
                    <a:pt x="36" y="66"/>
                  </a:lnTo>
                  <a:lnTo>
                    <a:pt x="33" y="77"/>
                  </a:lnTo>
                  <a:lnTo>
                    <a:pt x="43" y="87"/>
                  </a:lnTo>
                  <a:lnTo>
                    <a:pt x="43" y="94"/>
                  </a:lnTo>
                  <a:lnTo>
                    <a:pt x="55" y="94"/>
                  </a:lnTo>
                  <a:lnTo>
                    <a:pt x="59" y="111"/>
                  </a:lnTo>
                  <a:lnTo>
                    <a:pt x="67" y="106"/>
                  </a:lnTo>
                  <a:lnTo>
                    <a:pt x="67" y="96"/>
                  </a:lnTo>
                  <a:lnTo>
                    <a:pt x="50" y="77"/>
                  </a:lnTo>
                  <a:lnTo>
                    <a:pt x="55" y="73"/>
                  </a:lnTo>
                  <a:lnTo>
                    <a:pt x="41" y="54"/>
                  </a:lnTo>
                  <a:lnTo>
                    <a:pt x="62" y="40"/>
                  </a:lnTo>
                  <a:lnTo>
                    <a:pt x="71" y="40"/>
                  </a:lnTo>
                  <a:lnTo>
                    <a:pt x="67" y="35"/>
                  </a:lnTo>
                  <a:lnTo>
                    <a:pt x="29" y="44"/>
                  </a:lnTo>
                  <a:lnTo>
                    <a:pt x="19" y="35"/>
                  </a:lnTo>
                  <a:lnTo>
                    <a:pt x="19" y="26"/>
                  </a:lnTo>
                  <a:lnTo>
                    <a:pt x="29" y="18"/>
                  </a:lnTo>
                  <a:lnTo>
                    <a:pt x="88" y="16"/>
                  </a:lnTo>
                  <a:lnTo>
                    <a:pt x="97" y="2"/>
                  </a:lnTo>
                  <a:lnTo>
                    <a:pt x="95" y="0"/>
                  </a:lnTo>
                  <a:lnTo>
                    <a:pt x="78" y="11"/>
                  </a:lnTo>
                  <a:lnTo>
                    <a:pt x="62" y="14"/>
                  </a:lnTo>
                  <a:lnTo>
                    <a:pt x="33" y="7"/>
                  </a:lnTo>
                  <a:lnTo>
                    <a:pt x="29" y="14"/>
                  </a:lnTo>
                  <a:lnTo>
                    <a:pt x="19" y="14"/>
                  </a:lnTo>
                  <a:lnTo>
                    <a:pt x="17" y="35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85" name="Freeform 313"/>
            <p:cNvSpPr>
              <a:spLocks/>
            </p:cNvSpPr>
            <p:nvPr/>
          </p:nvSpPr>
          <p:spPr bwMode="auto">
            <a:xfrm>
              <a:off x="4988" y="3358"/>
              <a:ext cx="11" cy="25"/>
            </a:xfrm>
            <a:custGeom>
              <a:avLst/>
              <a:gdLst>
                <a:gd name="T0" fmla="*/ 0 w 19"/>
                <a:gd name="T1" fmla="*/ 1 h 48"/>
                <a:gd name="T2" fmla="*/ 1 w 19"/>
                <a:gd name="T3" fmla="*/ 1 h 48"/>
                <a:gd name="T4" fmla="*/ 1 w 19"/>
                <a:gd name="T5" fmla="*/ 1 h 48"/>
                <a:gd name="T6" fmla="*/ 1 w 19"/>
                <a:gd name="T7" fmla="*/ 1 h 48"/>
                <a:gd name="T8" fmla="*/ 1 w 19"/>
                <a:gd name="T9" fmla="*/ 1 h 48"/>
                <a:gd name="T10" fmla="*/ 1 w 19"/>
                <a:gd name="T11" fmla="*/ 1 h 48"/>
                <a:gd name="T12" fmla="*/ 1 w 19"/>
                <a:gd name="T13" fmla="*/ 1 h 48"/>
                <a:gd name="T14" fmla="*/ 1 w 19"/>
                <a:gd name="T15" fmla="*/ 1 h 48"/>
                <a:gd name="T16" fmla="*/ 1 w 19"/>
                <a:gd name="T17" fmla="*/ 1 h 48"/>
                <a:gd name="T18" fmla="*/ 1 w 19"/>
                <a:gd name="T19" fmla="*/ 1 h 48"/>
                <a:gd name="T20" fmla="*/ 1 w 19"/>
                <a:gd name="T21" fmla="*/ 0 h 48"/>
                <a:gd name="T22" fmla="*/ 0 w 19"/>
                <a:gd name="T23" fmla="*/ 1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9"/>
                <a:gd name="T37" fmla="*/ 0 h 48"/>
                <a:gd name="T38" fmla="*/ 19 w 19"/>
                <a:gd name="T39" fmla="*/ 48 h 4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9" h="48">
                  <a:moveTo>
                    <a:pt x="0" y="17"/>
                  </a:moveTo>
                  <a:lnTo>
                    <a:pt x="5" y="36"/>
                  </a:lnTo>
                  <a:lnTo>
                    <a:pt x="16" y="48"/>
                  </a:lnTo>
                  <a:lnTo>
                    <a:pt x="9" y="34"/>
                  </a:lnTo>
                  <a:lnTo>
                    <a:pt x="9" y="26"/>
                  </a:lnTo>
                  <a:lnTo>
                    <a:pt x="19" y="26"/>
                  </a:lnTo>
                  <a:lnTo>
                    <a:pt x="14" y="22"/>
                  </a:lnTo>
                  <a:lnTo>
                    <a:pt x="19" y="17"/>
                  </a:lnTo>
                  <a:lnTo>
                    <a:pt x="19" y="10"/>
                  </a:lnTo>
                  <a:lnTo>
                    <a:pt x="12" y="15"/>
                  </a:lnTo>
                  <a:lnTo>
                    <a:pt x="9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86" name="Freeform 314"/>
            <p:cNvSpPr>
              <a:spLocks/>
            </p:cNvSpPr>
            <p:nvPr/>
          </p:nvSpPr>
          <p:spPr bwMode="auto">
            <a:xfrm>
              <a:off x="4977" y="3400"/>
              <a:ext cx="10" cy="5"/>
            </a:xfrm>
            <a:custGeom>
              <a:avLst/>
              <a:gdLst>
                <a:gd name="T0" fmla="*/ 0 w 17"/>
                <a:gd name="T1" fmla="*/ 0 h 9"/>
                <a:gd name="T2" fmla="*/ 1 w 17"/>
                <a:gd name="T3" fmla="*/ 1 h 9"/>
                <a:gd name="T4" fmla="*/ 1 w 17"/>
                <a:gd name="T5" fmla="*/ 1 h 9"/>
                <a:gd name="T6" fmla="*/ 1 w 17"/>
                <a:gd name="T7" fmla="*/ 0 h 9"/>
                <a:gd name="T8" fmla="*/ 0 w 17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9"/>
                <a:gd name="T17" fmla="*/ 17 w 17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9">
                  <a:moveTo>
                    <a:pt x="0" y="0"/>
                  </a:moveTo>
                  <a:lnTo>
                    <a:pt x="12" y="9"/>
                  </a:lnTo>
                  <a:lnTo>
                    <a:pt x="17" y="4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87" name="Freeform 315"/>
            <p:cNvSpPr>
              <a:spLocks/>
            </p:cNvSpPr>
            <p:nvPr/>
          </p:nvSpPr>
          <p:spPr bwMode="auto">
            <a:xfrm>
              <a:off x="4994" y="3396"/>
              <a:ext cx="25" cy="9"/>
            </a:xfrm>
            <a:custGeom>
              <a:avLst/>
              <a:gdLst>
                <a:gd name="T0" fmla="*/ 0 w 43"/>
                <a:gd name="T1" fmla="*/ 1 h 16"/>
                <a:gd name="T2" fmla="*/ 1 w 43"/>
                <a:gd name="T3" fmla="*/ 1 h 16"/>
                <a:gd name="T4" fmla="*/ 1 w 43"/>
                <a:gd name="T5" fmla="*/ 1 h 16"/>
                <a:gd name="T6" fmla="*/ 1 w 43"/>
                <a:gd name="T7" fmla="*/ 0 h 16"/>
                <a:gd name="T8" fmla="*/ 1 w 43"/>
                <a:gd name="T9" fmla="*/ 1 h 16"/>
                <a:gd name="T10" fmla="*/ 0 w 43"/>
                <a:gd name="T11" fmla="*/ 1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3"/>
                <a:gd name="T19" fmla="*/ 0 h 16"/>
                <a:gd name="T20" fmla="*/ 43 w 43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3" h="16">
                  <a:moveTo>
                    <a:pt x="0" y="7"/>
                  </a:moveTo>
                  <a:lnTo>
                    <a:pt x="43" y="16"/>
                  </a:lnTo>
                  <a:lnTo>
                    <a:pt x="38" y="4"/>
                  </a:lnTo>
                  <a:lnTo>
                    <a:pt x="24" y="0"/>
                  </a:lnTo>
                  <a:lnTo>
                    <a:pt x="5" y="2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88" name="Freeform 316"/>
            <p:cNvSpPr>
              <a:spLocks/>
            </p:cNvSpPr>
            <p:nvPr/>
          </p:nvSpPr>
          <p:spPr bwMode="auto">
            <a:xfrm>
              <a:off x="4988" y="3385"/>
              <a:ext cx="9" cy="3"/>
            </a:xfrm>
            <a:custGeom>
              <a:avLst/>
              <a:gdLst>
                <a:gd name="T0" fmla="*/ 0 w 14"/>
                <a:gd name="T1" fmla="*/ 1 h 5"/>
                <a:gd name="T2" fmla="*/ 1 w 14"/>
                <a:gd name="T3" fmla="*/ 1 h 5"/>
                <a:gd name="T4" fmla="*/ 1 w 14"/>
                <a:gd name="T5" fmla="*/ 0 h 5"/>
                <a:gd name="T6" fmla="*/ 0 w 14"/>
                <a:gd name="T7" fmla="*/ 1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"/>
                <a:gd name="T13" fmla="*/ 0 h 5"/>
                <a:gd name="T14" fmla="*/ 14 w 14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" h="5">
                  <a:moveTo>
                    <a:pt x="0" y="5"/>
                  </a:moveTo>
                  <a:lnTo>
                    <a:pt x="14" y="5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89" name="Freeform 317"/>
            <p:cNvSpPr>
              <a:spLocks/>
            </p:cNvSpPr>
            <p:nvPr/>
          </p:nvSpPr>
          <p:spPr bwMode="auto">
            <a:xfrm>
              <a:off x="5059" y="3380"/>
              <a:ext cx="7" cy="4"/>
            </a:xfrm>
            <a:custGeom>
              <a:avLst/>
              <a:gdLst>
                <a:gd name="T0" fmla="*/ 0 w 12"/>
                <a:gd name="T1" fmla="*/ 0 h 7"/>
                <a:gd name="T2" fmla="*/ 1 w 12"/>
                <a:gd name="T3" fmla="*/ 1 h 7"/>
                <a:gd name="T4" fmla="*/ 1 w 12"/>
                <a:gd name="T5" fmla="*/ 1 h 7"/>
                <a:gd name="T6" fmla="*/ 1 w 12"/>
                <a:gd name="T7" fmla="*/ 0 h 7"/>
                <a:gd name="T8" fmla="*/ 0 w 12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7"/>
                <a:gd name="T17" fmla="*/ 12 w 12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7">
                  <a:moveTo>
                    <a:pt x="0" y="0"/>
                  </a:moveTo>
                  <a:lnTo>
                    <a:pt x="8" y="7"/>
                  </a:lnTo>
                  <a:lnTo>
                    <a:pt x="12" y="7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90" name="Freeform 318"/>
            <p:cNvSpPr>
              <a:spLocks/>
            </p:cNvSpPr>
            <p:nvPr/>
          </p:nvSpPr>
          <p:spPr bwMode="auto">
            <a:xfrm>
              <a:off x="4922" y="3230"/>
              <a:ext cx="38" cy="45"/>
            </a:xfrm>
            <a:custGeom>
              <a:avLst/>
              <a:gdLst>
                <a:gd name="T0" fmla="*/ 0 w 64"/>
                <a:gd name="T1" fmla="*/ 1 h 85"/>
                <a:gd name="T2" fmla="*/ 1 w 64"/>
                <a:gd name="T3" fmla="*/ 1 h 85"/>
                <a:gd name="T4" fmla="*/ 1 w 64"/>
                <a:gd name="T5" fmla="*/ 1 h 85"/>
                <a:gd name="T6" fmla="*/ 1 w 64"/>
                <a:gd name="T7" fmla="*/ 1 h 85"/>
                <a:gd name="T8" fmla="*/ 1 w 64"/>
                <a:gd name="T9" fmla="*/ 1 h 85"/>
                <a:gd name="T10" fmla="*/ 1 w 64"/>
                <a:gd name="T11" fmla="*/ 1 h 85"/>
                <a:gd name="T12" fmla="*/ 1 w 64"/>
                <a:gd name="T13" fmla="*/ 1 h 85"/>
                <a:gd name="T14" fmla="*/ 1 w 64"/>
                <a:gd name="T15" fmla="*/ 1 h 85"/>
                <a:gd name="T16" fmla="*/ 1 w 64"/>
                <a:gd name="T17" fmla="*/ 1 h 85"/>
                <a:gd name="T18" fmla="*/ 2 w 64"/>
                <a:gd name="T19" fmla="*/ 1 h 85"/>
                <a:gd name="T20" fmla="*/ 1 w 64"/>
                <a:gd name="T21" fmla="*/ 1 h 85"/>
                <a:gd name="T22" fmla="*/ 1 w 64"/>
                <a:gd name="T23" fmla="*/ 1 h 85"/>
                <a:gd name="T24" fmla="*/ 1 w 64"/>
                <a:gd name="T25" fmla="*/ 1 h 85"/>
                <a:gd name="T26" fmla="*/ 1 w 64"/>
                <a:gd name="T27" fmla="*/ 1 h 85"/>
                <a:gd name="T28" fmla="*/ 1 w 64"/>
                <a:gd name="T29" fmla="*/ 1 h 85"/>
                <a:gd name="T30" fmla="*/ 1 w 64"/>
                <a:gd name="T31" fmla="*/ 1 h 85"/>
                <a:gd name="T32" fmla="*/ 1 w 64"/>
                <a:gd name="T33" fmla="*/ 1 h 85"/>
                <a:gd name="T34" fmla="*/ 1 w 64"/>
                <a:gd name="T35" fmla="*/ 0 h 85"/>
                <a:gd name="T36" fmla="*/ 1 w 64"/>
                <a:gd name="T37" fmla="*/ 1 h 85"/>
                <a:gd name="T38" fmla="*/ 1 w 64"/>
                <a:gd name="T39" fmla="*/ 0 h 85"/>
                <a:gd name="T40" fmla="*/ 1 w 64"/>
                <a:gd name="T41" fmla="*/ 1 h 85"/>
                <a:gd name="T42" fmla="*/ 0 w 64"/>
                <a:gd name="T43" fmla="*/ 1 h 8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4"/>
                <a:gd name="T67" fmla="*/ 0 h 85"/>
                <a:gd name="T68" fmla="*/ 64 w 64"/>
                <a:gd name="T69" fmla="*/ 85 h 8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4" h="85">
                  <a:moveTo>
                    <a:pt x="0" y="35"/>
                  </a:moveTo>
                  <a:lnTo>
                    <a:pt x="2" y="56"/>
                  </a:lnTo>
                  <a:lnTo>
                    <a:pt x="16" y="61"/>
                  </a:lnTo>
                  <a:lnTo>
                    <a:pt x="12" y="73"/>
                  </a:lnTo>
                  <a:lnTo>
                    <a:pt x="21" y="75"/>
                  </a:lnTo>
                  <a:lnTo>
                    <a:pt x="28" y="71"/>
                  </a:lnTo>
                  <a:lnTo>
                    <a:pt x="42" y="82"/>
                  </a:lnTo>
                  <a:lnTo>
                    <a:pt x="40" y="71"/>
                  </a:lnTo>
                  <a:lnTo>
                    <a:pt x="54" y="85"/>
                  </a:lnTo>
                  <a:lnTo>
                    <a:pt x="64" y="85"/>
                  </a:lnTo>
                  <a:lnTo>
                    <a:pt x="54" y="75"/>
                  </a:lnTo>
                  <a:lnTo>
                    <a:pt x="61" y="73"/>
                  </a:lnTo>
                  <a:lnTo>
                    <a:pt x="45" y="66"/>
                  </a:lnTo>
                  <a:lnTo>
                    <a:pt x="31" y="68"/>
                  </a:lnTo>
                  <a:lnTo>
                    <a:pt x="24" y="49"/>
                  </a:lnTo>
                  <a:lnTo>
                    <a:pt x="40" y="21"/>
                  </a:lnTo>
                  <a:lnTo>
                    <a:pt x="35" y="16"/>
                  </a:lnTo>
                  <a:lnTo>
                    <a:pt x="38" y="0"/>
                  </a:lnTo>
                  <a:lnTo>
                    <a:pt x="31" y="5"/>
                  </a:lnTo>
                  <a:lnTo>
                    <a:pt x="12" y="0"/>
                  </a:lnTo>
                  <a:lnTo>
                    <a:pt x="7" y="38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91" name="Freeform 319"/>
            <p:cNvSpPr>
              <a:spLocks/>
            </p:cNvSpPr>
            <p:nvPr/>
          </p:nvSpPr>
          <p:spPr bwMode="auto">
            <a:xfrm>
              <a:off x="4899" y="3288"/>
              <a:ext cx="22" cy="22"/>
            </a:xfrm>
            <a:custGeom>
              <a:avLst/>
              <a:gdLst>
                <a:gd name="T0" fmla="*/ 0 w 38"/>
                <a:gd name="T1" fmla="*/ 1 h 42"/>
                <a:gd name="T2" fmla="*/ 1 w 38"/>
                <a:gd name="T3" fmla="*/ 1 h 42"/>
                <a:gd name="T4" fmla="*/ 1 w 38"/>
                <a:gd name="T5" fmla="*/ 0 h 42"/>
                <a:gd name="T6" fmla="*/ 0 w 38"/>
                <a:gd name="T7" fmla="*/ 1 h 4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8"/>
                <a:gd name="T13" fmla="*/ 0 h 42"/>
                <a:gd name="T14" fmla="*/ 38 w 38"/>
                <a:gd name="T15" fmla="*/ 42 h 4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8" h="42">
                  <a:moveTo>
                    <a:pt x="0" y="42"/>
                  </a:moveTo>
                  <a:lnTo>
                    <a:pt x="38" y="12"/>
                  </a:lnTo>
                  <a:lnTo>
                    <a:pt x="35" y="0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92" name="Freeform 320"/>
            <p:cNvSpPr>
              <a:spLocks/>
            </p:cNvSpPr>
            <p:nvPr/>
          </p:nvSpPr>
          <p:spPr bwMode="auto">
            <a:xfrm>
              <a:off x="4927" y="3271"/>
              <a:ext cx="11" cy="10"/>
            </a:xfrm>
            <a:custGeom>
              <a:avLst/>
              <a:gdLst>
                <a:gd name="T0" fmla="*/ 0 w 19"/>
                <a:gd name="T1" fmla="*/ 0 h 19"/>
                <a:gd name="T2" fmla="*/ 1 w 19"/>
                <a:gd name="T3" fmla="*/ 1 h 19"/>
                <a:gd name="T4" fmla="*/ 1 w 19"/>
                <a:gd name="T5" fmla="*/ 1 h 19"/>
                <a:gd name="T6" fmla="*/ 1 w 19"/>
                <a:gd name="T7" fmla="*/ 1 h 19"/>
                <a:gd name="T8" fmla="*/ 0 w 19"/>
                <a:gd name="T9" fmla="*/ 0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9"/>
                <a:gd name="T17" fmla="*/ 19 w 19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9">
                  <a:moveTo>
                    <a:pt x="0" y="0"/>
                  </a:moveTo>
                  <a:lnTo>
                    <a:pt x="12" y="19"/>
                  </a:lnTo>
                  <a:lnTo>
                    <a:pt x="19" y="14"/>
                  </a:lnTo>
                  <a:lnTo>
                    <a:pt x="14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93" name="Freeform 321"/>
            <p:cNvSpPr>
              <a:spLocks/>
            </p:cNvSpPr>
            <p:nvPr/>
          </p:nvSpPr>
          <p:spPr bwMode="auto">
            <a:xfrm>
              <a:off x="4962" y="3278"/>
              <a:ext cx="12" cy="19"/>
            </a:xfrm>
            <a:custGeom>
              <a:avLst/>
              <a:gdLst>
                <a:gd name="T0" fmla="*/ 0 w 21"/>
                <a:gd name="T1" fmla="*/ 0 h 35"/>
                <a:gd name="T2" fmla="*/ 1 w 21"/>
                <a:gd name="T3" fmla="*/ 1 h 35"/>
                <a:gd name="T4" fmla="*/ 1 w 21"/>
                <a:gd name="T5" fmla="*/ 1 h 35"/>
                <a:gd name="T6" fmla="*/ 1 w 21"/>
                <a:gd name="T7" fmla="*/ 1 h 35"/>
                <a:gd name="T8" fmla="*/ 1 w 21"/>
                <a:gd name="T9" fmla="*/ 1 h 35"/>
                <a:gd name="T10" fmla="*/ 1 w 21"/>
                <a:gd name="T11" fmla="*/ 1 h 35"/>
                <a:gd name="T12" fmla="*/ 1 w 21"/>
                <a:gd name="T13" fmla="*/ 1 h 35"/>
                <a:gd name="T14" fmla="*/ 1 w 21"/>
                <a:gd name="T15" fmla="*/ 1 h 35"/>
                <a:gd name="T16" fmla="*/ 1 w 21"/>
                <a:gd name="T17" fmla="*/ 1 h 35"/>
                <a:gd name="T18" fmla="*/ 1 w 21"/>
                <a:gd name="T19" fmla="*/ 1 h 35"/>
                <a:gd name="T20" fmla="*/ 1 w 21"/>
                <a:gd name="T21" fmla="*/ 1 h 35"/>
                <a:gd name="T22" fmla="*/ 1 w 21"/>
                <a:gd name="T23" fmla="*/ 0 h 35"/>
                <a:gd name="T24" fmla="*/ 0 w 21"/>
                <a:gd name="T25" fmla="*/ 0 h 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1"/>
                <a:gd name="T40" fmla="*/ 0 h 35"/>
                <a:gd name="T41" fmla="*/ 21 w 21"/>
                <a:gd name="T42" fmla="*/ 35 h 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1" h="35">
                  <a:moveTo>
                    <a:pt x="0" y="0"/>
                  </a:moveTo>
                  <a:lnTo>
                    <a:pt x="12" y="12"/>
                  </a:lnTo>
                  <a:lnTo>
                    <a:pt x="7" y="16"/>
                  </a:lnTo>
                  <a:lnTo>
                    <a:pt x="2" y="16"/>
                  </a:lnTo>
                  <a:lnTo>
                    <a:pt x="2" y="26"/>
                  </a:lnTo>
                  <a:lnTo>
                    <a:pt x="7" y="26"/>
                  </a:lnTo>
                  <a:lnTo>
                    <a:pt x="7" y="35"/>
                  </a:lnTo>
                  <a:lnTo>
                    <a:pt x="14" y="33"/>
                  </a:lnTo>
                  <a:lnTo>
                    <a:pt x="12" y="21"/>
                  </a:lnTo>
                  <a:lnTo>
                    <a:pt x="21" y="21"/>
                  </a:lnTo>
                  <a:lnTo>
                    <a:pt x="17" y="7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94" name="Freeform 322"/>
            <p:cNvSpPr>
              <a:spLocks/>
            </p:cNvSpPr>
            <p:nvPr/>
          </p:nvSpPr>
          <p:spPr bwMode="auto">
            <a:xfrm>
              <a:off x="4941" y="3283"/>
              <a:ext cx="22" cy="23"/>
            </a:xfrm>
            <a:custGeom>
              <a:avLst/>
              <a:gdLst>
                <a:gd name="T0" fmla="*/ 0 w 37"/>
                <a:gd name="T1" fmla="*/ 1 h 43"/>
                <a:gd name="T2" fmla="*/ 1 w 37"/>
                <a:gd name="T3" fmla="*/ 1 h 43"/>
                <a:gd name="T4" fmla="*/ 1 w 37"/>
                <a:gd name="T5" fmla="*/ 1 h 43"/>
                <a:gd name="T6" fmla="*/ 1 w 37"/>
                <a:gd name="T7" fmla="*/ 1 h 43"/>
                <a:gd name="T8" fmla="*/ 1 w 37"/>
                <a:gd name="T9" fmla="*/ 1 h 43"/>
                <a:gd name="T10" fmla="*/ 1 w 37"/>
                <a:gd name="T11" fmla="*/ 1 h 43"/>
                <a:gd name="T12" fmla="*/ 1 w 37"/>
                <a:gd name="T13" fmla="*/ 1 h 43"/>
                <a:gd name="T14" fmla="*/ 1 w 37"/>
                <a:gd name="T15" fmla="*/ 1 h 43"/>
                <a:gd name="T16" fmla="*/ 1 w 37"/>
                <a:gd name="T17" fmla="*/ 1 h 43"/>
                <a:gd name="T18" fmla="*/ 1 w 37"/>
                <a:gd name="T19" fmla="*/ 1 h 43"/>
                <a:gd name="T20" fmla="*/ 1 w 37"/>
                <a:gd name="T21" fmla="*/ 1 h 43"/>
                <a:gd name="T22" fmla="*/ 1 w 37"/>
                <a:gd name="T23" fmla="*/ 1 h 43"/>
                <a:gd name="T24" fmla="*/ 1 w 37"/>
                <a:gd name="T25" fmla="*/ 1 h 43"/>
                <a:gd name="T26" fmla="*/ 0 w 37"/>
                <a:gd name="T27" fmla="*/ 0 h 43"/>
                <a:gd name="T28" fmla="*/ 0 w 37"/>
                <a:gd name="T29" fmla="*/ 1 h 4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7"/>
                <a:gd name="T46" fmla="*/ 0 h 43"/>
                <a:gd name="T47" fmla="*/ 37 w 37"/>
                <a:gd name="T48" fmla="*/ 43 h 4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7" h="43">
                  <a:moveTo>
                    <a:pt x="0" y="22"/>
                  </a:moveTo>
                  <a:lnTo>
                    <a:pt x="14" y="22"/>
                  </a:lnTo>
                  <a:lnTo>
                    <a:pt x="7" y="31"/>
                  </a:lnTo>
                  <a:lnTo>
                    <a:pt x="16" y="43"/>
                  </a:lnTo>
                  <a:lnTo>
                    <a:pt x="21" y="41"/>
                  </a:lnTo>
                  <a:lnTo>
                    <a:pt x="19" y="31"/>
                  </a:lnTo>
                  <a:lnTo>
                    <a:pt x="37" y="33"/>
                  </a:lnTo>
                  <a:lnTo>
                    <a:pt x="37" y="26"/>
                  </a:lnTo>
                  <a:lnTo>
                    <a:pt x="30" y="26"/>
                  </a:lnTo>
                  <a:lnTo>
                    <a:pt x="30" y="12"/>
                  </a:lnTo>
                  <a:lnTo>
                    <a:pt x="23" y="22"/>
                  </a:lnTo>
                  <a:lnTo>
                    <a:pt x="19" y="5"/>
                  </a:lnTo>
                  <a:lnTo>
                    <a:pt x="9" y="3"/>
                  </a:lnTo>
                  <a:lnTo>
                    <a:pt x="0" y="0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95" name="Freeform 323"/>
            <p:cNvSpPr>
              <a:spLocks/>
            </p:cNvSpPr>
            <p:nvPr/>
          </p:nvSpPr>
          <p:spPr bwMode="auto">
            <a:xfrm>
              <a:off x="4941" y="3299"/>
              <a:ext cx="42" cy="33"/>
            </a:xfrm>
            <a:custGeom>
              <a:avLst/>
              <a:gdLst>
                <a:gd name="T0" fmla="*/ 0 w 71"/>
                <a:gd name="T1" fmla="*/ 1 h 64"/>
                <a:gd name="T2" fmla="*/ 1 w 71"/>
                <a:gd name="T3" fmla="*/ 1 h 64"/>
                <a:gd name="T4" fmla="*/ 1 w 71"/>
                <a:gd name="T5" fmla="*/ 1 h 64"/>
                <a:gd name="T6" fmla="*/ 1 w 71"/>
                <a:gd name="T7" fmla="*/ 1 h 64"/>
                <a:gd name="T8" fmla="*/ 1 w 71"/>
                <a:gd name="T9" fmla="*/ 1 h 64"/>
                <a:gd name="T10" fmla="*/ 1 w 71"/>
                <a:gd name="T11" fmla="*/ 1 h 64"/>
                <a:gd name="T12" fmla="*/ 1 w 71"/>
                <a:gd name="T13" fmla="*/ 1 h 64"/>
                <a:gd name="T14" fmla="*/ 1 w 71"/>
                <a:gd name="T15" fmla="*/ 1 h 64"/>
                <a:gd name="T16" fmla="*/ 1 w 71"/>
                <a:gd name="T17" fmla="*/ 1 h 64"/>
                <a:gd name="T18" fmla="*/ 1 w 71"/>
                <a:gd name="T19" fmla="*/ 1 h 64"/>
                <a:gd name="T20" fmla="*/ 1 w 71"/>
                <a:gd name="T21" fmla="*/ 1 h 64"/>
                <a:gd name="T22" fmla="*/ 1 w 71"/>
                <a:gd name="T23" fmla="*/ 1 h 64"/>
                <a:gd name="T24" fmla="*/ 2 w 71"/>
                <a:gd name="T25" fmla="*/ 1 h 64"/>
                <a:gd name="T26" fmla="*/ 2 w 71"/>
                <a:gd name="T27" fmla="*/ 1 h 64"/>
                <a:gd name="T28" fmla="*/ 2 w 71"/>
                <a:gd name="T29" fmla="*/ 1 h 64"/>
                <a:gd name="T30" fmla="*/ 1 w 71"/>
                <a:gd name="T31" fmla="*/ 0 h 64"/>
                <a:gd name="T32" fmla="*/ 1 w 71"/>
                <a:gd name="T33" fmla="*/ 1 h 64"/>
                <a:gd name="T34" fmla="*/ 1 w 71"/>
                <a:gd name="T35" fmla="*/ 1 h 64"/>
                <a:gd name="T36" fmla="*/ 1 w 71"/>
                <a:gd name="T37" fmla="*/ 1 h 64"/>
                <a:gd name="T38" fmla="*/ 1 w 71"/>
                <a:gd name="T39" fmla="*/ 1 h 64"/>
                <a:gd name="T40" fmla="*/ 1 w 71"/>
                <a:gd name="T41" fmla="*/ 1 h 64"/>
                <a:gd name="T42" fmla="*/ 1 w 71"/>
                <a:gd name="T43" fmla="*/ 1 h 64"/>
                <a:gd name="T44" fmla="*/ 1 w 71"/>
                <a:gd name="T45" fmla="*/ 1 h 64"/>
                <a:gd name="T46" fmla="*/ 0 w 71"/>
                <a:gd name="T47" fmla="*/ 1 h 6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1"/>
                <a:gd name="T73" fmla="*/ 0 h 64"/>
                <a:gd name="T74" fmla="*/ 71 w 71"/>
                <a:gd name="T75" fmla="*/ 64 h 6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1" h="64">
                  <a:moveTo>
                    <a:pt x="0" y="40"/>
                  </a:moveTo>
                  <a:lnTo>
                    <a:pt x="2" y="45"/>
                  </a:lnTo>
                  <a:lnTo>
                    <a:pt x="14" y="31"/>
                  </a:lnTo>
                  <a:lnTo>
                    <a:pt x="14" y="38"/>
                  </a:lnTo>
                  <a:lnTo>
                    <a:pt x="23" y="31"/>
                  </a:lnTo>
                  <a:lnTo>
                    <a:pt x="30" y="33"/>
                  </a:lnTo>
                  <a:lnTo>
                    <a:pt x="35" y="38"/>
                  </a:lnTo>
                  <a:lnTo>
                    <a:pt x="30" y="52"/>
                  </a:lnTo>
                  <a:lnTo>
                    <a:pt x="52" y="64"/>
                  </a:lnTo>
                  <a:lnTo>
                    <a:pt x="56" y="57"/>
                  </a:lnTo>
                  <a:lnTo>
                    <a:pt x="52" y="43"/>
                  </a:lnTo>
                  <a:lnTo>
                    <a:pt x="56" y="38"/>
                  </a:lnTo>
                  <a:lnTo>
                    <a:pt x="63" y="52"/>
                  </a:lnTo>
                  <a:lnTo>
                    <a:pt x="71" y="38"/>
                  </a:lnTo>
                  <a:lnTo>
                    <a:pt x="66" y="14"/>
                  </a:lnTo>
                  <a:lnTo>
                    <a:pt x="52" y="0"/>
                  </a:lnTo>
                  <a:lnTo>
                    <a:pt x="52" y="12"/>
                  </a:lnTo>
                  <a:lnTo>
                    <a:pt x="42" y="12"/>
                  </a:lnTo>
                  <a:lnTo>
                    <a:pt x="40" y="19"/>
                  </a:lnTo>
                  <a:lnTo>
                    <a:pt x="30" y="26"/>
                  </a:lnTo>
                  <a:lnTo>
                    <a:pt x="23" y="19"/>
                  </a:lnTo>
                  <a:lnTo>
                    <a:pt x="16" y="19"/>
                  </a:lnTo>
                  <a:lnTo>
                    <a:pt x="2" y="31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96" name="Freeform 324"/>
            <p:cNvSpPr>
              <a:spLocks/>
            </p:cNvSpPr>
            <p:nvPr/>
          </p:nvSpPr>
          <p:spPr bwMode="auto">
            <a:xfrm>
              <a:off x="5173" y="3407"/>
              <a:ext cx="36" cy="16"/>
            </a:xfrm>
            <a:custGeom>
              <a:avLst/>
              <a:gdLst>
                <a:gd name="T0" fmla="*/ 0 w 61"/>
                <a:gd name="T1" fmla="*/ 1 h 31"/>
                <a:gd name="T2" fmla="*/ 1 w 61"/>
                <a:gd name="T3" fmla="*/ 1 h 31"/>
                <a:gd name="T4" fmla="*/ 1 w 61"/>
                <a:gd name="T5" fmla="*/ 1 h 31"/>
                <a:gd name="T6" fmla="*/ 1 w 61"/>
                <a:gd name="T7" fmla="*/ 1 h 31"/>
                <a:gd name="T8" fmla="*/ 1 w 61"/>
                <a:gd name="T9" fmla="*/ 1 h 31"/>
                <a:gd name="T10" fmla="*/ 1 w 61"/>
                <a:gd name="T11" fmla="*/ 0 h 31"/>
                <a:gd name="T12" fmla="*/ 1 w 61"/>
                <a:gd name="T13" fmla="*/ 0 h 31"/>
                <a:gd name="T14" fmla="*/ 1 w 61"/>
                <a:gd name="T15" fmla="*/ 1 h 31"/>
                <a:gd name="T16" fmla="*/ 1 w 61"/>
                <a:gd name="T17" fmla="*/ 1 h 31"/>
                <a:gd name="T18" fmla="*/ 1 w 61"/>
                <a:gd name="T19" fmla="*/ 1 h 31"/>
                <a:gd name="T20" fmla="*/ 0 w 61"/>
                <a:gd name="T21" fmla="*/ 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1"/>
                <a:gd name="T34" fmla="*/ 0 h 31"/>
                <a:gd name="T35" fmla="*/ 61 w 61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1" h="31">
                  <a:moveTo>
                    <a:pt x="0" y="19"/>
                  </a:moveTo>
                  <a:lnTo>
                    <a:pt x="14" y="31"/>
                  </a:lnTo>
                  <a:lnTo>
                    <a:pt x="38" y="31"/>
                  </a:lnTo>
                  <a:lnTo>
                    <a:pt x="56" y="2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49" y="0"/>
                  </a:lnTo>
                  <a:lnTo>
                    <a:pt x="52" y="12"/>
                  </a:lnTo>
                  <a:lnTo>
                    <a:pt x="45" y="12"/>
                  </a:lnTo>
                  <a:lnTo>
                    <a:pt x="38" y="1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97" name="Freeform 325"/>
            <p:cNvSpPr>
              <a:spLocks/>
            </p:cNvSpPr>
            <p:nvPr/>
          </p:nvSpPr>
          <p:spPr bwMode="auto">
            <a:xfrm>
              <a:off x="5201" y="3399"/>
              <a:ext cx="14" cy="13"/>
            </a:xfrm>
            <a:custGeom>
              <a:avLst/>
              <a:gdLst>
                <a:gd name="T0" fmla="*/ 0 w 24"/>
                <a:gd name="T1" fmla="*/ 0 h 26"/>
                <a:gd name="T2" fmla="*/ 1 w 24"/>
                <a:gd name="T3" fmla="*/ 1 h 26"/>
                <a:gd name="T4" fmla="*/ 1 w 24"/>
                <a:gd name="T5" fmla="*/ 1 h 26"/>
                <a:gd name="T6" fmla="*/ 1 w 24"/>
                <a:gd name="T7" fmla="*/ 1 h 26"/>
                <a:gd name="T8" fmla="*/ 0 w 24"/>
                <a:gd name="T9" fmla="*/ 0 h 26"/>
                <a:gd name="T10" fmla="*/ 0 w 24"/>
                <a:gd name="T11" fmla="*/ 0 h 2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26"/>
                <a:gd name="T20" fmla="*/ 24 w 24"/>
                <a:gd name="T21" fmla="*/ 26 h 2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26">
                  <a:moveTo>
                    <a:pt x="0" y="0"/>
                  </a:moveTo>
                  <a:lnTo>
                    <a:pt x="12" y="10"/>
                  </a:lnTo>
                  <a:lnTo>
                    <a:pt x="24" y="26"/>
                  </a:lnTo>
                  <a:lnTo>
                    <a:pt x="24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98" name="Freeform 326"/>
            <p:cNvSpPr>
              <a:spLocks/>
            </p:cNvSpPr>
            <p:nvPr/>
          </p:nvSpPr>
          <p:spPr bwMode="auto">
            <a:xfrm>
              <a:off x="5231" y="3417"/>
              <a:ext cx="11" cy="11"/>
            </a:xfrm>
            <a:custGeom>
              <a:avLst/>
              <a:gdLst>
                <a:gd name="T0" fmla="*/ 0 w 19"/>
                <a:gd name="T1" fmla="*/ 0 h 21"/>
                <a:gd name="T2" fmla="*/ 1 w 19"/>
                <a:gd name="T3" fmla="*/ 1 h 21"/>
                <a:gd name="T4" fmla="*/ 1 w 19"/>
                <a:gd name="T5" fmla="*/ 1 h 21"/>
                <a:gd name="T6" fmla="*/ 0 w 19"/>
                <a:gd name="T7" fmla="*/ 0 h 2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21"/>
                <a:gd name="T14" fmla="*/ 19 w 19"/>
                <a:gd name="T15" fmla="*/ 21 h 2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21">
                  <a:moveTo>
                    <a:pt x="0" y="0"/>
                  </a:moveTo>
                  <a:lnTo>
                    <a:pt x="11" y="21"/>
                  </a:lnTo>
                  <a:lnTo>
                    <a:pt x="19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99" name="Freeform 327"/>
            <p:cNvSpPr>
              <a:spLocks/>
            </p:cNvSpPr>
            <p:nvPr/>
          </p:nvSpPr>
          <p:spPr bwMode="auto">
            <a:xfrm>
              <a:off x="5273" y="3447"/>
              <a:ext cx="12" cy="5"/>
            </a:xfrm>
            <a:custGeom>
              <a:avLst/>
              <a:gdLst>
                <a:gd name="T0" fmla="*/ 0 w 21"/>
                <a:gd name="T1" fmla="*/ 0 h 9"/>
                <a:gd name="T2" fmla="*/ 1 w 21"/>
                <a:gd name="T3" fmla="*/ 1 h 9"/>
                <a:gd name="T4" fmla="*/ 1 w 21"/>
                <a:gd name="T5" fmla="*/ 1 h 9"/>
                <a:gd name="T6" fmla="*/ 0 w 21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"/>
                <a:gd name="T13" fmla="*/ 0 h 9"/>
                <a:gd name="T14" fmla="*/ 21 w 21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" h="9">
                  <a:moveTo>
                    <a:pt x="0" y="0"/>
                  </a:moveTo>
                  <a:lnTo>
                    <a:pt x="2" y="9"/>
                  </a:lnTo>
                  <a:lnTo>
                    <a:pt x="21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00" name="Freeform 328"/>
            <p:cNvSpPr>
              <a:spLocks/>
            </p:cNvSpPr>
            <p:nvPr/>
          </p:nvSpPr>
          <p:spPr bwMode="auto">
            <a:xfrm>
              <a:off x="5337" y="3489"/>
              <a:ext cx="5" cy="10"/>
            </a:xfrm>
            <a:custGeom>
              <a:avLst/>
              <a:gdLst>
                <a:gd name="T0" fmla="*/ 0 w 10"/>
                <a:gd name="T1" fmla="*/ 1 h 19"/>
                <a:gd name="T2" fmla="*/ 1 w 10"/>
                <a:gd name="T3" fmla="*/ 1 h 19"/>
                <a:gd name="T4" fmla="*/ 1 w 10"/>
                <a:gd name="T5" fmla="*/ 1 h 19"/>
                <a:gd name="T6" fmla="*/ 1 w 10"/>
                <a:gd name="T7" fmla="*/ 0 h 19"/>
                <a:gd name="T8" fmla="*/ 1 w 10"/>
                <a:gd name="T9" fmla="*/ 1 h 19"/>
                <a:gd name="T10" fmla="*/ 0 w 10"/>
                <a:gd name="T11" fmla="*/ 1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19"/>
                <a:gd name="T20" fmla="*/ 10 w 10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19">
                  <a:moveTo>
                    <a:pt x="0" y="5"/>
                  </a:moveTo>
                  <a:lnTo>
                    <a:pt x="3" y="19"/>
                  </a:lnTo>
                  <a:lnTo>
                    <a:pt x="10" y="14"/>
                  </a:lnTo>
                  <a:lnTo>
                    <a:pt x="7" y="0"/>
                  </a:lnTo>
                  <a:lnTo>
                    <a:pt x="3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01" name="Freeform 329"/>
            <p:cNvSpPr>
              <a:spLocks/>
            </p:cNvSpPr>
            <p:nvPr/>
          </p:nvSpPr>
          <p:spPr bwMode="auto">
            <a:xfrm>
              <a:off x="5342" y="3500"/>
              <a:ext cx="5" cy="5"/>
            </a:xfrm>
            <a:custGeom>
              <a:avLst/>
              <a:gdLst>
                <a:gd name="T0" fmla="*/ 0 w 7"/>
                <a:gd name="T1" fmla="*/ 0 h 10"/>
                <a:gd name="T2" fmla="*/ 1 w 7"/>
                <a:gd name="T3" fmla="*/ 1 h 10"/>
                <a:gd name="T4" fmla="*/ 1 w 7"/>
                <a:gd name="T5" fmla="*/ 1 h 10"/>
                <a:gd name="T6" fmla="*/ 0 w 7"/>
                <a:gd name="T7" fmla="*/ 0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0"/>
                <a:gd name="T14" fmla="*/ 7 w 7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0">
                  <a:moveTo>
                    <a:pt x="0" y="0"/>
                  </a:moveTo>
                  <a:lnTo>
                    <a:pt x="2" y="10"/>
                  </a:lnTo>
                  <a:lnTo>
                    <a:pt x="7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02" name="Freeform 330"/>
            <p:cNvSpPr>
              <a:spLocks/>
            </p:cNvSpPr>
            <p:nvPr/>
          </p:nvSpPr>
          <p:spPr bwMode="auto">
            <a:xfrm>
              <a:off x="5314" y="3535"/>
              <a:ext cx="27" cy="17"/>
            </a:xfrm>
            <a:custGeom>
              <a:avLst/>
              <a:gdLst>
                <a:gd name="T0" fmla="*/ 0 w 45"/>
                <a:gd name="T1" fmla="*/ 0 h 33"/>
                <a:gd name="T2" fmla="*/ 1 w 45"/>
                <a:gd name="T3" fmla="*/ 1 h 33"/>
                <a:gd name="T4" fmla="*/ 1 w 45"/>
                <a:gd name="T5" fmla="*/ 1 h 33"/>
                <a:gd name="T6" fmla="*/ 1 w 45"/>
                <a:gd name="T7" fmla="*/ 1 h 33"/>
                <a:gd name="T8" fmla="*/ 1 w 45"/>
                <a:gd name="T9" fmla="*/ 1 h 33"/>
                <a:gd name="T10" fmla="*/ 0 w 45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5"/>
                <a:gd name="T19" fmla="*/ 0 h 33"/>
                <a:gd name="T20" fmla="*/ 45 w 45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5" h="33">
                  <a:moveTo>
                    <a:pt x="0" y="0"/>
                  </a:moveTo>
                  <a:lnTo>
                    <a:pt x="12" y="14"/>
                  </a:lnTo>
                  <a:lnTo>
                    <a:pt x="36" y="33"/>
                  </a:lnTo>
                  <a:lnTo>
                    <a:pt x="45" y="33"/>
                  </a:lnTo>
                  <a:lnTo>
                    <a:pt x="17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03" name="Freeform 331"/>
            <p:cNvSpPr>
              <a:spLocks/>
            </p:cNvSpPr>
            <p:nvPr/>
          </p:nvSpPr>
          <p:spPr bwMode="auto">
            <a:xfrm>
              <a:off x="5481" y="3751"/>
              <a:ext cx="7" cy="6"/>
            </a:xfrm>
            <a:custGeom>
              <a:avLst/>
              <a:gdLst>
                <a:gd name="T0" fmla="*/ 0 w 12"/>
                <a:gd name="T1" fmla="*/ 0 h 10"/>
                <a:gd name="T2" fmla="*/ 1 w 12"/>
                <a:gd name="T3" fmla="*/ 1 h 10"/>
                <a:gd name="T4" fmla="*/ 1 w 12"/>
                <a:gd name="T5" fmla="*/ 0 h 10"/>
                <a:gd name="T6" fmla="*/ 0 w 12"/>
                <a:gd name="T7" fmla="*/ 0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10"/>
                <a:gd name="T14" fmla="*/ 12 w 12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10">
                  <a:moveTo>
                    <a:pt x="0" y="0"/>
                  </a:moveTo>
                  <a:lnTo>
                    <a:pt x="5" y="10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04" name="Freeform 332"/>
            <p:cNvSpPr>
              <a:spLocks/>
            </p:cNvSpPr>
            <p:nvPr/>
          </p:nvSpPr>
          <p:spPr bwMode="auto">
            <a:xfrm>
              <a:off x="5430" y="3510"/>
              <a:ext cx="11" cy="8"/>
            </a:xfrm>
            <a:custGeom>
              <a:avLst/>
              <a:gdLst>
                <a:gd name="T0" fmla="*/ 0 w 19"/>
                <a:gd name="T1" fmla="*/ 1 h 15"/>
                <a:gd name="T2" fmla="*/ 1 w 19"/>
                <a:gd name="T3" fmla="*/ 1 h 15"/>
                <a:gd name="T4" fmla="*/ 1 w 19"/>
                <a:gd name="T5" fmla="*/ 1 h 15"/>
                <a:gd name="T6" fmla="*/ 1 w 19"/>
                <a:gd name="T7" fmla="*/ 1 h 15"/>
                <a:gd name="T8" fmla="*/ 1 w 19"/>
                <a:gd name="T9" fmla="*/ 0 h 15"/>
                <a:gd name="T10" fmla="*/ 0 w 19"/>
                <a:gd name="T11" fmla="*/ 1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5"/>
                <a:gd name="T20" fmla="*/ 19 w 19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5">
                  <a:moveTo>
                    <a:pt x="0" y="12"/>
                  </a:moveTo>
                  <a:lnTo>
                    <a:pt x="12" y="15"/>
                  </a:lnTo>
                  <a:lnTo>
                    <a:pt x="19" y="12"/>
                  </a:lnTo>
                  <a:lnTo>
                    <a:pt x="19" y="5"/>
                  </a:lnTo>
                  <a:lnTo>
                    <a:pt x="5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05" name="Freeform 333"/>
            <p:cNvSpPr>
              <a:spLocks/>
            </p:cNvSpPr>
            <p:nvPr/>
          </p:nvSpPr>
          <p:spPr bwMode="auto">
            <a:xfrm>
              <a:off x="5441" y="3502"/>
              <a:ext cx="12" cy="7"/>
            </a:xfrm>
            <a:custGeom>
              <a:avLst/>
              <a:gdLst>
                <a:gd name="T0" fmla="*/ 0 w 19"/>
                <a:gd name="T1" fmla="*/ 1 h 12"/>
                <a:gd name="T2" fmla="*/ 1 w 19"/>
                <a:gd name="T3" fmla="*/ 1 h 12"/>
                <a:gd name="T4" fmla="*/ 1 w 19"/>
                <a:gd name="T5" fmla="*/ 1 h 12"/>
                <a:gd name="T6" fmla="*/ 1 w 19"/>
                <a:gd name="T7" fmla="*/ 0 h 12"/>
                <a:gd name="T8" fmla="*/ 0 w 19"/>
                <a:gd name="T9" fmla="*/ 1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2"/>
                <a:gd name="T17" fmla="*/ 19 w 19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2">
                  <a:moveTo>
                    <a:pt x="0" y="7"/>
                  </a:moveTo>
                  <a:lnTo>
                    <a:pt x="3" y="12"/>
                  </a:lnTo>
                  <a:lnTo>
                    <a:pt x="19" y="7"/>
                  </a:lnTo>
                  <a:lnTo>
                    <a:pt x="19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06" name="Freeform 334"/>
            <p:cNvSpPr>
              <a:spLocks/>
            </p:cNvSpPr>
            <p:nvPr/>
          </p:nvSpPr>
          <p:spPr bwMode="auto">
            <a:xfrm>
              <a:off x="5516" y="3480"/>
              <a:ext cx="14" cy="5"/>
            </a:xfrm>
            <a:custGeom>
              <a:avLst/>
              <a:gdLst>
                <a:gd name="T0" fmla="*/ 0 w 23"/>
                <a:gd name="T1" fmla="*/ 0 h 10"/>
                <a:gd name="T2" fmla="*/ 1 w 23"/>
                <a:gd name="T3" fmla="*/ 1 h 10"/>
                <a:gd name="T4" fmla="*/ 1 w 23"/>
                <a:gd name="T5" fmla="*/ 1 h 10"/>
                <a:gd name="T6" fmla="*/ 0 w 23"/>
                <a:gd name="T7" fmla="*/ 0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"/>
                <a:gd name="T13" fmla="*/ 0 h 10"/>
                <a:gd name="T14" fmla="*/ 23 w 23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" h="10">
                  <a:moveTo>
                    <a:pt x="0" y="0"/>
                  </a:moveTo>
                  <a:lnTo>
                    <a:pt x="4" y="5"/>
                  </a:lnTo>
                  <a:lnTo>
                    <a:pt x="23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07" name="Freeform 335"/>
            <p:cNvSpPr>
              <a:spLocks/>
            </p:cNvSpPr>
            <p:nvPr/>
          </p:nvSpPr>
          <p:spPr bwMode="auto">
            <a:xfrm>
              <a:off x="4104" y="3604"/>
              <a:ext cx="19" cy="20"/>
            </a:xfrm>
            <a:custGeom>
              <a:avLst/>
              <a:gdLst>
                <a:gd name="T0" fmla="*/ 1 w 33"/>
                <a:gd name="T1" fmla="*/ 1 h 38"/>
                <a:gd name="T2" fmla="*/ 1 w 33"/>
                <a:gd name="T3" fmla="*/ 1 h 38"/>
                <a:gd name="T4" fmla="*/ 1 w 33"/>
                <a:gd name="T5" fmla="*/ 1 h 38"/>
                <a:gd name="T6" fmla="*/ 0 w 33"/>
                <a:gd name="T7" fmla="*/ 1 h 38"/>
                <a:gd name="T8" fmla="*/ 1 w 33"/>
                <a:gd name="T9" fmla="*/ 0 h 38"/>
                <a:gd name="T10" fmla="*/ 1 w 33"/>
                <a:gd name="T11" fmla="*/ 1 h 38"/>
                <a:gd name="T12" fmla="*/ 1 w 33"/>
                <a:gd name="T13" fmla="*/ 1 h 3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3"/>
                <a:gd name="T22" fmla="*/ 0 h 38"/>
                <a:gd name="T23" fmla="*/ 33 w 33"/>
                <a:gd name="T24" fmla="*/ 38 h 3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3" h="38">
                  <a:moveTo>
                    <a:pt x="33" y="14"/>
                  </a:moveTo>
                  <a:lnTo>
                    <a:pt x="28" y="23"/>
                  </a:lnTo>
                  <a:lnTo>
                    <a:pt x="9" y="38"/>
                  </a:lnTo>
                  <a:lnTo>
                    <a:pt x="0" y="21"/>
                  </a:lnTo>
                  <a:lnTo>
                    <a:pt x="19" y="0"/>
                  </a:lnTo>
                  <a:lnTo>
                    <a:pt x="24" y="2"/>
                  </a:lnTo>
                  <a:lnTo>
                    <a:pt x="33" y="14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08" name="Freeform 336"/>
            <p:cNvSpPr>
              <a:spLocks/>
            </p:cNvSpPr>
            <p:nvPr/>
          </p:nvSpPr>
          <p:spPr bwMode="auto">
            <a:xfrm>
              <a:off x="2371" y="2883"/>
              <a:ext cx="9" cy="9"/>
            </a:xfrm>
            <a:custGeom>
              <a:avLst/>
              <a:gdLst>
                <a:gd name="T0" fmla="*/ 0 w 15"/>
                <a:gd name="T1" fmla="*/ 1 h 16"/>
                <a:gd name="T2" fmla="*/ 1 w 15"/>
                <a:gd name="T3" fmla="*/ 1 h 16"/>
                <a:gd name="T4" fmla="*/ 1 w 15"/>
                <a:gd name="T5" fmla="*/ 0 h 16"/>
                <a:gd name="T6" fmla="*/ 1 w 15"/>
                <a:gd name="T7" fmla="*/ 1 h 16"/>
                <a:gd name="T8" fmla="*/ 0 w 15"/>
                <a:gd name="T9" fmla="*/ 1 h 16"/>
                <a:gd name="T10" fmla="*/ 0 w 15"/>
                <a:gd name="T11" fmla="*/ 1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16"/>
                <a:gd name="T20" fmla="*/ 15 w 15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16">
                  <a:moveTo>
                    <a:pt x="0" y="16"/>
                  </a:moveTo>
                  <a:lnTo>
                    <a:pt x="15" y="4"/>
                  </a:lnTo>
                  <a:lnTo>
                    <a:pt x="15" y="0"/>
                  </a:lnTo>
                  <a:lnTo>
                    <a:pt x="8" y="2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09" name="Freeform 337"/>
            <p:cNvSpPr>
              <a:spLocks/>
            </p:cNvSpPr>
            <p:nvPr/>
          </p:nvSpPr>
          <p:spPr bwMode="auto">
            <a:xfrm>
              <a:off x="2382" y="2878"/>
              <a:ext cx="12" cy="8"/>
            </a:xfrm>
            <a:custGeom>
              <a:avLst/>
              <a:gdLst>
                <a:gd name="T0" fmla="*/ 0 w 19"/>
                <a:gd name="T1" fmla="*/ 1 h 14"/>
                <a:gd name="T2" fmla="*/ 1 w 19"/>
                <a:gd name="T3" fmla="*/ 1 h 14"/>
                <a:gd name="T4" fmla="*/ 1 w 19"/>
                <a:gd name="T5" fmla="*/ 0 h 14"/>
                <a:gd name="T6" fmla="*/ 1 w 19"/>
                <a:gd name="T7" fmla="*/ 0 h 14"/>
                <a:gd name="T8" fmla="*/ 1 w 19"/>
                <a:gd name="T9" fmla="*/ 1 h 14"/>
                <a:gd name="T10" fmla="*/ 0 w 19"/>
                <a:gd name="T11" fmla="*/ 1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4"/>
                <a:gd name="T20" fmla="*/ 19 w 19"/>
                <a:gd name="T21" fmla="*/ 14 h 1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4">
                  <a:moveTo>
                    <a:pt x="0" y="14"/>
                  </a:moveTo>
                  <a:lnTo>
                    <a:pt x="19" y="7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10" y="7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10" name="Line 338"/>
            <p:cNvSpPr>
              <a:spLocks noChangeShapeType="1"/>
            </p:cNvSpPr>
            <p:nvPr/>
          </p:nvSpPr>
          <p:spPr bwMode="auto">
            <a:xfrm>
              <a:off x="4212" y="3423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11" name="Line 339"/>
            <p:cNvSpPr>
              <a:spLocks noChangeShapeType="1"/>
            </p:cNvSpPr>
            <p:nvPr/>
          </p:nvSpPr>
          <p:spPr bwMode="auto">
            <a:xfrm>
              <a:off x="4212" y="3423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12" name="Rectangle 340"/>
            <p:cNvSpPr>
              <a:spLocks noChangeArrowheads="1"/>
            </p:cNvSpPr>
            <p:nvPr/>
          </p:nvSpPr>
          <p:spPr bwMode="auto">
            <a:xfrm>
              <a:off x="4869" y="3198"/>
              <a:ext cx="6" cy="3"/>
            </a:xfrm>
            <a:prstGeom prst="rect">
              <a:avLst/>
            </a:pr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13" name="Freeform 341"/>
            <p:cNvSpPr>
              <a:spLocks/>
            </p:cNvSpPr>
            <p:nvPr/>
          </p:nvSpPr>
          <p:spPr bwMode="auto">
            <a:xfrm>
              <a:off x="4062" y="2994"/>
              <a:ext cx="56" cy="30"/>
            </a:xfrm>
            <a:custGeom>
              <a:avLst/>
              <a:gdLst>
                <a:gd name="T0" fmla="*/ 2 w 95"/>
                <a:gd name="T1" fmla="*/ 1 h 59"/>
                <a:gd name="T2" fmla="*/ 2 w 95"/>
                <a:gd name="T3" fmla="*/ 1 h 59"/>
                <a:gd name="T4" fmla="*/ 2 w 95"/>
                <a:gd name="T5" fmla="*/ 1 h 59"/>
                <a:gd name="T6" fmla="*/ 2 w 95"/>
                <a:gd name="T7" fmla="*/ 1 h 59"/>
                <a:gd name="T8" fmla="*/ 2 w 95"/>
                <a:gd name="T9" fmla="*/ 1 h 59"/>
                <a:gd name="T10" fmla="*/ 2 w 95"/>
                <a:gd name="T11" fmla="*/ 1 h 59"/>
                <a:gd name="T12" fmla="*/ 2 w 95"/>
                <a:gd name="T13" fmla="*/ 1 h 59"/>
                <a:gd name="T14" fmla="*/ 1 w 95"/>
                <a:gd name="T15" fmla="*/ 1 h 59"/>
                <a:gd name="T16" fmla="*/ 1 w 95"/>
                <a:gd name="T17" fmla="*/ 1 h 59"/>
                <a:gd name="T18" fmla="*/ 1 w 95"/>
                <a:gd name="T19" fmla="*/ 1 h 59"/>
                <a:gd name="T20" fmla="*/ 1 w 95"/>
                <a:gd name="T21" fmla="*/ 1 h 59"/>
                <a:gd name="T22" fmla="*/ 1 w 95"/>
                <a:gd name="T23" fmla="*/ 1 h 59"/>
                <a:gd name="T24" fmla="*/ 0 w 95"/>
                <a:gd name="T25" fmla="*/ 1 h 59"/>
                <a:gd name="T26" fmla="*/ 0 w 95"/>
                <a:gd name="T27" fmla="*/ 1 h 59"/>
                <a:gd name="T28" fmla="*/ 0 w 95"/>
                <a:gd name="T29" fmla="*/ 1 h 59"/>
                <a:gd name="T30" fmla="*/ 1 w 95"/>
                <a:gd name="T31" fmla="*/ 1 h 59"/>
                <a:gd name="T32" fmla="*/ 0 w 95"/>
                <a:gd name="T33" fmla="*/ 1 h 59"/>
                <a:gd name="T34" fmla="*/ 1 w 95"/>
                <a:gd name="T35" fmla="*/ 0 h 59"/>
                <a:gd name="T36" fmla="*/ 1 w 95"/>
                <a:gd name="T37" fmla="*/ 1 h 59"/>
                <a:gd name="T38" fmla="*/ 1 w 95"/>
                <a:gd name="T39" fmla="*/ 1 h 59"/>
                <a:gd name="T40" fmla="*/ 1 w 95"/>
                <a:gd name="T41" fmla="*/ 1 h 59"/>
                <a:gd name="T42" fmla="*/ 2 w 95"/>
                <a:gd name="T43" fmla="*/ 0 h 59"/>
                <a:gd name="T44" fmla="*/ 2 w 95"/>
                <a:gd name="T45" fmla="*/ 1 h 59"/>
                <a:gd name="T46" fmla="*/ 2 w 95"/>
                <a:gd name="T47" fmla="*/ 1 h 5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5"/>
                <a:gd name="T73" fmla="*/ 0 h 59"/>
                <a:gd name="T74" fmla="*/ 95 w 95"/>
                <a:gd name="T75" fmla="*/ 59 h 5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5" h="59">
                  <a:moveTo>
                    <a:pt x="95" y="10"/>
                  </a:moveTo>
                  <a:lnTo>
                    <a:pt x="92" y="17"/>
                  </a:lnTo>
                  <a:lnTo>
                    <a:pt x="83" y="19"/>
                  </a:lnTo>
                  <a:lnTo>
                    <a:pt x="76" y="36"/>
                  </a:lnTo>
                  <a:lnTo>
                    <a:pt x="85" y="48"/>
                  </a:lnTo>
                  <a:lnTo>
                    <a:pt x="71" y="45"/>
                  </a:lnTo>
                  <a:lnTo>
                    <a:pt x="59" y="50"/>
                  </a:lnTo>
                  <a:lnTo>
                    <a:pt x="47" y="59"/>
                  </a:lnTo>
                  <a:lnTo>
                    <a:pt x="31" y="52"/>
                  </a:lnTo>
                  <a:lnTo>
                    <a:pt x="7" y="57"/>
                  </a:lnTo>
                  <a:lnTo>
                    <a:pt x="7" y="45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1"/>
                  </a:lnTo>
                  <a:lnTo>
                    <a:pt x="7" y="22"/>
                  </a:lnTo>
                  <a:lnTo>
                    <a:pt x="0" y="10"/>
                  </a:lnTo>
                  <a:lnTo>
                    <a:pt x="5" y="0"/>
                  </a:lnTo>
                  <a:lnTo>
                    <a:pt x="7" y="5"/>
                  </a:lnTo>
                  <a:lnTo>
                    <a:pt x="24" y="10"/>
                  </a:lnTo>
                  <a:lnTo>
                    <a:pt x="45" y="12"/>
                  </a:lnTo>
                  <a:lnTo>
                    <a:pt x="69" y="0"/>
                  </a:lnTo>
                  <a:lnTo>
                    <a:pt x="95" y="10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14" name="Freeform 342"/>
            <p:cNvSpPr>
              <a:spLocks/>
            </p:cNvSpPr>
            <p:nvPr/>
          </p:nvSpPr>
          <p:spPr bwMode="auto">
            <a:xfrm>
              <a:off x="4006" y="2945"/>
              <a:ext cx="59" cy="32"/>
            </a:xfrm>
            <a:custGeom>
              <a:avLst/>
              <a:gdLst>
                <a:gd name="T0" fmla="*/ 1 w 99"/>
                <a:gd name="T1" fmla="*/ 1 h 61"/>
                <a:gd name="T2" fmla="*/ 2 w 99"/>
                <a:gd name="T3" fmla="*/ 1 h 61"/>
                <a:gd name="T4" fmla="*/ 2 w 99"/>
                <a:gd name="T5" fmla="*/ 1 h 61"/>
                <a:gd name="T6" fmla="*/ 2 w 99"/>
                <a:gd name="T7" fmla="*/ 1 h 61"/>
                <a:gd name="T8" fmla="*/ 3 w 99"/>
                <a:gd name="T9" fmla="*/ 1 h 61"/>
                <a:gd name="T10" fmla="*/ 2 w 99"/>
                <a:gd name="T11" fmla="*/ 1 h 61"/>
                <a:gd name="T12" fmla="*/ 2 w 99"/>
                <a:gd name="T13" fmla="*/ 1 h 61"/>
                <a:gd name="T14" fmla="*/ 2 w 99"/>
                <a:gd name="T15" fmla="*/ 0 h 61"/>
                <a:gd name="T16" fmla="*/ 1 w 99"/>
                <a:gd name="T17" fmla="*/ 1 h 61"/>
                <a:gd name="T18" fmla="*/ 1 w 99"/>
                <a:gd name="T19" fmla="*/ 1 h 61"/>
                <a:gd name="T20" fmla="*/ 0 w 99"/>
                <a:gd name="T21" fmla="*/ 1 h 61"/>
                <a:gd name="T22" fmla="*/ 1 w 99"/>
                <a:gd name="T23" fmla="*/ 1 h 61"/>
                <a:gd name="T24" fmla="*/ 1 w 99"/>
                <a:gd name="T25" fmla="*/ 1 h 61"/>
                <a:gd name="T26" fmla="*/ 1 w 99"/>
                <a:gd name="T27" fmla="*/ 1 h 6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9"/>
                <a:gd name="T43" fmla="*/ 0 h 61"/>
                <a:gd name="T44" fmla="*/ 99 w 99"/>
                <a:gd name="T45" fmla="*/ 61 h 6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9" h="61">
                  <a:moveTo>
                    <a:pt x="42" y="59"/>
                  </a:moveTo>
                  <a:lnTo>
                    <a:pt x="61" y="54"/>
                  </a:lnTo>
                  <a:lnTo>
                    <a:pt x="75" y="49"/>
                  </a:lnTo>
                  <a:lnTo>
                    <a:pt x="89" y="19"/>
                  </a:lnTo>
                  <a:lnTo>
                    <a:pt x="99" y="14"/>
                  </a:lnTo>
                  <a:lnTo>
                    <a:pt x="89" y="5"/>
                  </a:lnTo>
                  <a:lnTo>
                    <a:pt x="68" y="0"/>
                  </a:lnTo>
                  <a:lnTo>
                    <a:pt x="33" y="19"/>
                  </a:lnTo>
                  <a:lnTo>
                    <a:pt x="14" y="12"/>
                  </a:lnTo>
                  <a:lnTo>
                    <a:pt x="0" y="38"/>
                  </a:lnTo>
                  <a:lnTo>
                    <a:pt x="2" y="40"/>
                  </a:lnTo>
                  <a:lnTo>
                    <a:pt x="28" y="61"/>
                  </a:lnTo>
                  <a:lnTo>
                    <a:pt x="42" y="59"/>
                  </a:lnTo>
                  <a:close/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15" name="Freeform 343"/>
            <p:cNvSpPr>
              <a:spLocks/>
            </p:cNvSpPr>
            <p:nvPr/>
          </p:nvSpPr>
          <p:spPr bwMode="auto">
            <a:xfrm>
              <a:off x="3979" y="3265"/>
              <a:ext cx="20" cy="13"/>
            </a:xfrm>
            <a:custGeom>
              <a:avLst/>
              <a:gdLst>
                <a:gd name="T0" fmla="*/ 0 w 33"/>
                <a:gd name="T1" fmla="*/ 1 h 26"/>
                <a:gd name="T2" fmla="*/ 1 w 33"/>
                <a:gd name="T3" fmla="*/ 1 h 26"/>
                <a:gd name="T4" fmla="*/ 1 w 33"/>
                <a:gd name="T5" fmla="*/ 1 h 26"/>
                <a:gd name="T6" fmla="*/ 1 w 33"/>
                <a:gd name="T7" fmla="*/ 1 h 26"/>
                <a:gd name="T8" fmla="*/ 1 w 33"/>
                <a:gd name="T9" fmla="*/ 1 h 26"/>
                <a:gd name="T10" fmla="*/ 1 w 33"/>
                <a:gd name="T11" fmla="*/ 0 h 26"/>
                <a:gd name="T12" fmla="*/ 0 w 33"/>
                <a:gd name="T13" fmla="*/ 1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3"/>
                <a:gd name="T22" fmla="*/ 0 h 26"/>
                <a:gd name="T23" fmla="*/ 33 w 33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3" h="26">
                  <a:moveTo>
                    <a:pt x="0" y="2"/>
                  </a:moveTo>
                  <a:lnTo>
                    <a:pt x="16" y="26"/>
                  </a:lnTo>
                  <a:lnTo>
                    <a:pt x="30" y="19"/>
                  </a:lnTo>
                  <a:lnTo>
                    <a:pt x="33" y="12"/>
                  </a:lnTo>
                  <a:lnTo>
                    <a:pt x="16" y="9"/>
                  </a:lnTo>
                  <a:lnTo>
                    <a:pt x="12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16" name="Freeform 344"/>
            <p:cNvSpPr>
              <a:spLocks/>
            </p:cNvSpPr>
            <p:nvPr/>
          </p:nvSpPr>
          <p:spPr bwMode="auto">
            <a:xfrm>
              <a:off x="4143" y="3373"/>
              <a:ext cx="24" cy="23"/>
            </a:xfrm>
            <a:custGeom>
              <a:avLst/>
              <a:gdLst>
                <a:gd name="T0" fmla="*/ 0 w 40"/>
                <a:gd name="T1" fmla="*/ 1 h 45"/>
                <a:gd name="T2" fmla="*/ 1 w 40"/>
                <a:gd name="T3" fmla="*/ 1 h 45"/>
                <a:gd name="T4" fmla="*/ 1 w 40"/>
                <a:gd name="T5" fmla="*/ 1 h 45"/>
                <a:gd name="T6" fmla="*/ 1 w 40"/>
                <a:gd name="T7" fmla="*/ 1 h 45"/>
                <a:gd name="T8" fmla="*/ 1 w 40"/>
                <a:gd name="T9" fmla="*/ 1 h 45"/>
                <a:gd name="T10" fmla="*/ 1 w 40"/>
                <a:gd name="T11" fmla="*/ 1 h 45"/>
                <a:gd name="T12" fmla="*/ 1 w 40"/>
                <a:gd name="T13" fmla="*/ 1 h 45"/>
                <a:gd name="T14" fmla="*/ 1 w 40"/>
                <a:gd name="T15" fmla="*/ 1 h 45"/>
                <a:gd name="T16" fmla="*/ 1 w 40"/>
                <a:gd name="T17" fmla="*/ 0 h 45"/>
                <a:gd name="T18" fmla="*/ 1 w 40"/>
                <a:gd name="T19" fmla="*/ 1 h 45"/>
                <a:gd name="T20" fmla="*/ 0 w 40"/>
                <a:gd name="T21" fmla="*/ 1 h 4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0"/>
                <a:gd name="T34" fmla="*/ 0 h 45"/>
                <a:gd name="T35" fmla="*/ 40 w 40"/>
                <a:gd name="T36" fmla="*/ 45 h 4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0" h="45">
                  <a:moveTo>
                    <a:pt x="0" y="35"/>
                  </a:moveTo>
                  <a:lnTo>
                    <a:pt x="5" y="45"/>
                  </a:lnTo>
                  <a:lnTo>
                    <a:pt x="10" y="38"/>
                  </a:lnTo>
                  <a:lnTo>
                    <a:pt x="28" y="42"/>
                  </a:lnTo>
                  <a:lnTo>
                    <a:pt x="33" y="38"/>
                  </a:lnTo>
                  <a:lnTo>
                    <a:pt x="24" y="35"/>
                  </a:lnTo>
                  <a:lnTo>
                    <a:pt x="40" y="9"/>
                  </a:lnTo>
                  <a:lnTo>
                    <a:pt x="36" y="5"/>
                  </a:lnTo>
                  <a:lnTo>
                    <a:pt x="21" y="0"/>
                  </a:lnTo>
                  <a:lnTo>
                    <a:pt x="5" y="7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17" name="Freeform 345"/>
            <p:cNvSpPr>
              <a:spLocks/>
            </p:cNvSpPr>
            <p:nvPr/>
          </p:nvSpPr>
          <p:spPr bwMode="auto">
            <a:xfrm>
              <a:off x="4164" y="3449"/>
              <a:ext cx="13" cy="40"/>
            </a:xfrm>
            <a:custGeom>
              <a:avLst/>
              <a:gdLst>
                <a:gd name="T0" fmla="*/ 1 w 21"/>
                <a:gd name="T1" fmla="*/ 1 h 76"/>
                <a:gd name="T2" fmla="*/ 1 w 21"/>
                <a:gd name="T3" fmla="*/ 1 h 76"/>
                <a:gd name="T4" fmla="*/ 1 w 21"/>
                <a:gd name="T5" fmla="*/ 1 h 76"/>
                <a:gd name="T6" fmla="*/ 1 w 21"/>
                <a:gd name="T7" fmla="*/ 1 h 76"/>
                <a:gd name="T8" fmla="*/ 1 w 21"/>
                <a:gd name="T9" fmla="*/ 0 h 76"/>
                <a:gd name="T10" fmla="*/ 0 w 21"/>
                <a:gd name="T11" fmla="*/ 1 h 76"/>
                <a:gd name="T12" fmla="*/ 1 w 21"/>
                <a:gd name="T13" fmla="*/ 1 h 76"/>
                <a:gd name="T14" fmla="*/ 1 w 21"/>
                <a:gd name="T15" fmla="*/ 1 h 7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"/>
                <a:gd name="T25" fmla="*/ 0 h 76"/>
                <a:gd name="T26" fmla="*/ 21 w 21"/>
                <a:gd name="T27" fmla="*/ 76 h 7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" h="76">
                  <a:moveTo>
                    <a:pt x="2" y="40"/>
                  </a:moveTo>
                  <a:lnTo>
                    <a:pt x="4" y="59"/>
                  </a:lnTo>
                  <a:lnTo>
                    <a:pt x="21" y="76"/>
                  </a:lnTo>
                  <a:lnTo>
                    <a:pt x="7" y="5"/>
                  </a:lnTo>
                  <a:lnTo>
                    <a:pt x="2" y="0"/>
                  </a:lnTo>
                  <a:lnTo>
                    <a:pt x="0" y="5"/>
                  </a:lnTo>
                  <a:lnTo>
                    <a:pt x="7" y="33"/>
                  </a:lnTo>
                  <a:lnTo>
                    <a:pt x="2" y="4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18" name="Freeform 346"/>
            <p:cNvSpPr>
              <a:spLocks/>
            </p:cNvSpPr>
            <p:nvPr/>
          </p:nvSpPr>
          <p:spPr bwMode="auto">
            <a:xfrm>
              <a:off x="4120" y="3401"/>
              <a:ext cx="19" cy="42"/>
            </a:xfrm>
            <a:custGeom>
              <a:avLst/>
              <a:gdLst>
                <a:gd name="T0" fmla="*/ 1 w 31"/>
                <a:gd name="T1" fmla="*/ 1 h 80"/>
                <a:gd name="T2" fmla="*/ 1 w 31"/>
                <a:gd name="T3" fmla="*/ 1 h 80"/>
                <a:gd name="T4" fmla="*/ 1 w 31"/>
                <a:gd name="T5" fmla="*/ 1 h 80"/>
                <a:gd name="T6" fmla="*/ 1 w 31"/>
                <a:gd name="T7" fmla="*/ 1 h 80"/>
                <a:gd name="T8" fmla="*/ 1 w 31"/>
                <a:gd name="T9" fmla="*/ 1 h 80"/>
                <a:gd name="T10" fmla="*/ 1 w 31"/>
                <a:gd name="T11" fmla="*/ 1 h 80"/>
                <a:gd name="T12" fmla="*/ 1 w 31"/>
                <a:gd name="T13" fmla="*/ 1 h 80"/>
                <a:gd name="T14" fmla="*/ 1 w 31"/>
                <a:gd name="T15" fmla="*/ 0 h 80"/>
                <a:gd name="T16" fmla="*/ 0 w 31"/>
                <a:gd name="T17" fmla="*/ 1 h 80"/>
                <a:gd name="T18" fmla="*/ 1 w 31"/>
                <a:gd name="T19" fmla="*/ 1 h 8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1"/>
                <a:gd name="T31" fmla="*/ 0 h 80"/>
                <a:gd name="T32" fmla="*/ 31 w 31"/>
                <a:gd name="T33" fmla="*/ 80 h 8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1" h="80">
                  <a:moveTo>
                    <a:pt x="3" y="40"/>
                  </a:moveTo>
                  <a:lnTo>
                    <a:pt x="19" y="59"/>
                  </a:lnTo>
                  <a:lnTo>
                    <a:pt x="22" y="78"/>
                  </a:lnTo>
                  <a:lnTo>
                    <a:pt x="31" y="80"/>
                  </a:lnTo>
                  <a:lnTo>
                    <a:pt x="24" y="52"/>
                  </a:lnTo>
                  <a:lnTo>
                    <a:pt x="10" y="43"/>
                  </a:lnTo>
                  <a:lnTo>
                    <a:pt x="15" y="36"/>
                  </a:lnTo>
                  <a:lnTo>
                    <a:pt x="5" y="0"/>
                  </a:lnTo>
                  <a:lnTo>
                    <a:pt x="0" y="10"/>
                  </a:lnTo>
                  <a:lnTo>
                    <a:pt x="3" y="4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19" name="Line 347"/>
            <p:cNvSpPr>
              <a:spLocks noChangeShapeType="1"/>
            </p:cNvSpPr>
            <p:nvPr/>
          </p:nvSpPr>
          <p:spPr bwMode="auto">
            <a:xfrm>
              <a:off x="3065" y="3380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20" name="Line 348"/>
            <p:cNvSpPr>
              <a:spLocks noChangeShapeType="1"/>
            </p:cNvSpPr>
            <p:nvPr/>
          </p:nvSpPr>
          <p:spPr bwMode="auto">
            <a:xfrm>
              <a:off x="3065" y="3380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21" name="Line 349"/>
            <p:cNvSpPr>
              <a:spLocks noChangeShapeType="1"/>
            </p:cNvSpPr>
            <p:nvPr/>
          </p:nvSpPr>
          <p:spPr bwMode="auto">
            <a:xfrm>
              <a:off x="3072" y="3383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22" name="Line 350"/>
            <p:cNvSpPr>
              <a:spLocks noChangeShapeType="1"/>
            </p:cNvSpPr>
            <p:nvPr/>
          </p:nvSpPr>
          <p:spPr bwMode="auto">
            <a:xfrm>
              <a:off x="3072" y="3383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23" name="Line 351"/>
            <p:cNvSpPr>
              <a:spLocks noChangeShapeType="1"/>
            </p:cNvSpPr>
            <p:nvPr/>
          </p:nvSpPr>
          <p:spPr bwMode="auto">
            <a:xfrm>
              <a:off x="3095" y="3332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24" name="Line 352"/>
            <p:cNvSpPr>
              <a:spLocks noChangeShapeType="1"/>
            </p:cNvSpPr>
            <p:nvPr/>
          </p:nvSpPr>
          <p:spPr bwMode="auto">
            <a:xfrm>
              <a:off x="3095" y="3332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25" name="Line 353"/>
            <p:cNvSpPr>
              <a:spLocks noChangeShapeType="1"/>
            </p:cNvSpPr>
            <p:nvPr/>
          </p:nvSpPr>
          <p:spPr bwMode="auto">
            <a:xfrm>
              <a:off x="3144" y="3345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26" name="Line 354"/>
            <p:cNvSpPr>
              <a:spLocks noChangeShapeType="1"/>
            </p:cNvSpPr>
            <p:nvPr/>
          </p:nvSpPr>
          <p:spPr bwMode="auto">
            <a:xfrm>
              <a:off x="3144" y="3345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27" name="Line 355"/>
            <p:cNvSpPr>
              <a:spLocks noChangeShapeType="1"/>
            </p:cNvSpPr>
            <p:nvPr/>
          </p:nvSpPr>
          <p:spPr bwMode="auto">
            <a:xfrm>
              <a:off x="3168" y="3651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28" name="Line 356"/>
            <p:cNvSpPr>
              <a:spLocks noChangeShapeType="1"/>
            </p:cNvSpPr>
            <p:nvPr/>
          </p:nvSpPr>
          <p:spPr bwMode="auto">
            <a:xfrm>
              <a:off x="3168" y="3651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29" name="Line 357"/>
            <p:cNvSpPr>
              <a:spLocks noChangeShapeType="1"/>
            </p:cNvSpPr>
            <p:nvPr/>
          </p:nvSpPr>
          <p:spPr bwMode="auto">
            <a:xfrm>
              <a:off x="3737" y="3437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30" name="Line 358"/>
            <p:cNvSpPr>
              <a:spLocks noChangeShapeType="1"/>
            </p:cNvSpPr>
            <p:nvPr/>
          </p:nvSpPr>
          <p:spPr bwMode="auto">
            <a:xfrm>
              <a:off x="3737" y="3437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31" name="Line 359"/>
            <p:cNvSpPr>
              <a:spLocks noChangeShapeType="1"/>
            </p:cNvSpPr>
            <p:nvPr/>
          </p:nvSpPr>
          <p:spPr bwMode="auto">
            <a:xfrm>
              <a:off x="3813" y="3500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32" name="Line 360"/>
            <p:cNvSpPr>
              <a:spLocks noChangeShapeType="1"/>
            </p:cNvSpPr>
            <p:nvPr/>
          </p:nvSpPr>
          <p:spPr bwMode="auto">
            <a:xfrm>
              <a:off x="3813" y="3500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33" name="Line 361"/>
            <p:cNvSpPr>
              <a:spLocks noChangeShapeType="1"/>
            </p:cNvSpPr>
            <p:nvPr/>
          </p:nvSpPr>
          <p:spPr bwMode="auto">
            <a:xfrm>
              <a:off x="3261" y="3281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34" name="Line 362"/>
            <p:cNvSpPr>
              <a:spLocks noChangeShapeType="1"/>
            </p:cNvSpPr>
            <p:nvPr/>
          </p:nvSpPr>
          <p:spPr bwMode="auto">
            <a:xfrm>
              <a:off x="3261" y="3281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35" name="Freeform 363"/>
            <p:cNvSpPr>
              <a:spLocks/>
            </p:cNvSpPr>
            <p:nvPr/>
          </p:nvSpPr>
          <p:spPr bwMode="auto">
            <a:xfrm>
              <a:off x="3253" y="3279"/>
              <a:ext cx="3" cy="3"/>
            </a:xfrm>
            <a:custGeom>
              <a:avLst/>
              <a:gdLst>
                <a:gd name="T0" fmla="*/ 0 w 4"/>
                <a:gd name="T1" fmla="*/ 0 h 5"/>
                <a:gd name="T2" fmla="*/ 2 w 4"/>
                <a:gd name="T3" fmla="*/ 1 h 5"/>
                <a:gd name="T4" fmla="*/ 0 w 4"/>
                <a:gd name="T5" fmla="*/ 0 h 5"/>
                <a:gd name="T6" fmla="*/ 0 60000 65536"/>
                <a:gd name="T7" fmla="*/ 0 60000 65536"/>
                <a:gd name="T8" fmla="*/ 0 60000 65536"/>
                <a:gd name="T9" fmla="*/ 0 w 4"/>
                <a:gd name="T10" fmla="*/ 0 h 5"/>
                <a:gd name="T11" fmla="*/ 4 w 4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5">
                  <a:moveTo>
                    <a:pt x="0" y="0"/>
                  </a:moveTo>
                  <a:lnTo>
                    <a:pt x="4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36" name="Line 364"/>
            <p:cNvSpPr>
              <a:spLocks noChangeShapeType="1"/>
            </p:cNvSpPr>
            <p:nvPr/>
          </p:nvSpPr>
          <p:spPr bwMode="auto">
            <a:xfrm>
              <a:off x="3253" y="3279"/>
              <a:ext cx="3" cy="3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37" name="Line 365"/>
            <p:cNvSpPr>
              <a:spLocks noChangeShapeType="1"/>
            </p:cNvSpPr>
            <p:nvPr/>
          </p:nvSpPr>
          <p:spPr bwMode="auto">
            <a:xfrm>
              <a:off x="3246" y="3278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38" name="Line 366"/>
            <p:cNvSpPr>
              <a:spLocks noChangeShapeType="1"/>
            </p:cNvSpPr>
            <p:nvPr/>
          </p:nvSpPr>
          <p:spPr bwMode="auto">
            <a:xfrm>
              <a:off x="3246" y="3278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39" name="Line 367"/>
            <p:cNvSpPr>
              <a:spLocks noChangeShapeType="1"/>
            </p:cNvSpPr>
            <p:nvPr/>
          </p:nvSpPr>
          <p:spPr bwMode="auto">
            <a:xfrm>
              <a:off x="3292" y="3236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40" name="Line 368"/>
            <p:cNvSpPr>
              <a:spLocks noChangeShapeType="1"/>
            </p:cNvSpPr>
            <p:nvPr/>
          </p:nvSpPr>
          <p:spPr bwMode="auto">
            <a:xfrm>
              <a:off x="3292" y="3236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41" name="Line 369"/>
            <p:cNvSpPr>
              <a:spLocks noChangeShapeType="1"/>
            </p:cNvSpPr>
            <p:nvPr/>
          </p:nvSpPr>
          <p:spPr bwMode="auto">
            <a:xfrm>
              <a:off x="3295" y="3227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42" name="Line 370"/>
            <p:cNvSpPr>
              <a:spLocks noChangeShapeType="1"/>
            </p:cNvSpPr>
            <p:nvPr/>
          </p:nvSpPr>
          <p:spPr bwMode="auto">
            <a:xfrm>
              <a:off x="3295" y="3227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43" name="Line 371"/>
            <p:cNvSpPr>
              <a:spLocks noChangeShapeType="1"/>
            </p:cNvSpPr>
            <p:nvPr/>
          </p:nvSpPr>
          <p:spPr bwMode="auto">
            <a:xfrm>
              <a:off x="3304" y="3229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44" name="Line 372"/>
            <p:cNvSpPr>
              <a:spLocks noChangeShapeType="1"/>
            </p:cNvSpPr>
            <p:nvPr/>
          </p:nvSpPr>
          <p:spPr bwMode="auto">
            <a:xfrm>
              <a:off x="3304" y="3229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45" name="Line 373"/>
            <p:cNvSpPr>
              <a:spLocks noChangeShapeType="1"/>
            </p:cNvSpPr>
            <p:nvPr/>
          </p:nvSpPr>
          <p:spPr bwMode="auto">
            <a:xfrm>
              <a:off x="3306" y="3233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46" name="Line 374"/>
            <p:cNvSpPr>
              <a:spLocks noChangeShapeType="1"/>
            </p:cNvSpPr>
            <p:nvPr/>
          </p:nvSpPr>
          <p:spPr bwMode="auto">
            <a:xfrm>
              <a:off x="3306" y="3233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47" name="Line 375"/>
            <p:cNvSpPr>
              <a:spLocks noChangeShapeType="1"/>
            </p:cNvSpPr>
            <p:nvPr/>
          </p:nvSpPr>
          <p:spPr bwMode="auto">
            <a:xfrm>
              <a:off x="3309" y="3240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48" name="Line 376"/>
            <p:cNvSpPr>
              <a:spLocks noChangeShapeType="1"/>
            </p:cNvSpPr>
            <p:nvPr/>
          </p:nvSpPr>
          <p:spPr bwMode="auto">
            <a:xfrm>
              <a:off x="3309" y="3240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49" name="Line 377"/>
            <p:cNvSpPr>
              <a:spLocks noChangeShapeType="1"/>
            </p:cNvSpPr>
            <p:nvPr/>
          </p:nvSpPr>
          <p:spPr bwMode="auto">
            <a:xfrm>
              <a:off x="3317" y="3241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50" name="Line 378"/>
            <p:cNvSpPr>
              <a:spLocks noChangeShapeType="1"/>
            </p:cNvSpPr>
            <p:nvPr/>
          </p:nvSpPr>
          <p:spPr bwMode="auto">
            <a:xfrm>
              <a:off x="3317" y="3241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51" name="Line 379"/>
            <p:cNvSpPr>
              <a:spLocks noChangeShapeType="1"/>
            </p:cNvSpPr>
            <p:nvPr/>
          </p:nvSpPr>
          <p:spPr bwMode="auto">
            <a:xfrm>
              <a:off x="3323" y="3255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52" name="Line 380"/>
            <p:cNvSpPr>
              <a:spLocks noChangeShapeType="1"/>
            </p:cNvSpPr>
            <p:nvPr/>
          </p:nvSpPr>
          <p:spPr bwMode="auto">
            <a:xfrm>
              <a:off x="3323" y="3255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53" name="Freeform 381"/>
            <p:cNvSpPr>
              <a:spLocks/>
            </p:cNvSpPr>
            <p:nvPr/>
          </p:nvSpPr>
          <p:spPr bwMode="auto">
            <a:xfrm>
              <a:off x="3323" y="3259"/>
              <a:ext cx="4" cy="3"/>
            </a:xfrm>
            <a:custGeom>
              <a:avLst/>
              <a:gdLst>
                <a:gd name="T0" fmla="*/ 0 w 7"/>
                <a:gd name="T1" fmla="*/ 0 h 5"/>
                <a:gd name="T2" fmla="*/ 1 w 7"/>
                <a:gd name="T3" fmla="*/ 1 h 5"/>
                <a:gd name="T4" fmla="*/ 0 w 7"/>
                <a:gd name="T5" fmla="*/ 0 h 5"/>
                <a:gd name="T6" fmla="*/ 0 60000 65536"/>
                <a:gd name="T7" fmla="*/ 0 60000 65536"/>
                <a:gd name="T8" fmla="*/ 0 60000 65536"/>
                <a:gd name="T9" fmla="*/ 0 w 7"/>
                <a:gd name="T10" fmla="*/ 0 h 5"/>
                <a:gd name="T11" fmla="*/ 7 w 7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5">
                  <a:moveTo>
                    <a:pt x="0" y="0"/>
                  </a:moveTo>
                  <a:lnTo>
                    <a:pt x="7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54" name="Line 382"/>
            <p:cNvSpPr>
              <a:spLocks noChangeShapeType="1"/>
            </p:cNvSpPr>
            <p:nvPr/>
          </p:nvSpPr>
          <p:spPr bwMode="auto">
            <a:xfrm>
              <a:off x="3321" y="3259"/>
              <a:ext cx="4" cy="3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55" name="Line 383"/>
            <p:cNvSpPr>
              <a:spLocks noChangeShapeType="1"/>
            </p:cNvSpPr>
            <p:nvPr/>
          </p:nvSpPr>
          <p:spPr bwMode="auto">
            <a:xfrm>
              <a:off x="3326" y="3267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56" name="Line 384"/>
            <p:cNvSpPr>
              <a:spLocks noChangeShapeType="1"/>
            </p:cNvSpPr>
            <p:nvPr/>
          </p:nvSpPr>
          <p:spPr bwMode="auto">
            <a:xfrm>
              <a:off x="3326" y="3267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57" name="Line 385"/>
            <p:cNvSpPr>
              <a:spLocks noChangeShapeType="1"/>
            </p:cNvSpPr>
            <p:nvPr/>
          </p:nvSpPr>
          <p:spPr bwMode="auto">
            <a:xfrm>
              <a:off x="3323" y="3272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58" name="Line 386"/>
            <p:cNvSpPr>
              <a:spLocks noChangeShapeType="1"/>
            </p:cNvSpPr>
            <p:nvPr/>
          </p:nvSpPr>
          <p:spPr bwMode="auto">
            <a:xfrm>
              <a:off x="3323" y="3272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59" name="Line 387"/>
            <p:cNvSpPr>
              <a:spLocks noChangeShapeType="1"/>
            </p:cNvSpPr>
            <p:nvPr/>
          </p:nvSpPr>
          <p:spPr bwMode="auto">
            <a:xfrm>
              <a:off x="3319" y="3282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60" name="Line 388"/>
            <p:cNvSpPr>
              <a:spLocks noChangeShapeType="1"/>
            </p:cNvSpPr>
            <p:nvPr/>
          </p:nvSpPr>
          <p:spPr bwMode="auto">
            <a:xfrm>
              <a:off x="3319" y="3282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61" name="Line 389"/>
            <p:cNvSpPr>
              <a:spLocks noChangeShapeType="1"/>
            </p:cNvSpPr>
            <p:nvPr/>
          </p:nvSpPr>
          <p:spPr bwMode="auto">
            <a:xfrm>
              <a:off x="3338" y="3273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62" name="Line 390"/>
            <p:cNvSpPr>
              <a:spLocks noChangeShapeType="1"/>
            </p:cNvSpPr>
            <p:nvPr/>
          </p:nvSpPr>
          <p:spPr bwMode="auto">
            <a:xfrm>
              <a:off x="3338" y="3273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63" name="Line 391"/>
            <p:cNvSpPr>
              <a:spLocks noChangeShapeType="1"/>
            </p:cNvSpPr>
            <p:nvPr/>
          </p:nvSpPr>
          <p:spPr bwMode="auto">
            <a:xfrm>
              <a:off x="3328" y="3288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64" name="Line 392"/>
            <p:cNvSpPr>
              <a:spLocks noChangeShapeType="1"/>
            </p:cNvSpPr>
            <p:nvPr/>
          </p:nvSpPr>
          <p:spPr bwMode="auto">
            <a:xfrm>
              <a:off x="3328" y="3288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65" name="Freeform 393"/>
            <p:cNvSpPr>
              <a:spLocks/>
            </p:cNvSpPr>
            <p:nvPr/>
          </p:nvSpPr>
          <p:spPr bwMode="auto">
            <a:xfrm>
              <a:off x="3166" y="3162"/>
              <a:ext cx="11" cy="1"/>
            </a:xfrm>
            <a:custGeom>
              <a:avLst/>
              <a:gdLst>
                <a:gd name="T0" fmla="*/ 0 w 19"/>
                <a:gd name="T1" fmla="*/ 0 h 4"/>
                <a:gd name="T2" fmla="*/ 1 w 19"/>
                <a:gd name="T3" fmla="*/ 0 h 4"/>
                <a:gd name="T4" fmla="*/ 0 w 19"/>
                <a:gd name="T5" fmla="*/ 0 h 4"/>
                <a:gd name="T6" fmla="*/ 0 60000 65536"/>
                <a:gd name="T7" fmla="*/ 0 60000 65536"/>
                <a:gd name="T8" fmla="*/ 0 60000 65536"/>
                <a:gd name="T9" fmla="*/ 0 w 19"/>
                <a:gd name="T10" fmla="*/ 0 h 4"/>
                <a:gd name="T11" fmla="*/ 19 w 19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" h="4">
                  <a:moveTo>
                    <a:pt x="0" y="0"/>
                  </a:moveTo>
                  <a:lnTo>
                    <a:pt x="19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66" name="Line 394"/>
            <p:cNvSpPr>
              <a:spLocks noChangeShapeType="1"/>
            </p:cNvSpPr>
            <p:nvPr/>
          </p:nvSpPr>
          <p:spPr bwMode="auto">
            <a:xfrm>
              <a:off x="3166" y="3162"/>
              <a:ext cx="11" cy="1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67" name="Freeform 395"/>
            <p:cNvSpPr>
              <a:spLocks/>
            </p:cNvSpPr>
            <p:nvPr/>
          </p:nvSpPr>
          <p:spPr bwMode="auto">
            <a:xfrm>
              <a:off x="3179" y="3160"/>
              <a:ext cx="4" cy="7"/>
            </a:xfrm>
            <a:custGeom>
              <a:avLst/>
              <a:gdLst>
                <a:gd name="T0" fmla="*/ 0 w 8"/>
                <a:gd name="T1" fmla="*/ 0 h 14"/>
                <a:gd name="T2" fmla="*/ 1 w 8"/>
                <a:gd name="T3" fmla="*/ 1 h 14"/>
                <a:gd name="T4" fmla="*/ 1 w 8"/>
                <a:gd name="T5" fmla="*/ 1 h 14"/>
                <a:gd name="T6" fmla="*/ 0 w 8"/>
                <a:gd name="T7" fmla="*/ 0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4"/>
                <a:gd name="T14" fmla="*/ 8 w 8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4">
                  <a:moveTo>
                    <a:pt x="0" y="0"/>
                  </a:moveTo>
                  <a:lnTo>
                    <a:pt x="8" y="7"/>
                  </a:lnTo>
                  <a:lnTo>
                    <a:pt x="5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457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68" name="Freeform 396"/>
            <p:cNvSpPr>
              <a:spLocks/>
            </p:cNvSpPr>
            <p:nvPr/>
          </p:nvSpPr>
          <p:spPr bwMode="auto">
            <a:xfrm>
              <a:off x="3179" y="3160"/>
              <a:ext cx="4" cy="7"/>
            </a:xfrm>
            <a:custGeom>
              <a:avLst/>
              <a:gdLst>
                <a:gd name="T0" fmla="*/ 0 w 8"/>
                <a:gd name="T1" fmla="*/ 0 h 14"/>
                <a:gd name="T2" fmla="*/ 1 w 8"/>
                <a:gd name="T3" fmla="*/ 1 h 14"/>
                <a:gd name="T4" fmla="*/ 1 w 8"/>
                <a:gd name="T5" fmla="*/ 1 h 14"/>
                <a:gd name="T6" fmla="*/ 0 60000 65536"/>
                <a:gd name="T7" fmla="*/ 0 60000 65536"/>
                <a:gd name="T8" fmla="*/ 0 60000 65536"/>
                <a:gd name="T9" fmla="*/ 0 w 8"/>
                <a:gd name="T10" fmla="*/ 0 h 14"/>
                <a:gd name="T11" fmla="*/ 8 w 8"/>
                <a:gd name="T12" fmla="*/ 14 h 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14">
                  <a:moveTo>
                    <a:pt x="0" y="0"/>
                  </a:moveTo>
                  <a:lnTo>
                    <a:pt x="8" y="7"/>
                  </a:lnTo>
                  <a:lnTo>
                    <a:pt x="5" y="14"/>
                  </a:lnTo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69" name="Freeform 397"/>
            <p:cNvSpPr>
              <a:spLocks/>
            </p:cNvSpPr>
            <p:nvPr/>
          </p:nvSpPr>
          <p:spPr bwMode="auto">
            <a:xfrm>
              <a:off x="3186" y="3171"/>
              <a:ext cx="6" cy="8"/>
            </a:xfrm>
            <a:custGeom>
              <a:avLst/>
              <a:gdLst>
                <a:gd name="T0" fmla="*/ 0 w 10"/>
                <a:gd name="T1" fmla="*/ 0 h 15"/>
                <a:gd name="T2" fmla="*/ 1 w 10"/>
                <a:gd name="T3" fmla="*/ 1 h 15"/>
                <a:gd name="T4" fmla="*/ 1 w 10"/>
                <a:gd name="T5" fmla="*/ 1 h 15"/>
                <a:gd name="T6" fmla="*/ 0 w 10"/>
                <a:gd name="T7" fmla="*/ 0 h 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15"/>
                <a:gd name="T14" fmla="*/ 10 w 10"/>
                <a:gd name="T15" fmla="*/ 15 h 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15">
                  <a:moveTo>
                    <a:pt x="0" y="0"/>
                  </a:moveTo>
                  <a:lnTo>
                    <a:pt x="10" y="8"/>
                  </a:lnTo>
                  <a:lnTo>
                    <a:pt x="1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457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70" name="Freeform 398"/>
            <p:cNvSpPr>
              <a:spLocks/>
            </p:cNvSpPr>
            <p:nvPr/>
          </p:nvSpPr>
          <p:spPr bwMode="auto">
            <a:xfrm>
              <a:off x="3186" y="3171"/>
              <a:ext cx="6" cy="8"/>
            </a:xfrm>
            <a:custGeom>
              <a:avLst/>
              <a:gdLst>
                <a:gd name="T0" fmla="*/ 0 w 10"/>
                <a:gd name="T1" fmla="*/ 0 h 15"/>
                <a:gd name="T2" fmla="*/ 1 w 10"/>
                <a:gd name="T3" fmla="*/ 1 h 15"/>
                <a:gd name="T4" fmla="*/ 1 w 10"/>
                <a:gd name="T5" fmla="*/ 1 h 15"/>
                <a:gd name="T6" fmla="*/ 0 60000 65536"/>
                <a:gd name="T7" fmla="*/ 0 60000 65536"/>
                <a:gd name="T8" fmla="*/ 0 60000 65536"/>
                <a:gd name="T9" fmla="*/ 0 w 10"/>
                <a:gd name="T10" fmla="*/ 0 h 15"/>
                <a:gd name="T11" fmla="*/ 10 w 10"/>
                <a:gd name="T12" fmla="*/ 15 h 1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" h="15">
                  <a:moveTo>
                    <a:pt x="0" y="0"/>
                  </a:moveTo>
                  <a:lnTo>
                    <a:pt x="10" y="8"/>
                  </a:lnTo>
                  <a:lnTo>
                    <a:pt x="10" y="15"/>
                  </a:lnTo>
                </a:path>
              </a:pathLst>
            </a:custGeom>
            <a:solidFill>
              <a:srgbClr val="12457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71" name="Line 399"/>
            <p:cNvSpPr>
              <a:spLocks noChangeShapeType="1"/>
            </p:cNvSpPr>
            <p:nvPr/>
          </p:nvSpPr>
          <p:spPr bwMode="auto">
            <a:xfrm>
              <a:off x="3205" y="3184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72" name="Line 400"/>
            <p:cNvSpPr>
              <a:spLocks noChangeShapeType="1"/>
            </p:cNvSpPr>
            <p:nvPr/>
          </p:nvSpPr>
          <p:spPr bwMode="auto">
            <a:xfrm>
              <a:off x="3205" y="3184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73" name="Freeform 401"/>
            <p:cNvSpPr>
              <a:spLocks/>
            </p:cNvSpPr>
            <p:nvPr/>
          </p:nvSpPr>
          <p:spPr bwMode="auto">
            <a:xfrm>
              <a:off x="3199" y="3187"/>
              <a:ext cx="4" cy="7"/>
            </a:xfrm>
            <a:custGeom>
              <a:avLst/>
              <a:gdLst>
                <a:gd name="T0" fmla="*/ 0 w 7"/>
                <a:gd name="T1" fmla="*/ 0 h 14"/>
                <a:gd name="T2" fmla="*/ 1 w 7"/>
                <a:gd name="T3" fmla="*/ 1 h 14"/>
                <a:gd name="T4" fmla="*/ 0 w 7"/>
                <a:gd name="T5" fmla="*/ 0 h 14"/>
                <a:gd name="T6" fmla="*/ 0 60000 65536"/>
                <a:gd name="T7" fmla="*/ 0 60000 65536"/>
                <a:gd name="T8" fmla="*/ 0 60000 65536"/>
                <a:gd name="T9" fmla="*/ 0 w 7"/>
                <a:gd name="T10" fmla="*/ 0 h 14"/>
                <a:gd name="T11" fmla="*/ 7 w 7"/>
                <a:gd name="T12" fmla="*/ 14 h 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4">
                  <a:moveTo>
                    <a:pt x="0" y="0"/>
                  </a:moveTo>
                  <a:lnTo>
                    <a:pt x="7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457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74" name="Line 402"/>
            <p:cNvSpPr>
              <a:spLocks noChangeShapeType="1"/>
            </p:cNvSpPr>
            <p:nvPr/>
          </p:nvSpPr>
          <p:spPr bwMode="auto">
            <a:xfrm>
              <a:off x="3199" y="3187"/>
              <a:ext cx="4" cy="7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75" name="Freeform 403"/>
            <p:cNvSpPr>
              <a:spLocks/>
            </p:cNvSpPr>
            <p:nvPr/>
          </p:nvSpPr>
          <p:spPr bwMode="auto">
            <a:xfrm>
              <a:off x="3208" y="3194"/>
              <a:ext cx="4" cy="6"/>
            </a:xfrm>
            <a:custGeom>
              <a:avLst/>
              <a:gdLst>
                <a:gd name="T0" fmla="*/ 0 w 7"/>
                <a:gd name="T1" fmla="*/ 0 h 10"/>
                <a:gd name="T2" fmla="*/ 1 w 7"/>
                <a:gd name="T3" fmla="*/ 1 h 10"/>
                <a:gd name="T4" fmla="*/ 0 w 7"/>
                <a:gd name="T5" fmla="*/ 1 h 10"/>
                <a:gd name="T6" fmla="*/ 0 w 7"/>
                <a:gd name="T7" fmla="*/ 0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0"/>
                <a:gd name="T14" fmla="*/ 7 w 7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0">
                  <a:moveTo>
                    <a:pt x="0" y="0"/>
                  </a:moveTo>
                  <a:lnTo>
                    <a:pt x="7" y="5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76" name="Freeform 404"/>
            <p:cNvSpPr>
              <a:spLocks/>
            </p:cNvSpPr>
            <p:nvPr/>
          </p:nvSpPr>
          <p:spPr bwMode="auto">
            <a:xfrm>
              <a:off x="3208" y="3194"/>
              <a:ext cx="4" cy="6"/>
            </a:xfrm>
            <a:custGeom>
              <a:avLst/>
              <a:gdLst>
                <a:gd name="T0" fmla="*/ 0 w 7"/>
                <a:gd name="T1" fmla="*/ 0 h 10"/>
                <a:gd name="T2" fmla="*/ 1 w 7"/>
                <a:gd name="T3" fmla="*/ 1 h 10"/>
                <a:gd name="T4" fmla="*/ 0 w 7"/>
                <a:gd name="T5" fmla="*/ 1 h 10"/>
                <a:gd name="T6" fmla="*/ 0 60000 65536"/>
                <a:gd name="T7" fmla="*/ 0 60000 65536"/>
                <a:gd name="T8" fmla="*/ 0 60000 65536"/>
                <a:gd name="T9" fmla="*/ 0 w 7"/>
                <a:gd name="T10" fmla="*/ 0 h 10"/>
                <a:gd name="T11" fmla="*/ 7 w 7"/>
                <a:gd name="T12" fmla="*/ 10 h 1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0">
                  <a:moveTo>
                    <a:pt x="0" y="0"/>
                  </a:moveTo>
                  <a:lnTo>
                    <a:pt x="7" y="5"/>
                  </a:lnTo>
                  <a:lnTo>
                    <a:pt x="0" y="10"/>
                  </a:lnTo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77" name="Freeform 405"/>
            <p:cNvSpPr>
              <a:spLocks/>
            </p:cNvSpPr>
            <p:nvPr/>
          </p:nvSpPr>
          <p:spPr bwMode="auto">
            <a:xfrm>
              <a:off x="3218" y="3198"/>
              <a:ext cx="4" cy="0"/>
            </a:xfrm>
            <a:custGeom>
              <a:avLst/>
              <a:gdLst>
                <a:gd name="T0" fmla="*/ 0 w 7"/>
                <a:gd name="T1" fmla="*/ 1 w 7"/>
                <a:gd name="T2" fmla="*/ 0 w 7"/>
                <a:gd name="T3" fmla="*/ 0 60000 65536"/>
                <a:gd name="T4" fmla="*/ 0 60000 65536"/>
                <a:gd name="T5" fmla="*/ 0 60000 65536"/>
                <a:gd name="T6" fmla="*/ 0 w 7"/>
                <a:gd name="T7" fmla="*/ 7 w 7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78" name="Line 406"/>
            <p:cNvSpPr>
              <a:spLocks noChangeShapeType="1"/>
            </p:cNvSpPr>
            <p:nvPr/>
          </p:nvSpPr>
          <p:spPr bwMode="auto">
            <a:xfrm>
              <a:off x="3218" y="3198"/>
              <a:ext cx="4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79" name="Freeform 407"/>
            <p:cNvSpPr>
              <a:spLocks/>
            </p:cNvSpPr>
            <p:nvPr/>
          </p:nvSpPr>
          <p:spPr bwMode="auto">
            <a:xfrm>
              <a:off x="3224" y="3202"/>
              <a:ext cx="10" cy="2"/>
            </a:xfrm>
            <a:custGeom>
              <a:avLst/>
              <a:gdLst>
                <a:gd name="T0" fmla="*/ 0 w 17"/>
                <a:gd name="T1" fmla="*/ 0 h 5"/>
                <a:gd name="T2" fmla="*/ 1 w 17"/>
                <a:gd name="T3" fmla="*/ 0 h 5"/>
                <a:gd name="T4" fmla="*/ 1 w 17"/>
                <a:gd name="T5" fmla="*/ 0 h 5"/>
                <a:gd name="T6" fmla="*/ 0 w 17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5"/>
                <a:gd name="T14" fmla="*/ 17 w 17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5">
                  <a:moveTo>
                    <a:pt x="0" y="5"/>
                  </a:moveTo>
                  <a:lnTo>
                    <a:pt x="7" y="0"/>
                  </a:lnTo>
                  <a:lnTo>
                    <a:pt x="17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80" name="Freeform 408"/>
            <p:cNvSpPr>
              <a:spLocks/>
            </p:cNvSpPr>
            <p:nvPr/>
          </p:nvSpPr>
          <p:spPr bwMode="auto">
            <a:xfrm>
              <a:off x="3224" y="3202"/>
              <a:ext cx="10" cy="2"/>
            </a:xfrm>
            <a:custGeom>
              <a:avLst/>
              <a:gdLst>
                <a:gd name="T0" fmla="*/ 0 w 17"/>
                <a:gd name="T1" fmla="*/ 0 h 5"/>
                <a:gd name="T2" fmla="*/ 1 w 17"/>
                <a:gd name="T3" fmla="*/ 0 h 5"/>
                <a:gd name="T4" fmla="*/ 1 w 17"/>
                <a:gd name="T5" fmla="*/ 0 h 5"/>
                <a:gd name="T6" fmla="*/ 0 60000 65536"/>
                <a:gd name="T7" fmla="*/ 0 60000 65536"/>
                <a:gd name="T8" fmla="*/ 0 60000 65536"/>
                <a:gd name="T9" fmla="*/ 0 w 17"/>
                <a:gd name="T10" fmla="*/ 0 h 5"/>
                <a:gd name="T11" fmla="*/ 17 w 17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5">
                  <a:moveTo>
                    <a:pt x="0" y="5"/>
                  </a:moveTo>
                  <a:lnTo>
                    <a:pt x="7" y="0"/>
                  </a:lnTo>
                  <a:lnTo>
                    <a:pt x="17" y="5"/>
                  </a:lnTo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81" name="Line 409"/>
            <p:cNvSpPr>
              <a:spLocks noChangeShapeType="1"/>
            </p:cNvSpPr>
            <p:nvPr/>
          </p:nvSpPr>
          <p:spPr bwMode="auto">
            <a:xfrm>
              <a:off x="3292" y="3112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82" name="Line 410"/>
            <p:cNvSpPr>
              <a:spLocks noChangeShapeType="1"/>
            </p:cNvSpPr>
            <p:nvPr/>
          </p:nvSpPr>
          <p:spPr bwMode="auto">
            <a:xfrm>
              <a:off x="3292" y="3112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83" name="Freeform 411"/>
            <p:cNvSpPr>
              <a:spLocks/>
            </p:cNvSpPr>
            <p:nvPr/>
          </p:nvSpPr>
          <p:spPr bwMode="auto">
            <a:xfrm>
              <a:off x="5328" y="2861"/>
              <a:ext cx="7" cy="7"/>
            </a:xfrm>
            <a:custGeom>
              <a:avLst/>
              <a:gdLst>
                <a:gd name="T0" fmla="*/ 0 w 12"/>
                <a:gd name="T1" fmla="*/ 0 h 14"/>
                <a:gd name="T2" fmla="*/ 1 w 12"/>
                <a:gd name="T3" fmla="*/ 1 h 14"/>
                <a:gd name="T4" fmla="*/ 0 w 12"/>
                <a:gd name="T5" fmla="*/ 0 h 14"/>
                <a:gd name="T6" fmla="*/ 0 60000 65536"/>
                <a:gd name="T7" fmla="*/ 0 60000 65536"/>
                <a:gd name="T8" fmla="*/ 0 60000 65536"/>
                <a:gd name="T9" fmla="*/ 0 w 12"/>
                <a:gd name="T10" fmla="*/ 0 h 14"/>
                <a:gd name="T11" fmla="*/ 12 w 12"/>
                <a:gd name="T12" fmla="*/ 14 h 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" h="14">
                  <a:moveTo>
                    <a:pt x="0" y="0"/>
                  </a:moveTo>
                  <a:lnTo>
                    <a:pt x="12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84" name="Line 412"/>
            <p:cNvSpPr>
              <a:spLocks noChangeShapeType="1"/>
            </p:cNvSpPr>
            <p:nvPr/>
          </p:nvSpPr>
          <p:spPr bwMode="auto">
            <a:xfrm>
              <a:off x="5328" y="2861"/>
              <a:ext cx="7" cy="7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85" name="Freeform 413"/>
            <p:cNvSpPr>
              <a:spLocks/>
            </p:cNvSpPr>
            <p:nvPr/>
          </p:nvSpPr>
          <p:spPr bwMode="auto">
            <a:xfrm>
              <a:off x="5387" y="2892"/>
              <a:ext cx="7" cy="1"/>
            </a:xfrm>
            <a:custGeom>
              <a:avLst/>
              <a:gdLst>
                <a:gd name="T0" fmla="*/ 0 w 12"/>
                <a:gd name="T1" fmla="*/ 0 h 3"/>
                <a:gd name="T2" fmla="*/ 1 w 12"/>
                <a:gd name="T3" fmla="*/ 0 h 3"/>
                <a:gd name="T4" fmla="*/ 0 w 12"/>
                <a:gd name="T5" fmla="*/ 0 h 3"/>
                <a:gd name="T6" fmla="*/ 0 60000 65536"/>
                <a:gd name="T7" fmla="*/ 0 60000 65536"/>
                <a:gd name="T8" fmla="*/ 0 60000 65536"/>
                <a:gd name="T9" fmla="*/ 0 w 12"/>
                <a:gd name="T10" fmla="*/ 0 h 3"/>
                <a:gd name="T11" fmla="*/ 12 w 12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" h="3">
                  <a:moveTo>
                    <a:pt x="0" y="0"/>
                  </a:moveTo>
                  <a:lnTo>
                    <a:pt x="12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86" name="Freeform 414"/>
            <p:cNvSpPr>
              <a:spLocks/>
            </p:cNvSpPr>
            <p:nvPr/>
          </p:nvSpPr>
          <p:spPr bwMode="auto">
            <a:xfrm>
              <a:off x="5387" y="2892"/>
              <a:ext cx="7" cy="1"/>
            </a:xfrm>
            <a:custGeom>
              <a:avLst/>
              <a:gdLst>
                <a:gd name="T0" fmla="*/ 0 w 12"/>
                <a:gd name="T1" fmla="*/ 0 h 3"/>
                <a:gd name="T2" fmla="*/ 1 w 12"/>
                <a:gd name="T3" fmla="*/ 0 h 3"/>
                <a:gd name="T4" fmla="*/ 0 w 12"/>
                <a:gd name="T5" fmla="*/ 0 h 3"/>
                <a:gd name="T6" fmla="*/ 0 60000 65536"/>
                <a:gd name="T7" fmla="*/ 0 60000 65536"/>
                <a:gd name="T8" fmla="*/ 0 60000 65536"/>
                <a:gd name="T9" fmla="*/ 0 w 12"/>
                <a:gd name="T10" fmla="*/ 0 h 3"/>
                <a:gd name="T11" fmla="*/ 12 w 12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" h="3">
                  <a:moveTo>
                    <a:pt x="0" y="0"/>
                  </a:moveTo>
                  <a:lnTo>
                    <a:pt x="12" y="3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87" name="Line 415"/>
            <p:cNvSpPr>
              <a:spLocks noChangeShapeType="1"/>
            </p:cNvSpPr>
            <p:nvPr/>
          </p:nvSpPr>
          <p:spPr bwMode="auto">
            <a:xfrm>
              <a:off x="5432" y="2904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88" name="Line 416"/>
            <p:cNvSpPr>
              <a:spLocks noChangeShapeType="1"/>
            </p:cNvSpPr>
            <p:nvPr/>
          </p:nvSpPr>
          <p:spPr bwMode="auto">
            <a:xfrm>
              <a:off x="5432" y="2904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89" name="Freeform 417"/>
            <p:cNvSpPr>
              <a:spLocks/>
            </p:cNvSpPr>
            <p:nvPr/>
          </p:nvSpPr>
          <p:spPr bwMode="auto">
            <a:xfrm>
              <a:off x="5470" y="2904"/>
              <a:ext cx="2" cy="5"/>
            </a:xfrm>
            <a:custGeom>
              <a:avLst/>
              <a:gdLst>
                <a:gd name="T0" fmla="*/ 0 w 4"/>
                <a:gd name="T1" fmla="*/ 0 h 9"/>
                <a:gd name="T2" fmla="*/ 1 w 4"/>
                <a:gd name="T3" fmla="*/ 1 h 9"/>
                <a:gd name="T4" fmla="*/ 1 w 4"/>
                <a:gd name="T5" fmla="*/ 1 h 9"/>
                <a:gd name="T6" fmla="*/ 0 w 4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9"/>
                <a:gd name="T14" fmla="*/ 4 w 4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9">
                  <a:moveTo>
                    <a:pt x="0" y="0"/>
                  </a:moveTo>
                  <a:lnTo>
                    <a:pt x="4" y="2"/>
                  </a:lnTo>
                  <a:lnTo>
                    <a:pt x="2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90" name="Freeform 418"/>
            <p:cNvSpPr>
              <a:spLocks/>
            </p:cNvSpPr>
            <p:nvPr/>
          </p:nvSpPr>
          <p:spPr bwMode="auto">
            <a:xfrm>
              <a:off x="5470" y="2904"/>
              <a:ext cx="2" cy="5"/>
            </a:xfrm>
            <a:custGeom>
              <a:avLst/>
              <a:gdLst>
                <a:gd name="T0" fmla="*/ 0 w 4"/>
                <a:gd name="T1" fmla="*/ 0 h 9"/>
                <a:gd name="T2" fmla="*/ 1 w 4"/>
                <a:gd name="T3" fmla="*/ 1 h 9"/>
                <a:gd name="T4" fmla="*/ 1 w 4"/>
                <a:gd name="T5" fmla="*/ 1 h 9"/>
                <a:gd name="T6" fmla="*/ 0 60000 65536"/>
                <a:gd name="T7" fmla="*/ 0 60000 65536"/>
                <a:gd name="T8" fmla="*/ 0 60000 65536"/>
                <a:gd name="T9" fmla="*/ 0 w 4"/>
                <a:gd name="T10" fmla="*/ 0 h 9"/>
                <a:gd name="T11" fmla="*/ 4 w 4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9">
                  <a:moveTo>
                    <a:pt x="0" y="0"/>
                  </a:moveTo>
                  <a:lnTo>
                    <a:pt x="4" y="2"/>
                  </a:lnTo>
                  <a:lnTo>
                    <a:pt x="2" y="9"/>
                  </a:lnTo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91" name="Freeform 419"/>
            <p:cNvSpPr>
              <a:spLocks/>
            </p:cNvSpPr>
            <p:nvPr/>
          </p:nvSpPr>
          <p:spPr bwMode="auto">
            <a:xfrm>
              <a:off x="5499" y="2898"/>
              <a:ext cx="7" cy="5"/>
            </a:xfrm>
            <a:custGeom>
              <a:avLst/>
              <a:gdLst>
                <a:gd name="T0" fmla="*/ 0 w 12"/>
                <a:gd name="T1" fmla="*/ 1 h 10"/>
                <a:gd name="T2" fmla="*/ 1 w 12"/>
                <a:gd name="T3" fmla="*/ 0 h 10"/>
                <a:gd name="T4" fmla="*/ 0 w 12"/>
                <a:gd name="T5" fmla="*/ 1 h 10"/>
                <a:gd name="T6" fmla="*/ 0 60000 65536"/>
                <a:gd name="T7" fmla="*/ 0 60000 65536"/>
                <a:gd name="T8" fmla="*/ 0 60000 65536"/>
                <a:gd name="T9" fmla="*/ 0 w 12"/>
                <a:gd name="T10" fmla="*/ 0 h 10"/>
                <a:gd name="T11" fmla="*/ 12 w 12"/>
                <a:gd name="T12" fmla="*/ 10 h 1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" h="10">
                  <a:moveTo>
                    <a:pt x="0" y="10"/>
                  </a:moveTo>
                  <a:lnTo>
                    <a:pt x="12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92" name="Line 420"/>
            <p:cNvSpPr>
              <a:spLocks noChangeShapeType="1"/>
            </p:cNvSpPr>
            <p:nvPr/>
          </p:nvSpPr>
          <p:spPr bwMode="auto">
            <a:xfrm flipV="1">
              <a:off x="5499" y="2898"/>
              <a:ext cx="7" cy="5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93" name="Line 421"/>
            <p:cNvSpPr>
              <a:spLocks noChangeShapeType="1"/>
            </p:cNvSpPr>
            <p:nvPr/>
          </p:nvSpPr>
          <p:spPr bwMode="auto">
            <a:xfrm>
              <a:off x="5520" y="2898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94" name="Line 422"/>
            <p:cNvSpPr>
              <a:spLocks noChangeShapeType="1"/>
            </p:cNvSpPr>
            <p:nvPr/>
          </p:nvSpPr>
          <p:spPr bwMode="auto">
            <a:xfrm>
              <a:off x="5520" y="2898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95" name="Freeform 423"/>
            <p:cNvSpPr>
              <a:spLocks/>
            </p:cNvSpPr>
            <p:nvPr/>
          </p:nvSpPr>
          <p:spPr bwMode="auto">
            <a:xfrm>
              <a:off x="5549" y="2893"/>
              <a:ext cx="2" cy="2"/>
            </a:xfrm>
            <a:custGeom>
              <a:avLst/>
              <a:gdLst>
                <a:gd name="T0" fmla="*/ 0 w 3"/>
                <a:gd name="T1" fmla="*/ 2 h 2"/>
                <a:gd name="T2" fmla="*/ 1 w 3"/>
                <a:gd name="T3" fmla="*/ 0 h 2"/>
                <a:gd name="T4" fmla="*/ 0 w 3"/>
                <a:gd name="T5" fmla="*/ 2 h 2"/>
                <a:gd name="T6" fmla="*/ 0 60000 65536"/>
                <a:gd name="T7" fmla="*/ 0 60000 65536"/>
                <a:gd name="T8" fmla="*/ 0 60000 65536"/>
                <a:gd name="T9" fmla="*/ 0 w 3"/>
                <a:gd name="T10" fmla="*/ 0 h 2"/>
                <a:gd name="T11" fmla="*/ 3 w 3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2">
                  <a:moveTo>
                    <a:pt x="0" y="2"/>
                  </a:move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96" name="Line 424"/>
            <p:cNvSpPr>
              <a:spLocks noChangeShapeType="1"/>
            </p:cNvSpPr>
            <p:nvPr/>
          </p:nvSpPr>
          <p:spPr bwMode="auto">
            <a:xfrm flipV="1">
              <a:off x="5549" y="2893"/>
              <a:ext cx="2" cy="2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97" name="Freeform 425"/>
            <p:cNvSpPr>
              <a:spLocks/>
            </p:cNvSpPr>
            <p:nvPr/>
          </p:nvSpPr>
          <p:spPr bwMode="auto">
            <a:xfrm>
              <a:off x="5549" y="2892"/>
              <a:ext cx="2" cy="3"/>
            </a:xfrm>
            <a:custGeom>
              <a:avLst/>
              <a:gdLst>
                <a:gd name="T0" fmla="*/ 1 w 3"/>
                <a:gd name="T1" fmla="*/ 0 h 5"/>
                <a:gd name="T2" fmla="*/ 0 w 3"/>
                <a:gd name="T3" fmla="*/ 1 h 5"/>
                <a:gd name="T4" fmla="*/ 1 w 3"/>
                <a:gd name="T5" fmla="*/ 0 h 5"/>
                <a:gd name="T6" fmla="*/ 0 60000 65536"/>
                <a:gd name="T7" fmla="*/ 0 60000 65536"/>
                <a:gd name="T8" fmla="*/ 0 60000 65536"/>
                <a:gd name="T9" fmla="*/ 0 w 3"/>
                <a:gd name="T10" fmla="*/ 0 h 5"/>
                <a:gd name="T11" fmla="*/ 3 w 3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5">
                  <a:moveTo>
                    <a:pt x="3" y="0"/>
                  </a:moveTo>
                  <a:lnTo>
                    <a:pt x="0" y="5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98" name="Line 426"/>
            <p:cNvSpPr>
              <a:spLocks noChangeShapeType="1"/>
            </p:cNvSpPr>
            <p:nvPr/>
          </p:nvSpPr>
          <p:spPr bwMode="auto">
            <a:xfrm flipH="1">
              <a:off x="5549" y="2892"/>
              <a:ext cx="2" cy="3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399" name="Line 427"/>
            <p:cNvSpPr>
              <a:spLocks noChangeShapeType="1"/>
            </p:cNvSpPr>
            <p:nvPr/>
          </p:nvSpPr>
          <p:spPr bwMode="auto">
            <a:xfrm>
              <a:off x="2371" y="2738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00" name="Line 428"/>
            <p:cNvSpPr>
              <a:spLocks noChangeShapeType="1"/>
            </p:cNvSpPr>
            <p:nvPr/>
          </p:nvSpPr>
          <p:spPr bwMode="auto">
            <a:xfrm>
              <a:off x="2371" y="2738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01" name="Freeform 429"/>
            <p:cNvSpPr>
              <a:spLocks/>
            </p:cNvSpPr>
            <p:nvPr/>
          </p:nvSpPr>
          <p:spPr bwMode="auto">
            <a:xfrm>
              <a:off x="3785" y="2579"/>
              <a:ext cx="8" cy="8"/>
            </a:xfrm>
            <a:custGeom>
              <a:avLst/>
              <a:gdLst>
                <a:gd name="T0" fmla="*/ 0 w 15"/>
                <a:gd name="T1" fmla="*/ 1 h 14"/>
                <a:gd name="T2" fmla="*/ 1 w 15"/>
                <a:gd name="T3" fmla="*/ 0 h 14"/>
                <a:gd name="T4" fmla="*/ 0 w 15"/>
                <a:gd name="T5" fmla="*/ 1 h 14"/>
                <a:gd name="T6" fmla="*/ 0 60000 65536"/>
                <a:gd name="T7" fmla="*/ 0 60000 65536"/>
                <a:gd name="T8" fmla="*/ 0 60000 65536"/>
                <a:gd name="T9" fmla="*/ 0 w 15"/>
                <a:gd name="T10" fmla="*/ 0 h 14"/>
                <a:gd name="T11" fmla="*/ 15 w 15"/>
                <a:gd name="T12" fmla="*/ 14 h 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14">
                  <a:moveTo>
                    <a:pt x="0" y="14"/>
                  </a:moveTo>
                  <a:lnTo>
                    <a:pt x="15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02" name="Line 430"/>
            <p:cNvSpPr>
              <a:spLocks noChangeShapeType="1"/>
            </p:cNvSpPr>
            <p:nvPr/>
          </p:nvSpPr>
          <p:spPr bwMode="auto">
            <a:xfrm flipV="1">
              <a:off x="3785" y="2579"/>
              <a:ext cx="8" cy="8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03" name="Line 431"/>
            <p:cNvSpPr>
              <a:spLocks noChangeShapeType="1"/>
            </p:cNvSpPr>
            <p:nvPr/>
          </p:nvSpPr>
          <p:spPr bwMode="auto">
            <a:xfrm>
              <a:off x="4353" y="3411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04" name="Line 432"/>
            <p:cNvSpPr>
              <a:spLocks noChangeShapeType="1"/>
            </p:cNvSpPr>
            <p:nvPr/>
          </p:nvSpPr>
          <p:spPr bwMode="auto">
            <a:xfrm>
              <a:off x="4353" y="3411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05" name="Freeform 433"/>
            <p:cNvSpPr>
              <a:spLocks/>
            </p:cNvSpPr>
            <p:nvPr/>
          </p:nvSpPr>
          <p:spPr bwMode="auto">
            <a:xfrm>
              <a:off x="4682" y="3272"/>
              <a:ext cx="2" cy="11"/>
            </a:xfrm>
            <a:custGeom>
              <a:avLst/>
              <a:gdLst>
                <a:gd name="T0" fmla="*/ 1 w 4"/>
                <a:gd name="T1" fmla="*/ 0 h 21"/>
                <a:gd name="T2" fmla="*/ 0 w 4"/>
                <a:gd name="T3" fmla="*/ 1 h 21"/>
                <a:gd name="T4" fmla="*/ 1 w 4"/>
                <a:gd name="T5" fmla="*/ 0 h 21"/>
                <a:gd name="T6" fmla="*/ 0 60000 65536"/>
                <a:gd name="T7" fmla="*/ 0 60000 65536"/>
                <a:gd name="T8" fmla="*/ 0 60000 65536"/>
                <a:gd name="T9" fmla="*/ 0 w 4"/>
                <a:gd name="T10" fmla="*/ 0 h 21"/>
                <a:gd name="T11" fmla="*/ 4 w 4"/>
                <a:gd name="T12" fmla="*/ 21 h 2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21">
                  <a:moveTo>
                    <a:pt x="4" y="0"/>
                  </a:moveTo>
                  <a:lnTo>
                    <a:pt x="0" y="2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06" name="Line 434"/>
            <p:cNvSpPr>
              <a:spLocks noChangeShapeType="1"/>
            </p:cNvSpPr>
            <p:nvPr/>
          </p:nvSpPr>
          <p:spPr bwMode="auto">
            <a:xfrm flipH="1">
              <a:off x="4682" y="3272"/>
              <a:ext cx="2" cy="11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07" name="Line 435"/>
            <p:cNvSpPr>
              <a:spLocks noChangeShapeType="1"/>
            </p:cNvSpPr>
            <p:nvPr/>
          </p:nvSpPr>
          <p:spPr bwMode="auto">
            <a:xfrm>
              <a:off x="4680" y="3292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08" name="Line 436"/>
            <p:cNvSpPr>
              <a:spLocks noChangeShapeType="1"/>
            </p:cNvSpPr>
            <p:nvPr/>
          </p:nvSpPr>
          <p:spPr bwMode="auto">
            <a:xfrm>
              <a:off x="4680" y="3292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09" name="Line 437"/>
            <p:cNvSpPr>
              <a:spLocks noChangeShapeType="1"/>
            </p:cNvSpPr>
            <p:nvPr/>
          </p:nvSpPr>
          <p:spPr bwMode="auto">
            <a:xfrm>
              <a:off x="4691" y="3322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10" name="Line 438"/>
            <p:cNvSpPr>
              <a:spLocks noChangeShapeType="1"/>
            </p:cNvSpPr>
            <p:nvPr/>
          </p:nvSpPr>
          <p:spPr bwMode="auto">
            <a:xfrm>
              <a:off x="4691" y="3322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11" name="Freeform 439"/>
            <p:cNvSpPr>
              <a:spLocks/>
            </p:cNvSpPr>
            <p:nvPr/>
          </p:nvSpPr>
          <p:spPr bwMode="auto">
            <a:xfrm>
              <a:off x="4711" y="3354"/>
              <a:ext cx="6" cy="3"/>
            </a:xfrm>
            <a:custGeom>
              <a:avLst/>
              <a:gdLst>
                <a:gd name="T0" fmla="*/ 0 w 10"/>
                <a:gd name="T1" fmla="*/ 0 h 5"/>
                <a:gd name="T2" fmla="*/ 1 w 10"/>
                <a:gd name="T3" fmla="*/ 1 h 5"/>
                <a:gd name="T4" fmla="*/ 0 w 10"/>
                <a:gd name="T5" fmla="*/ 0 h 5"/>
                <a:gd name="T6" fmla="*/ 0 60000 65536"/>
                <a:gd name="T7" fmla="*/ 0 60000 65536"/>
                <a:gd name="T8" fmla="*/ 0 60000 65536"/>
                <a:gd name="T9" fmla="*/ 0 w 10"/>
                <a:gd name="T10" fmla="*/ 0 h 5"/>
                <a:gd name="T11" fmla="*/ 10 w 10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" h="5">
                  <a:moveTo>
                    <a:pt x="0" y="0"/>
                  </a:move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12" name="Line 440"/>
            <p:cNvSpPr>
              <a:spLocks noChangeShapeType="1"/>
            </p:cNvSpPr>
            <p:nvPr/>
          </p:nvSpPr>
          <p:spPr bwMode="auto">
            <a:xfrm>
              <a:off x="4711" y="3354"/>
              <a:ext cx="6" cy="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13" name="Line 441"/>
            <p:cNvSpPr>
              <a:spLocks noChangeShapeType="1"/>
            </p:cNvSpPr>
            <p:nvPr/>
          </p:nvSpPr>
          <p:spPr bwMode="auto">
            <a:xfrm>
              <a:off x="4767" y="3417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14" name="Line 442"/>
            <p:cNvSpPr>
              <a:spLocks noChangeShapeType="1"/>
            </p:cNvSpPr>
            <p:nvPr/>
          </p:nvSpPr>
          <p:spPr bwMode="auto">
            <a:xfrm>
              <a:off x="4767" y="3417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15" name="Line 443"/>
            <p:cNvSpPr>
              <a:spLocks noChangeShapeType="1"/>
            </p:cNvSpPr>
            <p:nvPr/>
          </p:nvSpPr>
          <p:spPr bwMode="auto">
            <a:xfrm>
              <a:off x="4798" y="3457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16" name="Line 444"/>
            <p:cNvSpPr>
              <a:spLocks noChangeShapeType="1"/>
            </p:cNvSpPr>
            <p:nvPr/>
          </p:nvSpPr>
          <p:spPr bwMode="auto">
            <a:xfrm>
              <a:off x="4798" y="3457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17" name="Line 445"/>
            <p:cNvSpPr>
              <a:spLocks noChangeShapeType="1"/>
            </p:cNvSpPr>
            <p:nvPr/>
          </p:nvSpPr>
          <p:spPr bwMode="auto">
            <a:xfrm>
              <a:off x="4957" y="3182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18" name="Line 446"/>
            <p:cNvSpPr>
              <a:spLocks noChangeShapeType="1"/>
            </p:cNvSpPr>
            <p:nvPr/>
          </p:nvSpPr>
          <p:spPr bwMode="auto">
            <a:xfrm>
              <a:off x="4957" y="3182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19" name="Line 447"/>
            <p:cNvSpPr>
              <a:spLocks noChangeShapeType="1"/>
            </p:cNvSpPr>
            <p:nvPr/>
          </p:nvSpPr>
          <p:spPr bwMode="auto">
            <a:xfrm>
              <a:off x="4972" y="3179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20" name="Line 448"/>
            <p:cNvSpPr>
              <a:spLocks noChangeShapeType="1"/>
            </p:cNvSpPr>
            <p:nvPr/>
          </p:nvSpPr>
          <p:spPr bwMode="auto">
            <a:xfrm>
              <a:off x="4972" y="3179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21" name="Freeform 449"/>
            <p:cNvSpPr>
              <a:spLocks/>
            </p:cNvSpPr>
            <p:nvPr/>
          </p:nvSpPr>
          <p:spPr bwMode="auto">
            <a:xfrm>
              <a:off x="4992" y="3160"/>
              <a:ext cx="5" cy="6"/>
            </a:xfrm>
            <a:custGeom>
              <a:avLst/>
              <a:gdLst>
                <a:gd name="T0" fmla="*/ 0 w 7"/>
                <a:gd name="T1" fmla="*/ 1 h 12"/>
                <a:gd name="T2" fmla="*/ 1 w 7"/>
                <a:gd name="T3" fmla="*/ 0 h 12"/>
                <a:gd name="T4" fmla="*/ 0 w 7"/>
                <a:gd name="T5" fmla="*/ 1 h 12"/>
                <a:gd name="T6" fmla="*/ 0 60000 65536"/>
                <a:gd name="T7" fmla="*/ 0 60000 65536"/>
                <a:gd name="T8" fmla="*/ 0 60000 65536"/>
                <a:gd name="T9" fmla="*/ 0 w 7"/>
                <a:gd name="T10" fmla="*/ 0 h 12"/>
                <a:gd name="T11" fmla="*/ 7 w 7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2">
                  <a:moveTo>
                    <a:pt x="0" y="12"/>
                  </a:moveTo>
                  <a:lnTo>
                    <a:pt x="7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22" name="Line 450"/>
            <p:cNvSpPr>
              <a:spLocks noChangeShapeType="1"/>
            </p:cNvSpPr>
            <p:nvPr/>
          </p:nvSpPr>
          <p:spPr bwMode="auto">
            <a:xfrm flipV="1">
              <a:off x="4992" y="3160"/>
              <a:ext cx="5" cy="6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23" name="Freeform 451"/>
            <p:cNvSpPr>
              <a:spLocks/>
            </p:cNvSpPr>
            <p:nvPr/>
          </p:nvSpPr>
          <p:spPr bwMode="auto">
            <a:xfrm>
              <a:off x="5007" y="3146"/>
              <a:ext cx="2" cy="3"/>
            </a:xfrm>
            <a:custGeom>
              <a:avLst/>
              <a:gdLst>
                <a:gd name="T0" fmla="*/ 0 w 4"/>
                <a:gd name="T1" fmla="*/ 1 h 5"/>
                <a:gd name="T2" fmla="*/ 1 w 4"/>
                <a:gd name="T3" fmla="*/ 0 h 5"/>
                <a:gd name="T4" fmla="*/ 0 w 4"/>
                <a:gd name="T5" fmla="*/ 1 h 5"/>
                <a:gd name="T6" fmla="*/ 0 60000 65536"/>
                <a:gd name="T7" fmla="*/ 0 60000 65536"/>
                <a:gd name="T8" fmla="*/ 0 60000 65536"/>
                <a:gd name="T9" fmla="*/ 0 w 4"/>
                <a:gd name="T10" fmla="*/ 0 h 5"/>
                <a:gd name="T11" fmla="*/ 4 w 4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5">
                  <a:moveTo>
                    <a:pt x="0" y="5"/>
                  </a:moveTo>
                  <a:lnTo>
                    <a:pt x="4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24" name="Line 452"/>
            <p:cNvSpPr>
              <a:spLocks noChangeShapeType="1"/>
            </p:cNvSpPr>
            <p:nvPr/>
          </p:nvSpPr>
          <p:spPr bwMode="auto">
            <a:xfrm flipV="1">
              <a:off x="5007" y="3146"/>
              <a:ext cx="2" cy="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25" name="Line 453"/>
            <p:cNvSpPr>
              <a:spLocks noChangeShapeType="1"/>
            </p:cNvSpPr>
            <p:nvPr/>
          </p:nvSpPr>
          <p:spPr bwMode="auto">
            <a:xfrm>
              <a:off x="5016" y="3129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26" name="Line 454"/>
            <p:cNvSpPr>
              <a:spLocks noChangeShapeType="1"/>
            </p:cNvSpPr>
            <p:nvPr/>
          </p:nvSpPr>
          <p:spPr bwMode="auto">
            <a:xfrm>
              <a:off x="5016" y="3129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27" name="Freeform 455"/>
            <p:cNvSpPr>
              <a:spLocks/>
            </p:cNvSpPr>
            <p:nvPr/>
          </p:nvSpPr>
          <p:spPr bwMode="auto">
            <a:xfrm>
              <a:off x="5149" y="2993"/>
              <a:ext cx="6" cy="5"/>
            </a:xfrm>
            <a:custGeom>
              <a:avLst/>
              <a:gdLst>
                <a:gd name="T0" fmla="*/ 0 w 9"/>
                <a:gd name="T1" fmla="*/ 1 h 9"/>
                <a:gd name="T2" fmla="*/ 1 w 9"/>
                <a:gd name="T3" fmla="*/ 0 h 9"/>
                <a:gd name="T4" fmla="*/ 0 w 9"/>
                <a:gd name="T5" fmla="*/ 1 h 9"/>
                <a:gd name="T6" fmla="*/ 0 60000 65536"/>
                <a:gd name="T7" fmla="*/ 0 60000 65536"/>
                <a:gd name="T8" fmla="*/ 0 60000 65536"/>
                <a:gd name="T9" fmla="*/ 0 w 9"/>
                <a:gd name="T10" fmla="*/ 0 h 9"/>
                <a:gd name="T11" fmla="*/ 9 w 9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" h="9">
                  <a:moveTo>
                    <a:pt x="0" y="9"/>
                  </a:moveTo>
                  <a:lnTo>
                    <a:pt x="9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28" name="Line 456"/>
            <p:cNvSpPr>
              <a:spLocks noChangeShapeType="1"/>
            </p:cNvSpPr>
            <p:nvPr/>
          </p:nvSpPr>
          <p:spPr bwMode="auto">
            <a:xfrm flipV="1">
              <a:off x="5149" y="2993"/>
              <a:ext cx="6" cy="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29" name="Freeform 457"/>
            <p:cNvSpPr>
              <a:spLocks/>
            </p:cNvSpPr>
            <p:nvPr/>
          </p:nvSpPr>
          <p:spPr bwMode="auto">
            <a:xfrm>
              <a:off x="5184" y="2972"/>
              <a:ext cx="9" cy="6"/>
            </a:xfrm>
            <a:custGeom>
              <a:avLst/>
              <a:gdLst>
                <a:gd name="T0" fmla="*/ 0 w 14"/>
                <a:gd name="T1" fmla="*/ 1 h 12"/>
                <a:gd name="T2" fmla="*/ 1 w 14"/>
                <a:gd name="T3" fmla="*/ 0 h 12"/>
                <a:gd name="T4" fmla="*/ 0 w 14"/>
                <a:gd name="T5" fmla="*/ 1 h 12"/>
                <a:gd name="T6" fmla="*/ 0 60000 65536"/>
                <a:gd name="T7" fmla="*/ 0 60000 65536"/>
                <a:gd name="T8" fmla="*/ 0 60000 65536"/>
                <a:gd name="T9" fmla="*/ 0 w 14"/>
                <a:gd name="T10" fmla="*/ 0 h 12"/>
                <a:gd name="T11" fmla="*/ 14 w 14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30" name="Freeform 458"/>
            <p:cNvSpPr>
              <a:spLocks/>
            </p:cNvSpPr>
            <p:nvPr/>
          </p:nvSpPr>
          <p:spPr bwMode="auto">
            <a:xfrm>
              <a:off x="5184" y="2972"/>
              <a:ext cx="9" cy="6"/>
            </a:xfrm>
            <a:custGeom>
              <a:avLst/>
              <a:gdLst>
                <a:gd name="T0" fmla="*/ 0 w 14"/>
                <a:gd name="T1" fmla="*/ 1 h 12"/>
                <a:gd name="T2" fmla="*/ 1 w 14"/>
                <a:gd name="T3" fmla="*/ 0 h 12"/>
                <a:gd name="T4" fmla="*/ 0 w 14"/>
                <a:gd name="T5" fmla="*/ 1 h 12"/>
                <a:gd name="T6" fmla="*/ 0 60000 65536"/>
                <a:gd name="T7" fmla="*/ 0 60000 65536"/>
                <a:gd name="T8" fmla="*/ 0 60000 65536"/>
                <a:gd name="T9" fmla="*/ 0 w 14"/>
                <a:gd name="T10" fmla="*/ 0 h 12"/>
                <a:gd name="T11" fmla="*/ 14 w 14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31" name="Freeform 459"/>
            <p:cNvSpPr>
              <a:spLocks/>
            </p:cNvSpPr>
            <p:nvPr/>
          </p:nvSpPr>
          <p:spPr bwMode="auto">
            <a:xfrm>
              <a:off x="5204" y="2961"/>
              <a:ext cx="4" cy="3"/>
            </a:xfrm>
            <a:custGeom>
              <a:avLst/>
              <a:gdLst>
                <a:gd name="T0" fmla="*/ 0 w 7"/>
                <a:gd name="T1" fmla="*/ 0 h 7"/>
                <a:gd name="T2" fmla="*/ 1 w 7"/>
                <a:gd name="T3" fmla="*/ 0 h 7"/>
                <a:gd name="T4" fmla="*/ 0 w 7"/>
                <a:gd name="T5" fmla="*/ 0 h 7"/>
                <a:gd name="T6" fmla="*/ 0 60000 65536"/>
                <a:gd name="T7" fmla="*/ 0 60000 65536"/>
                <a:gd name="T8" fmla="*/ 0 60000 65536"/>
                <a:gd name="T9" fmla="*/ 0 w 7"/>
                <a:gd name="T10" fmla="*/ 0 h 7"/>
                <a:gd name="T11" fmla="*/ 7 w 7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7">
                  <a:moveTo>
                    <a:pt x="0" y="7"/>
                  </a:moveTo>
                  <a:lnTo>
                    <a:pt x="7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32" name="Line 460"/>
            <p:cNvSpPr>
              <a:spLocks noChangeShapeType="1"/>
            </p:cNvSpPr>
            <p:nvPr/>
          </p:nvSpPr>
          <p:spPr bwMode="auto">
            <a:xfrm flipV="1">
              <a:off x="5204" y="2961"/>
              <a:ext cx="4" cy="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33" name="Line 461"/>
            <p:cNvSpPr>
              <a:spLocks noChangeShapeType="1"/>
            </p:cNvSpPr>
            <p:nvPr/>
          </p:nvSpPr>
          <p:spPr bwMode="auto">
            <a:xfrm>
              <a:off x="5216" y="2950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34" name="Line 462"/>
            <p:cNvSpPr>
              <a:spLocks noChangeShapeType="1"/>
            </p:cNvSpPr>
            <p:nvPr/>
          </p:nvSpPr>
          <p:spPr bwMode="auto">
            <a:xfrm>
              <a:off x="5216" y="2950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35" name="Line 463"/>
            <p:cNvSpPr>
              <a:spLocks noChangeShapeType="1"/>
            </p:cNvSpPr>
            <p:nvPr/>
          </p:nvSpPr>
          <p:spPr bwMode="auto">
            <a:xfrm>
              <a:off x="5231" y="2934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36" name="Line 464"/>
            <p:cNvSpPr>
              <a:spLocks noChangeShapeType="1"/>
            </p:cNvSpPr>
            <p:nvPr/>
          </p:nvSpPr>
          <p:spPr bwMode="auto">
            <a:xfrm>
              <a:off x="5231" y="2934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37" name="Line 465"/>
            <p:cNvSpPr>
              <a:spLocks noChangeShapeType="1"/>
            </p:cNvSpPr>
            <p:nvPr/>
          </p:nvSpPr>
          <p:spPr bwMode="auto">
            <a:xfrm>
              <a:off x="3804" y="2762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38" name="Line 466"/>
            <p:cNvSpPr>
              <a:spLocks noChangeShapeType="1"/>
            </p:cNvSpPr>
            <p:nvPr/>
          </p:nvSpPr>
          <p:spPr bwMode="auto">
            <a:xfrm>
              <a:off x="3804" y="2762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39" name="Line 467"/>
            <p:cNvSpPr>
              <a:spLocks noChangeShapeType="1"/>
            </p:cNvSpPr>
            <p:nvPr/>
          </p:nvSpPr>
          <p:spPr bwMode="auto">
            <a:xfrm>
              <a:off x="3803" y="2768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40" name="Line 468"/>
            <p:cNvSpPr>
              <a:spLocks noChangeShapeType="1"/>
            </p:cNvSpPr>
            <p:nvPr/>
          </p:nvSpPr>
          <p:spPr bwMode="auto">
            <a:xfrm>
              <a:off x="3803" y="2768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41" name="Freeform 469"/>
            <p:cNvSpPr>
              <a:spLocks/>
            </p:cNvSpPr>
            <p:nvPr/>
          </p:nvSpPr>
          <p:spPr bwMode="auto">
            <a:xfrm>
              <a:off x="3850" y="2786"/>
              <a:ext cx="3" cy="6"/>
            </a:xfrm>
            <a:custGeom>
              <a:avLst/>
              <a:gdLst>
                <a:gd name="T0" fmla="*/ 0 w 5"/>
                <a:gd name="T1" fmla="*/ 1 h 12"/>
                <a:gd name="T2" fmla="*/ 1 w 5"/>
                <a:gd name="T3" fmla="*/ 0 h 12"/>
                <a:gd name="T4" fmla="*/ 1 w 5"/>
                <a:gd name="T5" fmla="*/ 1 h 12"/>
                <a:gd name="T6" fmla="*/ 0 w 5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12"/>
                <a:gd name="T14" fmla="*/ 5 w 5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12">
                  <a:moveTo>
                    <a:pt x="0" y="5"/>
                  </a:moveTo>
                  <a:lnTo>
                    <a:pt x="5" y="0"/>
                  </a:lnTo>
                  <a:lnTo>
                    <a:pt x="5" y="12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42" name="Freeform 470"/>
            <p:cNvSpPr>
              <a:spLocks/>
            </p:cNvSpPr>
            <p:nvPr/>
          </p:nvSpPr>
          <p:spPr bwMode="auto">
            <a:xfrm>
              <a:off x="3850" y="2786"/>
              <a:ext cx="3" cy="6"/>
            </a:xfrm>
            <a:custGeom>
              <a:avLst/>
              <a:gdLst>
                <a:gd name="T0" fmla="*/ 0 w 5"/>
                <a:gd name="T1" fmla="*/ 1 h 12"/>
                <a:gd name="T2" fmla="*/ 1 w 5"/>
                <a:gd name="T3" fmla="*/ 0 h 12"/>
                <a:gd name="T4" fmla="*/ 1 w 5"/>
                <a:gd name="T5" fmla="*/ 1 h 12"/>
                <a:gd name="T6" fmla="*/ 0 60000 65536"/>
                <a:gd name="T7" fmla="*/ 0 60000 65536"/>
                <a:gd name="T8" fmla="*/ 0 60000 65536"/>
                <a:gd name="T9" fmla="*/ 0 w 5"/>
                <a:gd name="T10" fmla="*/ 0 h 12"/>
                <a:gd name="T11" fmla="*/ 5 w 5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12">
                  <a:moveTo>
                    <a:pt x="0" y="5"/>
                  </a:moveTo>
                  <a:lnTo>
                    <a:pt x="5" y="0"/>
                  </a:lnTo>
                  <a:lnTo>
                    <a:pt x="5" y="12"/>
                  </a:lnTo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43" name="Line 471"/>
            <p:cNvSpPr>
              <a:spLocks noChangeShapeType="1"/>
            </p:cNvSpPr>
            <p:nvPr/>
          </p:nvSpPr>
          <p:spPr bwMode="auto">
            <a:xfrm>
              <a:off x="3852" y="2783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44" name="Line 472"/>
            <p:cNvSpPr>
              <a:spLocks noChangeShapeType="1"/>
            </p:cNvSpPr>
            <p:nvPr/>
          </p:nvSpPr>
          <p:spPr bwMode="auto">
            <a:xfrm>
              <a:off x="3852" y="2783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45" name="Line 473"/>
            <p:cNvSpPr>
              <a:spLocks noChangeShapeType="1"/>
            </p:cNvSpPr>
            <p:nvPr/>
          </p:nvSpPr>
          <p:spPr bwMode="auto">
            <a:xfrm>
              <a:off x="3854" y="2782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46" name="Line 474"/>
            <p:cNvSpPr>
              <a:spLocks noChangeShapeType="1"/>
            </p:cNvSpPr>
            <p:nvPr/>
          </p:nvSpPr>
          <p:spPr bwMode="auto">
            <a:xfrm>
              <a:off x="3854" y="2782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47" name="Line 475"/>
            <p:cNvSpPr>
              <a:spLocks noChangeShapeType="1"/>
            </p:cNvSpPr>
            <p:nvPr/>
          </p:nvSpPr>
          <p:spPr bwMode="auto">
            <a:xfrm>
              <a:off x="3835" y="2809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48" name="Line 476"/>
            <p:cNvSpPr>
              <a:spLocks noChangeShapeType="1"/>
            </p:cNvSpPr>
            <p:nvPr/>
          </p:nvSpPr>
          <p:spPr bwMode="auto">
            <a:xfrm>
              <a:off x="3835" y="2809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49" name="Freeform 477"/>
            <p:cNvSpPr>
              <a:spLocks/>
            </p:cNvSpPr>
            <p:nvPr/>
          </p:nvSpPr>
          <p:spPr bwMode="auto">
            <a:xfrm>
              <a:off x="3835" y="2804"/>
              <a:ext cx="5" cy="4"/>
            </a:xfrm>
            <a:custGeom>
              <a:avLst/>
              <a:gdLst>
                <a:gd name="T0" fmla="*/ 0 w 8"/>
                <a:gd name="T1" fmla="*/ 0 h 7"/>
                <a:gd name="T2" fmla="*/ 1 w 8"/>
                <a:gd name="T3" fmla="*/ 1 h 7"/>
                <a:gd name="T4" fmla="*/ 0 w 8"/>
                <a:gd name="T5" fmla="*/ 0 h 7"/>
                <a:gd name="T6" fmla="*/ 0 60000 65536"/>
                <a:gd name="T7" fmla="*/ 0 60000 65536"/>
                <a:gd name="T8" fmla="*/ 0 60000 65536"/>
                <a:gd name="T9" fmla="*/ 0 w 8"/>
                <a:gd name="T10" fmla="*/ 0 h 7"/>
                <a:gd name="T11" fmla="*/ 8 w 8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7">
                  <a:moveTo>
                    <a:pt x="0" y="0"/>
                  </a:moveTo>
                  <a:lnTo>
                    <a:pt x="8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50" name="Line 478"/>
            <p:cNvSpPr>
              <a:spLocks noChangeShapeType="1"/>
            </p:cNvSpPr>
            <p:nvPr/>
          </p:nvSpPr>
          <p:spPr bwMode="auto">
            <a:xfrm>
              <a:off x="3835" y="2804"/>
              <a:ext cx="5" cy="4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51" name="Line 479"/>
            <p:cNvSpPr>
              <a:spLocks noChangeShapeType="1"/>
            </p:cNvSpPr>
            <p:nvPr/>
          </p:nvSpPr>
          <p:spPr bwMode="auto">
            <a:xfrm>
              <a:off x="3840" y="2804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52" name="Line 480"/>
            <p:cNvSpPr>
              <a:spLocks noChangeShapeType="1"/>
            </p:cNvSpPr>
            <p:nvPr/>
          </p:nvSpPr>
          <p:spPr bwMode="auto">
            <a:xfrm>
              <a:off x="3840" y="2804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53" name="Line 481"/>
            <p:cNvSpPr>
              <a:spLocks noChangeShapeType="1"/>
            </p:cNvSpPr>
            <p:nvPr/>
          </p:nvSpPr>
          <p:spPr bwMode="auto">
            <a:xfrm>
              <a:off x="3799" y="2834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54" name="Line 482"/>
            <p:cNvSpPr>
              <a:spLocks noChangeShapeType="1"/>
            </p:cNvSpPr>
            <p:nvPr/>
          </p:nvSpPr>
          <p:spPr bwMode="auto">
            <a:xfrm>
              <a:off x="3799" y="2834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55" name="Line 483"/>
            <p:cNvSpPr>
              <a:spLocks noChangeShapeType="1"/>
            </p:cNvSpPr>
            <p:nvPr/>
          </p:nvSpPr>
          <p:spPr bwMode="auto">
            <a:xfrm>
              <a:off x="3995" y="2864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56" name="Line 484"/>
            <p:cNvSpPr>
              <a:spLocks noChangeShapeType="1"/>
            </p:cNvSpPr>
            <p:nvPr/>
          </p:nvSpPr>
          <p:spPr bwMode="auto">
            <a:xfrm>
              <a:off x="3995" y="2864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57" name="Line 485"/>
            <p:cNvSpPr>
              <a:spLocks noChangeShapeType="1"/>
            </p:cNvSpPr>
            <p:nvPr/>
          </p:nvSpPr>
          <p:spPr bwMode="auto">
            <a:xfrm>
              <a:off x="4039" y="2788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58" name="Line 486"/>
            <p:cNvSpPr>
              <a:spLocks noChangeShapeType="1"/>
            </p:cNvSpPr>
            <p:nvPr/>
          </p:nvSpPr>
          <p:spPr bwMode="auto">
            <a:xfrm>
              <a:off x="4039" y="2788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59" name="Line 487"/>
            <p:cNvSpPr>
              <a:spLocks noChangeShapeType="1"/>
            </p:cNvSpPr>
            <p:nvPr/>
          </p:nvSpPr>
          <p:spPr bwMode="auto">
            <a:xfrm>
              <a:off x="3876" y="3048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60" name="Line 488"/>
            <p:cNvSpPr>
              <a:spLocks noChangeShapeType="1"/>
            </p:cNvSpPr>
            <p:nvPr/>
          </p:nvSpPr>
          <p:spPr bwMode="auto">
            <a:xfrm>
              <a:off x="3876" y="3048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61" name="Line 489"/>
            <p:cNvSpPr>
              <a:spLocks noChangeShapeType="1"/>
            </p:cNvSpPr>
            <p:nvPr/>
          </p:nvSpPr>
          <p:spPr bwMode="auto">
            <a:xfrm>
              <a:off x="3899" y="3038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62" name="Line 490"/>
            <p:cNvSpPr>
              <a:spLocks noChangeShapeType="1"/>
            </p:cNvSpPr>
            <p:nvPr/>
          </p:nvSpPr>
          <p:spPr bwMode="auto">
            <a:xfrm>
              <a:off x="3899" y="3038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63" name="Line 491"/>
            <p:cNvSpPr>
              <a:spLocks noChangeShapeType="1"/>
            </p:cNvSpPr>
            <p:nvPr/>
          </p:nvSpPr>
          <p:spPr bwMode="auto">
            <a:xfrm>
              <a:off x="3956" y="3010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64" name="Line 492"/>
            <p:cNvSpPr>
              <a:spLocks noChangeShapeType="1"/>
            </p:cNvSpPr>
            <p:nvPr/>
          </p:nvSpPr>
          <p:spPr bwMode="auto">
            <a:xfrm>
              <a:off x="3956" y="3010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65" name="Line 493"/>
            <p:cNvSpPr>
              <a:spLocks noChangeShapeType="1"/>
            </p:cNvSpPr>
            <p:nvPr/>
          </p:nvSpPr>
          <p:spPr bwMode="auto">
            <a:xfrm>
              <a:off x="3969" y="3069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66" name="Line 494"/>
            <p:cNvSpPr>
              <a:spLocks noChangeShapeType="1"/>
            </p:cNvSpPr>
            <p:nvPr/>
          </p:nvSpPr>
          <p:spPr bwMode="auto">
            <a:xfrm>
              <a:off x="3969" y="3069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67" name="Line 495"/>
            <p:cNvSpPr>
              <a:spLocks noChangeShapeType="1"/>
            </p:cNvSpPr>
            <p:nvPr/>
          </p:nvSpPr>
          <p:spPr bwMode="auto">
            <a:xfrm>
              <a:off x="3992" y="3078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68" name="Line 496"/>
            <p:cNvSpPr>
              <a:spLocks noChangeShapeType="1"/>
            </p:cNvSpPr>
            <p:nvPr/>
          </p:nvSpPr>
          <p:spPr bwMode="auto">
            <a:xfrm>
              <a:off x="3992" y="3078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69" name="Line 497"/>
            <p:cNvSpPr>
              <a:spLocks noChangeShapeType="1"/>
            </p:cNvSpPr>
            <p:nvPr/>
          </p:nvSpPr>
          <p:spPr bwMode="auto">
            <a:xfrm>
              <a:off x="4104" y="3082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70" name="Line 498"/>
            <p:cNvSpPr>
              <a:spLocks noChangeShapeType="1"/>
            </p:cNvSpPr>
            <p:nvPr/>
          </p:nvSpPr>
          <p:spPr bwMode="auto">
            <a:xfrm>
              <a:off x="4104" y="3082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71" name="Line 499"/>
            <p:cNvSpPr>
              <a:spLocks noChangeShapeType="1"/>
            </p:cNvSpPr>
            <p:nvPr/>
          </p:nvSpPr>
          <p:spPr bwMode="auto">
            <a:xfrm>
              <a:off x="4045" y="3055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72" name="Line 500"/>
            <p:cNvSpPr>
              <a:spLocks noChangeShapeType="1"/>
            </p:cNvSpPr>
            <p:nvPr/>
          </p:nvSpPr>
          <p:spPr bwMode="auto">
            <a:xfrm>
              <a:off x="4045" y="3055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73" name="Line 501"/>
            <p:cNvSpPr>
              <a:spLocks noChangeShapeType="1"/>
            </p:cNvSpPr>
            <p:nvPr/>
          </p:nvSpPr>
          <p:spPr bwMode="auto">
            <a:xfrm>
              <a:off x="4080" y="3070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74" name="Line 502"/>
            <p:cNvSpPr>
              <a:spLocks noChangeShapeType="1"/>
            </p:cNvSpPr>
            <p:nvPr/>
          </p:nvSpPr>
          <p:spPr bwMode="auto">
            <a:xfrm>
              <a:off x="4080" y="3070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75" name="Line 503"/>
            <p:cNvSpPr>
              <a:spLocks noChangeShapeType="1"/>
            </p:cNvSpPr>
            <p:nvPr/>
          </p:nvSpPr>
          <p:spPr bwMode="auto">
            <a:xfrm>
              <a:off x="4088" y="3074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76" name="Line 504"/>
            <p:cNvSpPr>
              <a:spLocks noChangeShapeType="1"/>
            </p:cNvSpPr>
            <p:nvPr/>
          </p:nvSpPr>
          <p:spPr bwMode="auto">
            <a:xfrm>
              <a:off x="4088" y="3074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77" name="Line 505"/>
            <p:cNvSpPr>
              <a:spLocks noChangeShapeType="1"/>
            </p:cNvSpPr>
            <p:nvPr/>
          </p:nvSpPr>
          <p:spPr bwMode="auto">
            <a:xfrm>
              <a:off x="4088" y="3067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78" name="Line 506"/>
            <p:cNvSpPr>
              <a:spLocks noChangeShapeType="1"/>
            </p:cNvSpPr>
            <p:nvPr/>
          </p:nvSpPr>
          <p:spPr bwMode="auto">
            <a:xfrm>
              <a:off x="4088" y="3067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79" name="Line 507"/>
            <p:cNvSpPr>
              <a:spLocks noChangeShapeType="1"/>
            </p:cNvSpPr>
            <p:nvPr/>
          </p:nvSpPr>
          <p:spPr bwMode="auto">
            <a:xfrm>
              <a:off x="4085" y="3063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80" name="Line 508"/>
            <p:cNvSpPr>
              <a:spLocks noChangeShapeType="1"/>
            </p:cNvSpPr>
            <p:nvPr/>
          </p:nvSpPr>
          <p:spPr bwMode="auto">
            <a:xfrm>
              <a:off x="4085" y="3063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81" name="Line 509"/>
            <p:cNvSpPr>
              <a:spLocks noChangeShapeType="1"/>
            </p:cNvSpPr>
            <p:nvPr/>
          </p:nvSpPr>
          <p:spPr bwMode="auto">
            <a:xfrm>
              <a:off x="4085" y="3040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82" name="Line 510"/>
            <p:cNvSpPr>
              <a:spLocks noChangeShapeType="1"/>
            </p:cNvSpPr>
            <p:nvPr/>
          </p:nvSpPr>
          <p:spPr bwMode="auto">
            <a:xfrm>
              <a:off x="4085" y="3040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83" name="Line 511"/>
            <p:cNvSpPr>
              <a:spLocks noChangeShapeType="1"/>
            </p:cNvSpPr>
            <p:nvPr/>
          </p:nvSpPr>
          <p:spPr bwMode="auto">
            <a:xfrm>
              <a:off x="4100" y="3060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84" name="Line 512"/>
            <p:cNvSpPr>
              <a:spLocks noChangeShapeType="1"/>
            </p:cNvSpPr>
            <p:nvPr/>
          </p:nvSpPr>
          <p:spPr bwMode="auto">
            <a:xfrm>
              <a:off x="4100" y="3060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85" name="Line 513"/>
            <p:cNvSpPr>
              <a:spLocks noChangeShapeType="1"/>
            </p:cNvSpPr>
            <p:nvPr/>
          </p:nvSpPr>
          <p:spPr bwMode="auto">
            <a:xfrm>
              <a:off x="3713" y="3107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86" name="Line 514"/>
            <p:cNvSpPr>
              <a:spLocks noChangeShapeType="1"/>
            </p:cNvSpPr>
            <p:nvPr/>
          </p:nvSpPr>
          <p:spPr bwMode="auto">
            <a:xfrm>
              <a:off x="3713" y="3107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87" name="Line 515"/>
            <p:cNvSpPr>
              <a:spLocks noChangeShapeType="1"/>
            </p:cNvSpPr>
            <p:nvPr/>
          </p:nvSpPr>
          <p:spPr bwMode="auto">
            <a:xfrm>
              <a:off x="3706" y="3144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88" name="Line 516"/>
            <p:cNvSpPr>
              <a:spLocks noChangeShapeType="1"/>
            </p:cNvSpPr>
            <p:nvPr/>
          </p:nvSpPr>
          <p:spPr bwMode="auto">
            <a:xfrm>
              <a:off x="3706" y="3144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89" name="Line 517"/>
            <p:cNvSpPr>
              <a:spLocks noChangeShapeType="1"/>
            </p:cNvSpPr>
            <p:nvPr/>
          </p:nvSpPr>
          <p:spPr bwMode="auto">
            <a:xfrm>
              <a:off x="3642" y="3242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90" name="Line 518"/>
            <p:cNvSpPr>
              <a:spLocks noChangeShapeType="1"/>
            </p:cNvSpPr>
            <p:nvPr/>
          </p:nvSpPr>
          <p:spPr bwMode="auto">
            <a:xfrm>
              <a:off x="3642" y="3242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91" name="Line 519"/>
            <p:cNvSpPr>
              <a:spLocks noChangeShapeType="1"/>
            </p:cNvSpPr>
            <p:nvPr/>
          </p:nvSpPr>
          <p:spPr bwMode="auto">
            <a:xfrm>
              <a:off x="3661" y="3250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92" name="Line 520"/>
            <p:cNvSpPr>
              <a:spLocks noChangeShapeType="1"/>
            </p:cNvSpPr>
            <p:nvPr/>
          </p:nvSpPr>
          <p:spPr bwMode="auto">
            <a:xfrm>
              <a:off x="3661" y="3250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93" name="Line 521"/>
            <p:cNvSpPr>
              <a:spLocks noChangeShapeType="1"/>
            </p:cNvSpPr>
            <p:nvPr/>
          </p:nvSpPr>
          <p:spPr bwMode="auto">
            <a:xfrm>
              <a:off x="3656" y="3258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94" name="Line 522"/>
            <p:cNvSpPr>
              <a:spLocks noChangeShapeType="1"/>
            </p:cNvSpPr>
            <p:nvPr/>
          </p:nvSpPr>
          <p:spPr bwMode="auto">
            <a:xfrm>
              <a:off x="3656" y="3258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95" name="Line 523"/>
            <p:cNvSpPr>
              <a:spLocks noChangeShapeType="1"/>
            </p:cNvSpPr>
            <p:nvPr/>
          </p:nvSpPr>
          <p:spPr bwMode="auto">
            <a:xfrm>
              <a:off x="3922" y="3374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96" name="Line 524"/>
            <p:cNvSpPr>
              <a:spLocks noChangeShapeType="1"/>
            </p:cNvSpPr>
            <p:nvPr/>
          </p:nvSpPr>
          <p:spPr bwMode="auto">
            <a:xfrm>
              <a:off x="3922" y="3374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97" name="Freeform 525"/>
            <p:cNvSpPr>
              <a:spLocks/>
            </p:cNvSpPr>
            <p:nvPr/>
          </p:nvSpPr>
          <p:spPr bwMode="auto">
            <a:xfrm>
              <a:off x="5022" y="3429"/>
              <a:ext cx="4" cy="8"/>
            </a:xfrm>
            <a:custGeom>
              <a:avLst/>
              <a:gdLst>
                <a:gd name="T0" fmla="*/ 0 w 7"/>
                <a:gd name="T1" fmla="*/ 1 h 15"/>
                <a:gd name="T2" fmla="*/ 1 w 7"/>
                <a:gd name="T3" fmla="*/ 0 h 15"/>
                <a:gd name="T4" fmla="*/ 0 w 7"/>
                <a:gd name="T5" fmla="*/ 1 h 15"/>
                <a:gd name="T6" fmla="*/ 0 60000 65536"/>
                <a:gd name="T7" fmla="*/ 0 60000 65536"/>
                <a:gd name="T8" fmla="*/ 0 60000 65536"/>
                <a:gd name="T9" fmla="*/ 0 w 7"/>
                <a:gd name="T10" fmla="*/ 0 h 15"/>
                <a:gd name="T11" fmla="*/ 7 w 7"/>
                <a:gd name="T12" fmla="*/ 15 h 1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5">
                  <a:moveTo>
                    <a:pt x="0" y="15"/>
                  </a:moveTo>
                  <a:lnTo>
                    <a:pt x="7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98" name="Freeform 526"/>
            <p:cNvSpPr>
              <a:spLocks/>
            </p:cNvSpPr>
            <p:nvPr/>
          </p:nvSpPr>
          <p:spPr bwMode="auto">
            <a:xfrm>
              <a:off x="5022" y="3429"/>
              <a:ext cx="4" cy="8"/>
            </a:xfrm>
            <a:custGeom>
              <a:avLst/>
              <a:gdLst>
                <a:gd name="T0" fmla="*/ 0 w 7"/>
                <a:gd name="T1" fmla="*/ 1 h 15"/>
                <a:gd name="T2" fmla="*/ 1 w 7"/>
                <a:gd name="T3" fmla="*/ 0 h 15"/>
                <a:gd name="T4" fmla="*/ 0 w 7"/>
                <a:gd name="T5" fmla="*/ 1 h 15"/>
                <a:gd name="T6" fmla="*/ 0 60000 65536"/>
                <a:gd name="T7" fmla="*/ 0 60000 65536"/>
                <a:gd name="T8" fmla="*/ 0 60000 65536"/>
                <a:gd name="T9" fmla="*/ 0 w 7"/>
                <a:gd name="T10" fmla="*/ 0 h 15"/>
                <a:gd name="T11" fmla="*/ 7 w 7"/>
                <a:gd name="T12" fmla="*/ 15 h 1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5">
                  <a:moveTo>
                    <a:pt x="0" y="15"/>
                  </a:moveTo>
                  <a:lnTo>
                    <a:pt x="7" y="0"/>
                  </a:lnTo>
                  <a:lnTo>
                    <a:pt x="0" y="15"/>
                  </a:lnTo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499" name="Line 527"/>
            <p:cNvSpPr>
              <a:spLocks noChangeShapeType="1"/>
            </p:cNvSpPr>
            <p:nvPr/>
          </p:nvSpPr>
          <p:spPr bwMode="auto">
            <a:xfrm>
              <a:off x="4820" y="3345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00" name="Line 528"/>
            <p:cNvSpPr>
              <a:spLocks noChangeShapeType="1"/>
            </p:cNvSpPr>
            <p:nvPr/>
          </p:nvSpPr>
          <p:spPr bwMode="auto">
            <a:xfrm>
              <a:off x="4820" y="3345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01" name="Line 529"/>
            <p:cNvSpPr>
              <a:spLocks noChangeShapeType="1"/>
            </p:cNvSpPr>
            <p:nvPr/>
          </p:nvSpPr>
          <p:spPr bwMode="auto">
            <a:xfrm>
              <a:off x="4787" y="3367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02" name="Line 530"/>
            <p:cNvSpPr>
              <a:spLocks noChangeShapeType="1"/>
            </p:cNvSpPr>
            <p:nvPr/>
          </p:nvSpPr>
          <p:spPr bwMode="auto">
            <a:xfrm>
              <a:off x="4787" y="3367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03" name="Freeform 531"/>
            <p:cNvSpPr>
              <a:spLocks/>
            </p:cNvSpPr>
            <p:nvPr/>
          </p:nvSpPr>
          <p:spPr bwMode="auto">
            <a:xfrm>
              <a:off x="4862" y="3429"/>
              <a:ext cx="9" cy="0"/>
            </a:xfrm>
            <a:custGeom>
              <a:avLst/>
              <a:gdLst>
                <a:gd name="T0" fmla="*/ 0 w 15"/>
                <a:gd name="T1" fmla="*/ 1 w 15"/>
                <a:gd name="T2" fmla="*/ 0 w 15"/>
                <a:gd name="T3" fmla="*/ 0 60000 65536"/>
                <a:gd name="T4" fmla="*/ 0 60000 65536"/>
                <a:gd name="T5" fmla="*/ 0 60000 65536"/>
                <a:gd name="T6" fmla="*/ 0 w 15"/>
                <a:gd name="T7" fmla="*/ 15 w 15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15">
                  <a:moveTo>
                    <a:pt x="0" y="0"/>
                  </a:move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04" name="Line 532"/>
            <p:cNvSpPr>
              <a:spLocks noChangeShapeType="1"/>
            </p:cNvSpPr>
            <p:nvPr/>
          </p:nvSpPr>
          <p:spPr bwMode="auto">
            <a:xfrm>
              <a:off x="4862" y="3429"/>
              <a:ext cx="9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05" name="Freeform 533"/>
            <p:cNvSpPr>
              <a:spLocks/>
            </p:cNvSpPr>
            <p:nvPr/>
          </p:nvSpPr>
          <p:spPr bwMode="auto">
            <a:xfrm>
              <a:off x="4963" y="3388"/>
              <a:ext cx="7" cy="0"/>
            </a:xfrm>
            <a:custGeom>
              <a:avLst/>
              <a:gdLst>
                <a:gd name="T0" fmla="*/ 0 w 12"/>
                <a:gd name="T1" fmla="*/ 1 w 12"/>
                <a:gd name="T2" fmla="*/ 0 w 12"/>
                <a:gd name="T3" fmla="*/ 0 60000 65536"/>
                <a:gd name="T4" fmla="*/ 0 60000 65536"/>
                <a:gd name="T5" fmla="*/ 0 60000 65536"/>
                <a:gd name="T6" fmla="*/ 0 w 12"/>
                <a:gd name="T7" fmla="*/ 12 w 12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12">
                  <a:moveTo>
                    <a:pt x="0" y="0"/>
                  </a:move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06" name="Line 534"/>
            <p:cNvSpPr>
              <a:spLocks noChangeShapeType="1"/>
            </p:cNvSpPr>
            <p:nvPr/>
          </p:nvSpPr>
          <p:spPr bwMode="auto">
            <a:xfrm>
              <a:off x="4963" y="3388"/>
              <a:ext cx="7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07" name="Line 535"/>
            <p:cNvSpPr>
              <a:spLocks noChangeShapeType="1"/>
            </p:cNvSpPr>
            <p:nvPr/>
          </p:nvSpPr>
          <p:spPr bwMode="auto">
            <a:xfrm>
              <a:off x="5013" y="3390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08" name="Line 536"/>
            <p:cNvSpPr>
              <a:spLocks noChangeShapeType="1"/>
            </p:cNvSpPr>
            <p:nvPr/>
          </p:nvSpPr>
          <p:spPr bwMode="auto">
            <a:xfrm>
              <a:off x="5013" y="3390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09" name="Freeform 537"/>
            <p:cNvSpPr>
              <a:spLocks/>
            </p:cNvSpPr>
            <p:nvPr/>
          </p:nvSpPr>
          <p:spPr bwMode="auto">
            <a:xfrm>
              <a:off x="5015" y="3377"/>
              <a:ext cx="8" cy="1"/>
            </a:xfrm>
            <a:custGeom>
              <a:avLst/>
              <a:gdLst>
                <a:gd name="T0" fmla="*/ 0 w 14"/>
                <a:gd name="T1" fmla="*/ 0 h 2"/>
                <a:gd name="T2" fmla="*/ 1 w 14"/>
                <a:gd name="T3" fmla="*/ 1 h 2"/>
                <a:gd name="T4" fmla="*/ 0 w 14"/>
                <a:gd name="T5" fmla="*/ 0 h 2"/>
                <a:gd name="T6" fmla="*/ 0 60000 65536"/>
                <a:gd name="T7" fmla="*/ 0 60000 65536"/>
                <a:gd name="T8" fmla="*/ 0 60000 65536"/>
                <a:gd name="T9" fmla="*/ 0 w 14"/>
                <a:gd name="T10" fmla="*/ 0 h 2"/>
                <a:gd name="T11" fmla="*/ 14 w 14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2">
                  <a:moveTo>
                    <a:pt x="0" y="0"/>
                  </a:moveTo>
                  <a:lnTo>
                    <a:pt x="14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10" name="Freeform 538"/>
            <p:cNvSpPr>
              <a:spLocks/>
            </p:cNvSpPr>
            <p:nvPr/>
          </p:nvSpPr>
          <p:spPr bwMode="auto">
            <a:xfrm>
              <a:off x="5015" y="3377"/>
              <a:ext cx="8" cy="1"/>
            </a:xfrm>
            <a:custGeom>
              <a:avLst/>
              <a:gdLst>
                <a:gd name="T0" fmla="*/ 0 w 14"/>
                <a:gd name="T1" fmla="*/ 0 h 2"/>
                <a:gd name="T2" fmla="*/ 1 w 14"/>
                <a:gd name="T3" fmla="*/ 1 h 2"/>
                <a:gd name="T4" fmla="*/ 0 w 14"/>
                <a:gd name="T5" fmla="*/ 0 h 2"/>
                <a:gd name="T6" fmla="*/ 0 60000 65536"/>
                <a:gd name="T7" fmla="*/ 0 60000 65536"/>
                <a:gd name="T8" fmla="*/ 0 60000 65536"/>
                <a:gd name="T9" fmla="*/ 0 w 14"/>
                <a:gd name="T10" fmla="*/ 0 h 2"/>
                <a:gd name="T11" fmla="*/ 14 w 14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2">
                  <a:moveTo>
                    <a:pt x="0" y="0"/>
                  </a:moveTo>
                  <a:lnTo>
                    <a:pt x="14" y="2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11" name="Line 539"/>
            <p:cNvSpPr>
              <a:spLocks noChangeShapeType="1"/>
            </p:cNvSpPr>
            <p:nvPr/>
          </p:nvSpPr>
          <p:spPr bwMode="auto">
            <a:xfrm>
              <a:off x="4924" y="3336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12" name="Line 540"/>
            <p:cNvSpPr>
              <a:spLocks noChangeShapeType="1"/>
            </p:cNvSpPr>
            <p:nvPr/>
          </p:nvSpPr>
          <p:spPr bwMode="auto">
            <a:xfrm>
              <a:off x="4924" y="3336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13" name="Line 541"/>
            <p:cNvSpPr>
              <a:spLocks noChangeShapeType="1"/>
            </p:cNvSpPr>
            <p:nvPr/>
          </p:nvSpPr>
          <p:spPr bwMode="auto">
            <a:xfrm>
              <a:off x="4934" y="3330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14" name="Line 542"/>
            <p:cNvSpPr>
              <a:spLocks noChangeShapeType="1"/>
            </p:cNvSpPr>
            <p:nvPr/>
          </p:nvSpPr>
          <p:spPr bwMode="auto">
            <a:xfrm>
              <a:off x="4934" y="3330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15" name="Freeform 543"/>
            <p:cNvSpPr>
              <a:spLocks/>
            </p:cNvSpPr>
            <p:nvPr/>
          </p:nvSpPr>
          <p:spPr bwMode="auto">
            <a:xfrm>
              <a:off x="5159" y="3391"/>
              <a:ext cx="4" cy="0"/>
            </a:xfrm>
            <a:custGeom>
              <a:avLst/>
              <a:gdLst>
                <a:gd name="T0" fmla="*/ 0 w 7"/>
                <a:gd name="T1" fmla="*/ 1 w 7"/>
                <a:gd name="T2" fmla="*/ 0 w 7"/>
                <a:gd name="T3" fmla="*/ 0 60000 65536"/>
                <a:gd name="T4" fmla="*/ 0 60000 65536"/>
                <a:gd name="T5" fmla="*/ 0 60000 65536"/>
                <a:gd name="T6" fmla="*/ 0 w 7"/>
                <a:gd name="T7" fmla="*/ 7 w 7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16" name="Line 544"/>
            <p:cNvSpPr>
              <a:spLocks noChangeShapeType="1"/>
            </p:cNvSpPr>
            <p:nvPr/>
          </p:nvSpPr>
          <p:spPr bwMode="auto">
            <a:xfrm>
              <a:off x="5159" y="3391"/>
              <a:ext cx="4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17" name="Freeform 545"/>
            <p:cNvSpPr>
              <a:spLocks/>
            </p:cNvSpPr>
            <p:nvPr/>
          </p:nvSpPr>
          <p:spPr bwMode="auto">
            <a:xfrm>
              <a:off x="5244" y="3426"/>
              <a:ext cx="10" cy="6"/>
            </a:xfrm>
            <a:custGeom>
              <a:avLst/>
              <a:gdLst>
                <a:gd name="T0" fmla="*/ 0 w 17"/>
                <a:gd name="T1" fmla="*/ 0 h 12"/>
                <a:gd name="T2" fmla="*/ 1 w 17"/>
                <a:gd name="T3" fmla="*/ 1 h 12"/>
                <a:gd name="T4" fmla="*/ 0 w 17"/>
                <a:gd name="T5" fmla="*/ 0 h 12"/>
                <a:gd name="T6" fmla="*/ 0 60000 65536"/>
                <a:gd name="T7" fmla="*/ 0 60000 65536"/>
                <a:gd name="T8" fmla="*/ 0 60000 65536"/>
                <a:gd name="T9" fmla="*/ 0 w 17"/>
                <a:gd name="T10" fmla="*/ 0 h 12"/>
                <a:gd name="T11" fmla="*/ 17 w 17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2">
                  <a:moveTo>
                    <a:pt x="0" y="0"/>
                  </a:moveTo>
                  <a:lnTo>
                    <a:pt x="17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18" name="Line 546"/>
            <p:cNvSpPr>
              <a:spLocks noChangeShapeType="1"/>
            </p:cNvSpPr>
            <p:nvPr/>
          </p:nvSpPr>
          <p:spPr bwMode="auto">
            <a:xfrm>
              <a:off x="5244" y="3426"/>
              <a:ext cx="10" cy="6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19" name="Freeform 547"/>
            <p:cNvSpPr>
              <a:spLocks/>
            </p:cNvSpPr>
            <p:nvPr/>
          </p:nvSpPr>
          <p:spPr bwMode="auto">
            <a:xfrm>
              <a:off x="5252" y="3437"/>
              <a:ext cx="6" cy="5"/>
            </a:xfrm>
            <a:custGeom>
              <a:avLst/>
              <a:gdLst>
                <a:gd name="T0" fmla="*/ 0 w 10"/>
                <a:gd name="T1" fmla="*/ 0 h 9"/>
                <a:gd name="T2" fmla="*/ 1 w 10"/>
                <a:gd name="T3" fmla="*/ 1 h 9"/>
                <a:gd name="T4" fmla="*/ 0 w 10"/>
                <a:gd name="T5" fmla="*/ 0 h 9"/>
                <a:gd name="T6" fmla="*/ 0 60000 65536"/>
                <a:gd name="T7" fmla="*/ 0 60000 65536"/>
                <a:gd name="T8" fmla="*/ 0 60000 65536"/>
                <a:gd name="T9" fmla="*/ 0 w 10"/>
                <a:gd name="T10" fmla="*/ 0 h 9"/>
                <a:gd name="T11" fmla="*/ 10 w 10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" h="9">
                  <a:moveTo>
                    <a:pt x="0" y="0"/>
                  </a:moveTo>
                  <a:lnTo>
                    <a:pt x="10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20" name="Line 548"/>
            <p:cNvSpPr>
              <a:spLocks noChangeShapeType="1"/>
            </p:cNvSpPr>
            <p:nvPr/>
          </p:nvSpPr>
          <p:spPr bwMode="auto">
            <a:xfrm>
              <a:off x="5252" y="3437"/>
              <a:ext cx="6" cy="5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21" name="Freeform 549"/>
            <p:cNvSpPr>
              <a:spLocks/>
            </p:cNvSpPr>
            <p:nvPr/>
          </p:nvSpPr>
          <p:spPr bwMode="auto">
            <a:xfrm>
              <a:off x="5264" y="3433"/>
              <a:ext cx="10" cy="6"/>
            </a:xfrm>
            <a:custGeom>
              <a:avLst/>
              <a:gdLst>
                <a:gd name="T0" fmla="*/ 0 w 17"/>
                <a:gd name="T1" fmla="*/ 0 h 11"/>
                <a:gd name="T2" fmla="*/ 1 w 17"/>
                <a:gd name="T3" fmla="*/ 1 h 11"/>
                <a:gd name="T4" fmla="*/ 0 w 17"/>
                <a:gd name="T5" fmla="*/ 0 h 11"/>
                <a:gd name="T6" fmla="*/ 0 60000 65536"/>
                <a:gd name="T7" fmla="*/ 0 60000 65536"/>
                <a:gd name="T8" fmla="*/ 0 60000 65536"/>
                <a:gd name="T9" fmla="*/ 0 w 17"/>
                <a:gd name="T10" fmla="*/ 0 h 11"/>
                <a:gd name="T11" fmla="*/ 17 w 17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1">
                  <a:moveTo>
                    <a:pt x="0" y="0"/>
                  </a:moveTo>
                  <a:lnTo>
                    <a:pt x="17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22" name="Line 550"/>
            <p:cNvSpPr>
              <a:spLocks noChangeShapeType="1"/>
            </p:cNvSpPr>
            <p:nvPr/>
          </p:nvSpPr>
          <p:spPr bwMode="auto">
            <a:xfrm>
              <a:off x="5264" y="3433"/>
              <a:ext cx="10" cy="6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23" name="Freeform 551"/>
            <p:cNvSpPr>
              <a:spLocks/>
            </p:cNvSpPr>
            <p:nvPr/>
          </p:nvSpPr>
          <p:spPr bwMode="auto">
            <a:xfrm>
              <a:off x="5282" y="3439"/>
              <a:ext cx="8" cy="12"/>
            </a:xfrm>
            <a:custGeom>
              <a:avLst/>
              <a:gdLst>
                <a:gd name="T0" fmla="*/ 0 w 14"/>
                <a:gd name="T1" fmla="*/ 0 h 22"/>
                <a:gd name="T2" fmla="*/ 1 w 14"/>
                <a:gd name="T3" fmla="*/ 1 h 22"/>
                <a:gd name="T4" fmla="*/ 0 w 14"/>
                <a:gd name="T5" fmla="*/ 0 h 22"/>
                <a:gd name="T6" fmla="*/ 0 60000 65536"/>
                <a:gd name="T7" fmla="*/ 0 60000 65536"/>
                <a:gd name="T8" fmla="*/ 0 60000 65536"/>
                <a:gd name="T9" fmla="*/ 0 w 14"/>
                <a:gd name="T10" fmla="*/ 0 h 22"/>
                <a:gd name="T11" fmla="*/ 14 w 14"/>
                <a:gd name="T12" fmla="*/ 22 h 2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22">
                  <a:moveTo>
                    <a:pt x="0" y="0"/>
                  </a:moveTo>
                  <a:lnTo>
                    <a:pt x="14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24" name="Line 552"/>
            <p:cNvSpPr>
              <a:spLocks noChangeShapeType="1"/>
            </p:cNvSpPr>
            <p:nvPr/>
          </p:nvSpPr>
          <p:spPr bwMode="auto">
            <a:xfrm>
              <a:off x="5282" y="3439"/>
              <a:ext cx="8" cy="12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25" name="Freeform 553"/>
            <p:cNvSpPr>
              <a:spLocks/>
            </p:cNvSpPr>
            <p:nvPr/>
          </p:nvSpPr>
          <p:spPr bwMode="auto">
            <a:xfrm>
              <a:off x="5287" y="3454"/>
              <a:ext cx="10" cy="5"/>
            </a:xfrm>
            <a:custGeom>
              <a:avLst/>
              <a:gdLst>
                <a:gd name="T0" fmla="*/ 0 w 17"/>
                <a:gd name="T1" fmla="*/ 0 h 9"/>
                <a:gd name="T2" fmla="*/ 1 w 17"/>
                <a:gd name="T3" fmla="*/ 1 h 9"/>
                <a:gd name="T4" fmla="*/ 0 w 17"/>
                <a:gd name="T5" fmla="*/ 0 h 9"/>
                <a:gd name="T6" fmla="*/ 0 60000 65536"/>
                <a:gd name="T7" fmla="*/ 0 60000 65536"/>
                <a:gd name="T8" fmla="*/ 0 60000 65536"/>
                <a:gd name="T9" fmla="*/ 0 w 17"/>
                <a:gd name="T10" fmla="*/ 0 h 9"/>
                <a:gd name="T11" fmla="*/ 17 w 17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9">
                  <a:moveTo>
                    <a:pt x="0" y="0"/>
                  </a:moveTo>
                  <a:lnTo>
                    <a:pt x="17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26" name="Freeform 554"/>
            <p:cNvSpPr>
              <a:spLocks/>
            </p:cNvSpPr>
            <p:nvPr/>
          </p:nvSpPr>
          <p:spPr bwMode="auto">
            <a:xfrm>
              <a:off x="5287" y="3454"/>
              <a:ext cx="10" cy="5"/>
            </a:xfrm>
            <a:custGeom>
              <a:avLst/>
              <a:gdLst>
                <a:gd name="T0" fmla="*/ 0 w 17"/>
                <a:gd name="T1" fmla="*/ 0 h 9"/>
                <a:gd name="T2" fmla="*/ 1 w 17"/>
                <a:gd name="T3" fmla="*/ 1 h 9"/>
                <a:gd name="T4" fmla="*/ 0 w 17"/>
                <a:gd name="T5" fmla="*/ 0 h 9"/>
                <a:gd name="T6" fmla="*/ 0 60000 65536"/>
                <a:gd name="T7" fmla="*/ 0 60000 65536"/>
                <a:gd name="T8" fmla="*/ 0 60000 65536"/>
                <a:gd name="T9" fmla="*/ 0 w 17"/>
                <a:gd name="T10" fmla="*/ 0 h 9"/>
                <a:gd name="T11" fmla="*/ 17 w 17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9">
                  <a:moveTo>
                    <a:pt x="0" y="0"/>
                  </a:moveTo>
                  <a:lnTo>
                    <a:pt x="17" y="9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27" name="Line 555"/>
            <p:cNvSpPr>
              <a:spLocks noChangeShapeType="1"/>
            </p:cNvSpPr>
            <p:nvPr/>
          </p:nvSpPr>
          <p:spPr bwMode="auto">
            <a:xfrm>
              <a:off x="5329" y="3459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28" name="Line 556"/>
            <p:cNvSpPr>
              <a:spLocks noChangeShapeType="1"/>
            </p:cNvSpPr>
            <p:nvPr/>
          </p:nvSpPr>
          <p:spPr bwMode="auto">
            <a:xfrm>
              <a:off x="5329" y="3459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29" name="Line 557"/>
            <p:cNvSpPr>
              <a:spLocks noChangeShapeType="1"/>
            </p:cNvSpPr>
            <p:nvPr/>
          </p:nvSpPr>
          <p:spPr bwMode="auto">
            <a:xfrm>
              <a:off x="5352" y="3513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30" name="Line 558"/>
            <p:cNvSpPr>
              <a:spLocks noChangeShapeType="1"/>
            </p:cNvSpPr>
            <p:nvPr/>
          </p:nvSpPr>
          <p:spPr bwMode="auto">
            <a:xfrm>
              <a:off x="5352" y="3513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31" name="Line 559"/>
            <p:cNvSpPr>
              <a:spLocks noChangeShapeType="1"/>
            </p:cNvSpPr>
            <p:nvPr/>
          </p:nvSpPr>
          <p:spPr bwMode="auto">
            <a:xfrm>
              <a:off x="5537" y="3486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32" name="Line 560"/>
            <p:cNvSpPr>
              <a:spLocks noChangeShapeType="1"/>
            </p:cNvSpPr>
            <p:nvPr/>
          </p:nvSpPr>
          <p:spPr bwMode="auto">
            <a:xfrm>
              <a:off x="5537" y="3486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grpSp>
          <p:nvGrpSpPr>
            <p:cNvPr id="3" name="Group 561"/>
            <p:cNvGrpSpPr>
              <a:grpSpLocks/>
            </p:cNvGrpSpPr>
            <p:nvPr/>
          </p:nvGrpSpPr>
          <p:grpSpPr bwMode="auto">
            <a:xfrm>
              <a:off x="2205" y="2888"/>
              <a:ext cx="198" cy="97"/>
              <a:chOff x="211" y="2508"/>
              <a:chExt cx="198" cy="97"/>
            </a:xfrm>
          </p:grpSpPr>
          <p:sp>
            <p:nvSpPr>
              <p:cNvPr id="580" name="Line 562"/>
              <p:cNvSpPr>
                <a:spLocks noChangeShapeType="1"/>
              </p:cNvSpPr>
              <p:nvPr/>
            </p:nvSpPr>
            <p:spPr bwMode="auto">
              <a:xfrm>
                <a:off x="211" y="2508"/>
                <a:ext cx="0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581" name="Line 563"/>
              <p:cNvSpPr>
                <a:spLocks noChangeShapeType="1"/>
              </p:cNvSpPr>
              <p:nvPr/>
            </p:nvSpPr>
            <p:spPr bwMode="auto">
              <a:xfrm>
                <a:off x="211" y="2508"/>
                <a:ext cx="0" cy="0"/>
              </a:xfrm>
              <a:prstGeom prst="line">
                <a:avLst/>
              </a:prstGeom>
              <a:noFill/>
              <a:ln w="9525" cap="rnd">
                <a:solidFill>
                  <a:srgbClr val="F9F9F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582" name="Line 564"/>
              <p:cNvSpPr>
                <a:spLocks noChangeShapeType="1"/>
              </p:cNvSpPr>
              <p:nvPr/>
            </p:nvSpPr>
            <p:spPr bwMode="auto">
              <a:xfrm>
                <a:off x="239" y="2527"/>
                <a:ext cx="0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583" name="Line 565"/>
              <p:cNvSpPr>
                <a:spLocks noChangeShapeType="1"/>
              </p:cNvSpPr>
              <p:nvPr/>
            </p:nvSpPr>
            <p:spPr bwMode="auto">
              <a:xfrm>
                <a:off x="239" y="2527"/>
                <a:ext cx="0" cy="0"/>
              </a:xfrm>
              <a:prstGeom prst="line">
                <a:avLst/>
              </a:prstGeom>
              <a:noFill/>
              <a:ln w="9525" cap="rnd">
                <a:solidFill>
                  <a:srgbClr val="F9F9F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584" name="Line 566"/>
              <p:cNvSpPr>
                <a:spLocks noChangeShapeType="1"/>
              </p:cNvSpPr>
              <p:nvPr/>
            </p:nvSpPr>
            <p:spPr bwMode="auto">
              <a:xfrm>
                <a:off x="260" y="2531"/>
                <a:ext cx="0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sp>
            <p:nvSpPr>
              <p:cNvPr id="585" name="Line 567"/>
              <p:cNvSpPr>
                <a:spLocks noChangeShapeType="1"/>
              </p:cNvSpPr>
              <p:nvPr/>
            </p:nvSpPr>
            <p:spPr bwMode="auto">
              <a:xfrm>
                <a:off x="260" y="2531"/>
                <a:ext cx="0" cy="0"/>
              </a:xfrm>
              <a:prstGeom prst="line">
                <a:avLst/>
              </a:prstGeom>
              <a:noFill/>
              <a:ln w="9525" cap="rnd">
                <a:solidFill>
                  <a:srgbClr val="F9F9F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</a:endParaRPr>
              </a:p>
            </p:txBody>
          </p:sp>
          <p:grpSp>
            <p:nvGrpSpPr>
              <p:cNvPr id="4" name="Group 568"/>
              <p:cNvGrpSpPr>
                <a:grpSpLocks/>
              </p:cNvGrpSpPr>
              <p:nvPr/>
            </p:nvGrpSpPr>
            <p:grpSpPr bwMode="auto">
              <a:xfrm>
                <a:off x="303" y="2539"/>
                <a:ext cx="106" cy="66"/>
                <a:chOff x="303" y="2539"/>
                <a:chExt cx="106" cy="66"/>
              </a:xfrm>
            </p:grpSpPr>
            <p:sp>
              <p:nvSpPr>
                <p:cNvPr id="587" name="Freeform 569"/>
                <p:cNvSpPr>
                  <a:spLocks/>
                </p:cNvSpPr>
                <p:nvPr/>
              </p:nvSpPr>
              <p:spPr bwMode="auto">
                <a:xfrm>
                  <a:off x="333" y="2553"/>
                  <a:ext cx="8" cy="4"/>
                </a:xfrm>
                <a:custGeom>
                  <a:avLst/>
                  <a:gdLst>
                    <a:gd name="T0" fmla="*/ 0 w 8"/>
                    <a:gd name="T1" fmla="*/ 2 h 4"/>
                    <a:gd name="T2" fmla="*/ 8 w 8"/>
                    <a:gd name="T3" fmla="*/ 4 h 4"/>
                    <a:gd name="T4" fmla="*/ 8 w 8"/>
                    <a:gd name="T5" fmla="*/ 0 h 4"/>
                    <a:gd name="T6" fmla="*/ 0 w 8"/>
                    <a:gd name="T7" fmla="*/ 2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4"/>
                    <a:gd name="T14" fmla="*/ 8 w 8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4">
                      <a:moveTo>
                        <a:pt x="0" y="2"/>
                      </a:moveTo>
                      <a:lnTo>
                        <a:pt x="8" y="4"/>
                      </a:lnTo>
                      <a:lnTo>
                        <a:pt x="8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124570"/>
                </a:solidFill>
                <a:ln w="9525" cap="rnd">
                  <a:solidFill>
                    <a:srgbClr val="F9F9F9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</a:endParaRPr>
                </a:p>
              </p:txBody>
            </p:sp>
            <p:sp>
              <p:nvSpPr>
                <p:cNvPr id="588" name="Freeform 570"/>
                <p:cNvSpPr>
                  <a:spLocks/>
                </p:cNvSpPr>
                <p:nvPr/>
              </p:nvSpPr>
              <p:spPr bwMode="auto">
                <a:xfrm>
                  <a:off x="357" y="2560"/>
                  <a:ext cx="10" cy="7"/>
                </a:xfrm>
                <a:custGeom>
                  <a:avLst/>
                  <a:gdLst>
                    <a:gd name="T0" fmla="*/ 0 w 10"/>
                    <a:gd name="T1" fmla="*/ 2 h 7"/>
                    <a:gd name="T2" fmla="*/ 10 w 10"/>
                    <a:gd name="T3" fmla="*/ 7 h 7"/>
                    <a:gd name="T4" fmla="*/ 5 w 10"/>
                    <a:gd name="T5" fmla="*/ 0 h 7"/>
                    <a:gd name="T6" fmla="*/ 0 w 10"/>
                    <a:gd name="T7" fmla="*/ 2 h 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0"/>
                    <a:gd name="T13" fmla="*/ 0 h 7"/>
                    <a:gd name="T14" fmla="*/ 10 w 10"/>
                    <a:gd name="T15" fmla="*/ 7 h 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0" h="7">
                      <a:moveTo>
                        <a:pt x="0" y="2"/>
                      </a:moveTo>
                      <a:lnTo>
                        <a:pt x="10" y="7"/>
                      </a:lnTo>
                      <a:lnTo>
                        <a:pt x="5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124570"/>
                </a:solidFill>
                <a:ln w="9525" cap="rnd">
                  <a:solidFill>
                    <a:srgbClr val="F9F9F9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</a:endParaRPr>
                </a:p>
              </p:txBody>
            </p:sp>
            <p:sp>
              <p:nvSpPr>
                <p:cNvPr id="589" name="Freeform 571"/>
                <p:cNvSpPr>
                  <a:spLocks/>
                </p:cNvSpPr>
                <p:nvPr/>
              </p:nvSpPr>
              <p:spPr bwMode="auto">
                <a:xfrm>
                  <a:off x="381" y="2574"/>
                  <a:ext cx="9" cy="5"/>
                </a:xfrm>
                <a:custGeom>
                  <a:avLst/>
                  <a:gdLst>
                    <a:gd name="T0" fmla="*/ 0 w 9"/>
                    <a:gd name="T1" fmla="*/ 0 h 5"/>
                    <a:gd name="T2" fmla="*/ 2 w 9"/>
                    <a:gd name="T3" fmla="*/ 5 h 5"/>
                    <a:gd name="T4" fmla="*/ 9 w 9"/>
                    <a:gd name="T5" fmla="*/ 2 h 5"/>
                    <a:gd name="T6" fmla="*/ 0 w 9"/>
                    <a:gd name="T7" fmla="*/ 0 h 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5"/>
                    <a:gd name="T14" fmla="*/ 9 w 9"/>
                    <a:gd name="T15" fmla="*/ 5 h 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5">
                      <a:moveTo>
                        <a:pt x="0" y="0"/>
                      </a:moveTo>
                      <a:lnTo>
                        <a:pt x="2" y="5"/>
                      </a:lnTo>
                      <a:lnTo>
                        <a:pt x="9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24570"/>
                </a:solidFill>
                <a:ln w="9525" cap="rnd">
                  <a:solidFill>
                    <a:srgbClr val="F9F9F9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</a:endParaRPr>
                </a:p>
              </p:txBody>
            </p:sp>
            <p:sp>
              <p:nvSpPr>
                <p:cNvPr id="590" name="Freeform 572"/>
                <p:cNvSpPr>
                  <a:spLocks/>
                </p:cNvSpPr>
                <p:nvPr/>
              </p:nvSpPr>
              <p:spPr bwMode="auto">
                <a:xfrm>
                  <a:off x="390" y="2583"/>
                  <a:ext cx="19" cy="22"/>
                </a:xfrm>
                <a:custGeom>
                  <a:avLst/>
                  <a:gdLst>
                    <a:gd name="T0" fmla="*/ 3 w 19"/>
                    <a:gd name="T1" fmla="*/ 0 h 22"/>
                    <a:gd name="T2" fmla="*/ 0 w 19"/>
                    <a:gd name="T3" fmla="*/ 10 h 22"/>
                    <a:gd name="T4" fmla="*/ 5 w 19"/>
                    <a:gd name="T5" fmla="*/ 22 h 22"/>
                    <a:gd name="T6" fmla="*/ 19 w 19"/>
                    <a:gd name="T7" fmla="*/ 12 h 22"/>
                    <a:gd name="T8" fmla="*/ 3 w 19"/>
                    <a:gd name="T9" fmla="*/ 0 h 2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9"/>
                    <a:gd name="T16" fmla="*/ 0 h 22"/>
                    <a:gd name="T17" fmla="*/ 19 w 19"/>
                    <a:gd name="T18" fmla="*/ 22 h 2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9" h="22">
                      <a:moveTo>
                        <a:pt x="3" y="0"/>
                      </a:moveTo>
                      <a:lnTo>
                        <a:pt x="0" y="10"/>
                      </a:lnTo>
                      <a:lnTo>
                        <a:pt x="5" y="22"/>
                      </a:lnTo>
                      <a:lnTo>
                        <a:pt x="19" y="1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124570"/>
                </a:solidFill>
                <a:ln w="9525" cap="rnd">
                  <a:solidFill>
                    <a:srgbClr val="F9F9F9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</a:endParaRPr>
                </a:p>
              </p:txBody>
            </p:sp>
            <p:sp>
              <p:nvSpPr>
                <p:cNvPr id="591" name="Line 573"/>
                <p:cNvSpPr>
                  <a:spLocks noChangeShapeType="1"/>
                </p:cNvSpPr>
                <p:nvPr/>
              </p:nvSpPr>
              <p:spPr bwMode="auto">
                <a:xfrm>
                  <a:off x="303" y="2539"/>
                  <a:ext cx="0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</a:endParaRPr>
                </a:p>
              </p:txBody>
            </p:sp>
            <p:sp>
              <p:nvSpPr>
                <p:cNvPr id="592" name="Line 574"/>
                <p:cNvSpPr>
                  <a:spLocks noChangeShapeType="1"/>
                </p:cNvSpPr>
                <p:nvPr/>
              </p:nvSpPr>
              <p:spPr bwMode="auto">
                <a:xfrm>
                  <a:off x="303" y="2539"/>
                  <a:ext cx="0" cy="0"/>
                </a:xfrm>
                <a:prstGeom prst="line">
                  <a:avLst/>
                </a:prstGeom>
                <a:noFill/>
                <a:ln w="9525" cap="rnd">
                  <a:solidFill>
                    <a:srgbClr val="F9F9F9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</a:endParaRPr>
                </a:p>
              </p:txBody>
            </p:sp>
            <p:sp>
              <p:nvSpPr>
                <p:cNvPr id="593" name="Freeform 575"/>
                <p:cNvSpPr>
                  <a:spLocks/>
                </p:cNvSpPr>
                <p:nvPr/>
              </p:nvSpPr>
              <p:spPr bwMode="auto">
                <a:xfrm>
                  <a:off x="326" y="2557"/>
                  <a:ext cx="3" cy="3"/>
                </a:xfrm>
                <a:custGeom>
                  <a:avLst/>
                  <a:gdLst>
                    <a:gd name="T0" fmla="*/ 0 w 3"/>
                    <a:gd name="T1" fmla="*/ 3 h 3"/>
                    <a:gd name="T2" fmla="*/ 3 w 3"/>
                    <a:gd name="T3" fmla="*/ 0 h 3"/>
                    <a:gd name="T4" fmla="*/ 0 w 3"/>
                    <a:gd name="T5" fmla="*/ 3 h 3"/>
                    <a:gd name="T6" fmla="*/ 0 60000 65536"/>
                    <a:gd name="T7" fmla="*/ 0 60000 65536"/>
                    <a:gd name="T8" fmla="*/ 0 60000 65536"/>
                    <a:gd name="T9" fmla="*/ 0 w 3"/>
                    <a:gd name="T10" fmla="*/ 0 h 3"/>
                    <a:gd name="T11" fmla="*/ 3 w 3"/>
                    <a:gd name="T12" fmla="*/ 3 h 3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3" h="3">
                      <a:moveTo>
                        <a:pt x="0" y="3"/>
                      </a:moveTo>
                      <a:lnTo>
                        <a:pt x="3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12457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</a:endParaRPr>
                </a:p>
              </p:txBody>
            </p:sp>
            <p:sp>
              <p:nvSpPr>
                <p:cNvPr id="594" name="Line 576"/>
                <p:cNvSpPr>
                  <a:spLocks noChangeShapeType="1"/>
                </p:cNvSpPr>
                <p:nvPr/>
              </p:nvSpPr>
              <p:spPr bwMode="auto">
                <a:xfrm flipV="1">
                  <a:off x="326" y="2557"/>
                  <a:ext cx="3" cy="3"/>
                </a:xfrm>
                <a:prstGeom prst="line">
                  <a:avLst/>
                </a:prstGeom>
                <a:noFill/>
                <a:ln w="9525" cap="rnd">
                  <a:solidFill>
                    <a:srgbClr val="F9F9F9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</a:endParaRPr>
                </a:p>
              </p:txBody>
            </p:sp>
            <p:sp>
              <p:nvSpPr>
                <p:cNvPr id="595" name="Freeform 577"/>
                <p:cNvSpPr>
                  <a:spLocks/>
                </p:cNvSpPr>
                <p:nvPr/>
              </p:nvSpPr>
              <p:spPr bwMode="auto">
                <a:xfrm>
                  <a:off x="371" y="2569"/>
                  <a:ext cx="7" cy="0"/>
                </a:xfrm>
                <a:custGeom>
                  <a:avLst/>
                  <a:gdLst>
                    <a:gd name="T0" fmla="*/ 0 w 7"/>
                    <a:gd name="T1" fmla="*/ 7 w 7"/>
                    <a:gd name="T2" fmla="*/ 0 w 7"/>
                    <a:gd name="T3" fmla="*/ 0 60000 65536"/>
                    <a:gd name="T4" fmla="*/ 0 60000 65536"/>
                    <a:gd name="T5" fmla="*/ 0 60000 65536"/>
                    <a:gd name="T6" fmla="*/ 0 w 7"/>
                    <a:gd name="T7" fmla="*/ 7 w 7"/>
                  </a:gdLst>
                  <a:ahLst/>
                  <a:cxnLst>
                    <a:cxn ang="T3">
                      <a:pos x="T0" y="0"/>
                    </a:cxn>
                    <a:cxn ang="T4">
                      <a:pos x="T1" y="0"/>
                    </a:cxn>
                    <a:cxn ang="T5">
                      <a:pos x="T2" y="0"/>
                    </a:cxn>
                  </a:cxnLst>
                  <a:rect l="T6" t="0" r="T7" b="0"/>
                  <a:pathLst>
                    <a:path w="7">
                      <a:moveTo>
                        <a:pt x="0" y="0"/>
                      </a:move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2457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</a:endParaRPr>
                </a:p>
              </p:txBody>
            </p:sp>
            <p:sp>
              <p:nvSpPr>
                <p:cNvPr id="596" name="Line 578"/>
                <p:cNvSpPr>
                  <a:spLocks noChangeShapeType="1"/>
                </p:cNvSpPr>
                <p:nvPr/>
              </p:nvSpPr>
              <p:spPr bwMode="auto">
                <a:xfrm>
                  <a:off x="371" y="2569"/>
                  <a:ext cx="7" cy="0"/>
                </a:xfrm>
                <a:prstGeom prst="line">
                  <a:avLst/>
                </a:prstGeom>
                <a:noFill/>
                <a:ln w="9525" cap="rnd">
                  <a:solidFill>
                    <a:srgbClr val="F9F9F9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</a:endParaRPr>
                </a:p>
              </p:txBody>
            </p:sp>
            <p:sp>
              <p:nvSpPr>
                <p:cNvPr id="597" name="Line 579"/>
                <p:cNvSpPr>
                  <a:spLocks noChangeShapeType="1"/>
                </p:cNvSpPr>
                <p:nvPr/>
              </p:nvSpPr>
              <p:spPr bwMode="auto">
                <a:xfrm>
                  <a:off x="376" y="2574"/>
                  <a:ext cx="0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</a:endParaRPr>
                </a:p>
              </p:txBody>
            </p:sp>
            <p:sp>
              <p:nvSpPr>
                <p:cNvPr id="598" name="Line 580"/>
                <p:cNvSpPr>
                  <a:spLocks noChangeShapeType="1"/>
                </p:cNvSpPr>
                <p:nvPr/>
              </p:nvSpPr>
              <p:spPr bwMode="auto">
                <a:xfrm>
                  <a:off x="376" y="2574"/>
                  <a:ext cx="0" cy="0"/>
                </a:xfrm>
                <a:prstGeom prst="line">
                  <a:avLst/>
                </a:prstGeom>
                <a:noFill/>
                <a:ln w="9525" cap="rnd">
                  <a:solidFill>
                    <a:srgbClr val="F9F9F9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</a:endParaRPr>
                </a:p>
              </p:txBody>
            </p:sp>
            <p:sp>
              <p:nvSpPr>
                <p:cNvPr id="599" name="Line 581"/>
                <p:cNvSpPr>
                  <a:spLocks noChangeShapeType="1"/>
                </p:cNvSpPr>
                <p:nvPr/>
              </p:nvSpPr>
              <p:spPr bwMode="auto">
                <a:xfrm>
                  <a:off x="381" y="2579"/>
                  <a:ext cx="0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</a:endParaRPr>
                </a:p>
              </p:txBody>
            </p:sp>
            <p:sp>
              <p:nvSpPr>
                <p:cNvPr id="600" name="Line 582"/>
                <p:cNvSpPr>
                  <a:spLocks noChangeShapeType="1"/>
                </p:cNvSpPr>
                <p:nvPr/>
              </p:nvSpPr>
              <p:spPr bwMode="auto">
                <a:xfrm>
                  <a:off x="381" y="2579"/>
                  <a:ext cx="0" cy="0"/>
                </a:xfrm>
                <a:prstGeom prst="line">
                  <a:avLst/>
                </a:prstGeom>
                <a:noFill/>
                <a:ln w="9525" cap="rnd">
                  <a:solidFill>
                    <a:srgbClr val="F9F9F9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latin typeface="+mn-lt"/>
                  </a:endParaRPr>
                </a:p>
              </p:txBody>
            </p:sp>
          </p:grpSp>
        </p:grpSp>
        <p:sp>
          <p:nvSpPr>
            <p:cNvPr id="534" name="Line 583"/>
            <p:cNvSpPr>
              <a:spLocks noChangeShapeType="1"/>
            </p:cNvSpPr>
            <p:nvPr/>
          </p:nvSpPr>
          <p:spPr bwMode="auto">
            <a:xfrm>
              <a:off x="3606" y="3537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35" name="Line 584"/>
            <p:cNvSpPr>
              <a:spLocks noChangeShapeType="1"/>
            </p:cNvSpPr>
            <p:nvPr/>
          </p:nvSpPr>
          <p:spPr bwMode="auto">
            <a:xfrm>
              <a:off x="3606" y="3537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36" name="Line 585"/>
            <p:cNvSpPr>
              <a:spLocks noChangeShapeType="1"/>
            </p:cNvSpPr>
            <p:nvPr/>
          </p:nvSpPr>
          <p:spPr bwMode="auto">
            <a:xfrm>
              <a:off x="3180" y="3176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37" name="Line 586"/>
            <p:cNvSpPr>
              <a:spLocks noChangeShapeType="1"/>
            </p:cNvSpPr>
            <p:nvPr/>
          </p:nvSpPr>
          <p:spPr bwMode="auto">
            <a:xfrm>
              <a:off x="3180" y="3176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38" name="Freeform 587"/>
            <p:cNvSpPr>
              <a:spLocks/>
            </p:cNvSpPr>
            <p:nvPr/>
          </p:nvSpPr>
          <p:spPr bwMode="auto">
            <a:xfrm>
              <a:off x="3196" y="3179"/>
              <a:ext cx="3" cy="5"/>
            </a:xfrm>
            <a:custGeom>
              <a:avLst/>
              <a:gdLst>
                <a:gd name="T0" fmla="*/ 0 w 5"/>
                <a:gd name="T1" fmla="*/ 0 h 9"/>
                <a:gd name="T2" fmla="*/ 1 w 5"/>
                <a:gd name="T3" fmla="*/ 1 h 9"/>
                <a:gd name="T4" fmla="*/ 0 w 5"/>
                <a:gd name="T5" fmla="*/ 0 h 9"/>
                <a:gd name="T6" fmla="*/ 0 60000 65536"/>
                <a:gd name="T7" fmla="*/ 0 60000 65536"/>
                <a:gd name="T8" fmla="*/ 0 60000 65536"/>
                <a:gd name="T9" fmla="*/ 0 w 5"/>
                <a:gd name="T10" fmla="*/ 0 h 9"/>
                <a:gd name="T11" fmla="*/ 5 w 5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9">
                  <a:moveTo>
                    <a:pt x="0" y="0"/>
                  </a:moveTo>
                  <a:lnTo>
                    <a:pt x="5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457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39" name="Line 588"/>
            <p:cNvSpPr>
              <a:spLocks noChangeShapeType="1"/>
            </p:cNvSpPr>
            <p:nvPr/>
          </p:nvSpPr>
          <p:spPr bwMode="auto">
            <a:xfrm>
              <a:off x="3196" y="3179"/>
              <a:ext cx="3" cy="5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40" name="Line 589"/>
            <p:cNvSpPr>
              <a:spLocks noChangeShapeType="1"/>
            </p:cNvSpPr>
            <p:nvPr/>
          </p:nvSpPr>
          <p:spPr bwMode="auto">
            <a:xfrm>
              <a:off x="3236" y="3206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41" name="Line 590"/>
            <p:cNvSpPr>
              <a:spLocks noChangeShapeType="1"/>
            </p:cNvSpPr>
            <p:nvPr/>
          </p:nvSpPr>
          <p:spPr bwMode="auto">
            <a:xfrm>
              <a:off x="3236" y="3206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42" name="Line 591"/>
            <p:cNvSpPr>
              <a:spLocks noChangeShapeType="1"/>
            </p:cNvSpPr>
            <p:nvPr/>
          </p:nvSpPr>
          <p:spPr bwMode="auto">
            <a:xfrm>
              <a:off x="5099" y="3105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43" name="Line 592"/>
            <p:cNvSpPr>
              <a:spLocks noChangeShapeType="1"/>
            </p:cNvSpPr>
            <p:nvPr/>
          </p:nvSpPr>
          <p:spPr bwMode="auto">
            <a:xfrm>
              <a:off x="5099" y="3105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44" name="Line 593"/>
            <p:cNvSpPr>
              <a:spLocks noChangeShapeType="1"/>
            </p:cNvSpPr>
            <p:nvPr/>
          </p:nvSpPr>
          <p:spPr bwMode="auto">
            <a:xfrm>
              <a:off x="4048" y="3060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45" name="Line 594"/>
            <p:cNvSpPr>
              <a:spLocks noChangeShapeType="1"/>
            </p:cNvSpPr>
            <p:nvPr/>
          </p:nvSpPr>
          <p:spPr bwMode="auto">
            <a:xfrm>
              <a:off x="4048" y="3060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46" name="Freeform 595"/>
            <p:cNvSpPr>
              <a:spLocks/>
            </p:cNvSpPr>
            <p:nvPr/>
          </p:nvSpPr>
          <p:spPr bwMode="auto">
            <a:xfrm>
              <a:off x="4094" y="3044"/>
              <a:ext cx="2" cy="4"/>
            </a:xfrm>
            <a:custGeom>
              <a:avLst/>
              <a:gdLst>
                <a:gd name="T0" fmla="*/ 0 w 3"/>
                <a:gd name="T1" fmla="*/ 1 h 7"/>
                <a:gd name="T2" fmla="*/ 1 w 3"/>
                <a:gd name="T3" fmla="*/ 0 h 7"/>
                <a:gd name="T4" fmla="*/ 1 w 3"/>
                <a:gd name="T5" fmla="*/ 1 h 7"/>
                <a:gd name="T6" fmla="*/ 0 w 3"/>
                <a:gd name="T7" fmla="*/ 1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7"/>
                <a:gd name="T14" fmla="*/ 3 w 3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7">
                  <a:moveTo>
                    <a:pt x="0" y="3"/>
                  </a:moveTo>
                  <a:lnTo>
                    <a:pt x="3" y="0"/>
                  </a:lnTo>
                  <a:lnTo>
                    <a:pt x="3" y="7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6AADE4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47" name="Freeform 596"/>
            <p:cNvSpPr>
              <a:spLocks/>
            </p:cNvSpPr>
            <p:nvPr/>
          </p:nvSpPr>
          <p:spPr bwMode="auto">
            <a:xfrm>
              <a:off x="4094" y="3053"/>
              <a:ext cx="0" cy="2"/>
            </a:xfrm>
            <a:custGeom>
              <a:avLst/>
              <a:gdLst>
                <a:gd name="T0" fmla="*/ 0 h 4"/>
                <a:gd name="T1" fmla="*/ 1 h 4"/>
                <a:gd name="T2" fmla="*/ 0 h 4"/>
                <a:gd name="T3" fmla="*/ 0 60000 65536"/>
                <a:gd name="T4" fmla="*/ 0 60000 65536"/>
                <a:gd name="T5" fmla="*/ 0 60000 65536"/>
                <a:gd name="T6" fmla="*/ 0 h 4"/>
                <a:gd name="T7" fmla="*/ 4 h 4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T6" r="0" b="T7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AADE4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48" name="Line 597"/>
            <p:cNvSpPr>
              <a:spLocks noChangeShapeType="1"/>
            </p:cNvSpPr>
            <p:nvPr/>
          </p:nvSpPr>
          <p:spPr bwMode="auto">
            <a:xfrm>
              <a:off x="4094" y="3053"/>
              <a:ext cx="0" cy="2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49" name="Line 598"/>
            <p:cNvSpPr>
              <a:spLocks noChangeShapeType="1"/>
            </p:cNvSpPr>
            <p:nvPr/>
          </p:nvSpPr>
          <p:spPr bwMode="auto">
            <a:xfrm>
              <a:off x="5247" y="3435"/>
              <a:ext cx="0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50" name="Line 599"/>
            <p:cNvSpPr>
              <a:spLocks noChangeShapeType="1"/>
            </p:cNvSpPr>
            <p:nvPr/>
          </p:nvSpPr>
          <p:spPr bwMode="auto">
            <a:xfrm>
              <a:off x="5247" y="3435"/>
              <a:ext cx="0" cy="0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51" name="Freeform 600"/>
            <p:cNvSpPr>
              <a:spLocks/>
            </p:cNvSpPr>
            <p:nvPr/>
          </p:nvSpPr>
          <p:spPr bwMode="auto">
            <a:xfrm>
              <a:off x="3193" y="3081"/>
              <a:ext cx="6" cy="5"/>
            </a:xfrm>
            <a:custGeom>
              <a:avLst/>
              <a:gdLst>
                <a:gd name="T0" fmla="*/ 0 w 10"/>
                <a:gd name="T1" fmla="*/ 1 h 9"/>
                <a:gd name="T2" fmla="*/ 1 w 10"/>
                <a:gd name="T3" fmla="*/ 0 h 9"/>
                <a:gd name="T4" fmla="*/ 0 w 10"/>
                <a:gd name="T5" fmla="*/ 1 h 9"/>
                <a:gd name="T6" fmla="*/ 0 60000 65536"/>
                <a:gd name="T7" fmla="*/ 0 60000 65536"/>
                <a:gd name="T8" fmla="*/ 0 60000 65536"/>
                <a:gd name="T9" fmla="*/ 0 w 10"/>
                <a:gd name="T10" fmla="*/ 0 h 9"/>
                <a:gd name="T11" fmla="*/ 10 w 10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" h="9">
                  <a:moveTo>
                    <a:pt x="0" y="9"/>
                  </a:moveTo>
                  <a:lnTo>
                    <a:pt x="10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52" name="Line 601"/>
            <p:cNvSpPr>
              <a:spLocks noChangeShapeType="1"/>
            </p:cNvSpPr>
            <p:nvPr/>
          </p:nvSpPr>
          <p:spPr bwMode="auto">
            <a:xfrm flipV="1">
              <a:off x="3193" y="3081"/>
              <a:ext cx="6" cy="5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53" name="Freeform 602"/>
            <p:cNvSpPr>
              <a:spLocks/>
            </p:cNvSpPr>
            <p:nvPr/>
          </p:nvSpPr>
          <p:spPr bwMode="auto">
            <a:xfrm>
              <a:off x="2759" y="2668"/>
              <a:ext cx="66" cy="43"/>
            </a:xfrm>
            <a:custGeom>
              <a:avLst/>
              <a:gdLst>
                <a:gd name="T0" fmla="*/ 0 w 111"/>
                <a:gd name="T1" fmla="*/ 1 h 83"/>
                <a:gd name="T2" fmla="*/ 1 w 111"/>
                <a:gd name="T3" fmla="*/ 1 h 83"/>
                <a:gd name="T4" fmla="*/ 1 w 111"/>
                <a:gd name="T5" fmla="*/ 1 h 83"/>
                <a:gd name="T6" fmla="*/ 1 w 111"/>
                <a:gd name="T7" fmla="*/ 1 h 83"/>
                <a:gd name="T8" fmla="*/ 1 w 111"/>
                <a:gd name="T9" fmla="*/ 1 h 83"/>
                <a:gd name="T10" fmla="*/ 1 w 111"/>
                <a:gd name="T11" fmla="*/ 1 h 83"/>
                <a:gd name="T12" fmla="*/ 1 w 111"/>
                <a:gd name="T13" fmla="*/ 1 h 83"/>
                <a:gd name="T14" fmla="*/ 2 w 111"/>
                <a:gd name="T15" fmla="*/ 1 h 83"/>
                <a:gd name="T16" fmla="*/ 2 w 111"/>
                <a:gd name="T17" fmla="*/ 1 h 83"/>
                <a:gd name="T18" fmla="*/ 1 w 111"/>
                <a:gd name="T19" fmla="*/ 1 h 83"/>
                <a:gd name="T20" fmla="*/ 2 w 111"/>
                <a:gd name="T21" fmla="*/ 1 h 83"/>
                <a:gd name="T22" fmla="*/ 2 w 111"/>
                <a:gd name="T23" fmla="*/ 1 h 83"/>
                <a:gd name="T24" fmla="*/ 2 w 111"/>
                <a:gd name="T25" fmla="*/ 1 h 83"/>
                <a:gd name="T26" fmla="*/ 3 w 111"/>
                <a:gd name="T27" fmla="*/ 1 h 83"/>
                <a:gd name="T28" fmla="*/ 2 w 111"/>
                <a:gd name="T29" fmla="*/ 1 h 83"/>
                <a:gd name="T30" fmla="*/ 2 w 111"/>
                <a:gd name="T31" fmla="*/ 1 h 83"/>
                <a:gd name="T32" fmla="*/ 2 w 111"/>
                <a:gd name="T33" fmla="*/ 0 h 83"/>
                <a:gd name="T34" fmla="*/ 0 w 111"/>
                <a:gd name="T35" fmla="*/ 1 h 8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11"/>
                <a:gd name="T55" fmla="*/ 0 h 83"/>
                <a:gd name="T56" fmla="*/ 111 w 111"/>
                <a:gd name="T57" fmla="*/ 83 h 8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11" h="83">
                  <a:moveTo>
                    <a:pt x="0" y="38"/>
                  </a:moveTo>
                  <a:lnTo>
                    <a:pt x="47" y="31"/>
                  </a:lnTo>
                  <a:lnTo>
                    <a:pt x="61" y="41"/>
                  </a:lnTo>
                  <a:lnTo>
                    <a:pt x="35" y="57"/>
                  </a:lnTo>
                  <a:lnTo>
                    <a:pt x="28" y="78"/>
                  </a:lnTo>
                  <a:lnTo>
                    <a:pt x="49" y="78"/>
                  </a:lnTo>
                  <a:lnTo>
                    <a:pt x="52" y="64"/>
                  </a:lnTo>
                  <a:lnTo>
                    <a:pt x="66" y="55"/>
                  </a:lnTo>
                  <a:lnTo>
                    <a:pt x="68" y="64"/>
                  </a:lnTo>
                  <a:lnTo>
                    <a:pt x="61" y="83"/>
                  </a:lnTo>
                  <a:lnTo>
                    <a:pt x="87" y="64"/>
                  </a:lnTo>
                  <a:lnTo>
                    <a:pt x="75" y="48"/>
                  </a:lnTo>
                  <a:lnTo>
                    <a:pt x="99" y="55"/>
                  </a:lnTo>
                  <a:lnTo>
                    <a:pt x="111" y="26"/>
                  </a:lnTo>
                  <a:lnTo>
                    <a:pt x="68" y="26"/>
                  </a:lnTo>
                  <a:lnTo>
                    <a:pt x="92" y="7"/>
                  </a:lnTo>
                  <a:lnTo>
                    <a:pt x="75" y="0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54" name="Freeform 603"/>
            <p:cNvSpPr>
              <a:spLocks/>
            </p:cNvSpPr>
            <p:nvPr/>
          </p:nvSpPr>
          <p:spPr bwMode="auto">
            <a:xfrm>
              <a:off x="2830" y="2745"/>
              <a:ext cx="72" cy="33"/>
            </a:xfrm>
            <a:custGeom>
              <a:avLst/>
              <a:gdLst>
                <a:gd name="T0" fmla="*/ 0 w 121"/>
                <a:gd name="T1" fmla="*/ 1 h 64"/>
                <a:gd name="T2" fmla="*/ 1 w 121"/>
                <a:gd name="T3" fmla="*/ 1 h 64"/>
                <a:gd name="T4" fmla="*/ 1 w 121"/>
                <a:gd name="T5" fmla="*/ 1 h 64"/>
                <a:gd name="T6" fmla="*/ 1 w 121"/>
                <a:gd name="T7" fmla="*/ 1 h 64"/>
                <a:gd name="T8" fmla="*/ 2 w 121"/>
                <a:gd name="T9" fmla="*/ 1 h 64"/>
                <a:gd name="T10" fmla="*/ 2 w 121"/>
                <a:gd name="T11" fmla="*/ 1 h 64"/>
                <a:gd name="T12" fmla="*/ 3 w 121"/>
                <a:gd name="T13" fmla="*/ 1 h 64"/>
                <a:gd name="T14" fmla="*/ 2 w 121"/>
                <a:gd name="T15" fmla="*/ 1 h 64"/>
                <a:gd name="T16" fmla="*/ 3 w 121"/>
                <a:gd name="T17" fmla="*/ 1 h 64"/>
                <a:gd name="T18" fmla="*/ 2 w 121"/>
                <a:gd name="T19" fmla="*/ 0 h 64"/>
                <a:gd name="T20" fmla="*/ 2 w 121"/>
                <a:gd name="T21" fmla="*/ 1 h 64"/>
                <a:gd name="T22" fmla="*/ 2 w 121"/>
                <a:gd name="T23" fmla="*/ 1 h 64"/>
                <a:gd name="T24" fmla="*/ 1 w 121"/>
                <a:gd name="T25" fmla="*/ 1 h 64"/>
                <a:gd name="T26" fmla="*/ 1 w 121"/>
                <a:gd name="T27" fmla="*/ 1 h 64"/>
                <a:gd name="T28" fmla="*/ 1 w 121"/>
                <a:gd name="T29" fmla="*/ 1 h 64"/>
                <a:gd name="T30" fmla="*/ 1 w 121"/>
                <a:gd name="T31" fmla="*/ 1 h 64"/>
                <a:gd name="T32" fmla="*/ 1 w 121"/>
                <a:gd name="T33" fmla="*/ 1 h 64"/>
                <a:gd name="T34" fmla="*/ 1 w 121"/>
                <a:gd name="T35" fmla="*/ 1 h 64"/>
                <a:gd name="T36" fmla="*/ 0 w 121"/>
                <a:gd name="T37" fmla="*/ 1 h 6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21"/>
                <a:gd name="T58" fmla="*/ 0 h 64"/>
                <a:gd name="T59" fmla="*/ 121 w 121"/>
                <a:gd name="T60" fmla="*/ 64 h 6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21" h="64">
                  <a:moveTo>
                    <a:pt x="0" y="54"/>
                  </a:moveTo>
                  <a:lnTo>
                    <a:pt x="14" y="64"/>
                  </a:lnTo>
                  <a:lnTo>
                    <a:pt x="48" y="62"/>
                  </a:lnTo>
                  <a:lnTo>
                    <a:pt x="50" y="52"/>
                  </a:lnTo>
                  <a:lnTo>
                    <a:pt x="74" y="43"/>
                  </a:lnTo>
                  <a:lnTo>
                    <a:pt x="78" y="26"/>
                  </a:lnTo>
                  <a:lnTo>
                    <a:pt x="109" y="14"/>
                  </a:lnTo>
                  <a:lnTo>
                    <a:pt x="102" y="7"/>
                  </a:lnTo>
                  <a:lnTo>
                    <a:pt x="121" y="7"/>
                  </a:lnTo>
                  <a:lnTo>
                    <a:pt x="95" y="0"/>
                  </a:lnTo>
                  <a:lnTo>
                    <a:pt x="81" y="7"/>
                  </a:lnTo>
                  <a:lnTo>
                    <a:pt x="69" y="26"/>
                  </a:lnTo>
                  <a:lnTo>
                    <a:pt x="59" y="29"/>
                  </a:lnTo>
                  <a:lnTo>
                    <a:pt x="43" y="14"/>
                  </a:lnTo>
                  <a:lnTo>
                    <a:pt x="26" y="14"/>
                  </a:lnTo>
                  <a:lnTo>
                    <a:pt x="38" y="33"/>
                  </a:lnTo>
                  <a:lnTo>
                    <a:pt x="26" y="36"/>
                  </a:lnTo>
                  <a:lnTo>
                    <a:pt x="19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55" name="Freeform 604"/>
            <p:cNvSpPr>
              <a:spLocks/>
            </p:cNvSpPr>
            <p:nvPr/>
          </p:nvSpPr>
          <p:spPr bwMode="auto">
            <a:xfrm>
              <a:off x="2881" y="2797"/>
              <a:ext cx="35" cy="16"/>
            </a:xfrm>
            <a:custGeom>
              <a:avLst/>
              <a:gdLst>
                <a:gd name="T0" fmla="*/ 0 w 59"/>
                <a:gd name="T1" fmla="*/ 1 h 31"/>
                <a:gd name="T2" fmla="*/ 1 w 59"/>
                <a:gd name="T3" fmla="*/ 1 h 31"/>
                <a:gd name="T4" fmla="*/ 1 w 59"/>
                <a:gd name="T5" fmla="*/ 1 h 31"/>
                <a:gd name="T6" fmla="*/ 1 w 59"/>
                <a:gd name="T7" fmla="*/ 1 h 31"/>
                <a:gd name="T8" fmla="*/ 1 w 59"/>
                <a:gd name="T9" fmla="*/ 0 h 31"/>
                <a:gd name="T10" fmla="*/ 0 w 59"/>
                <a:gd name="T11" fmla="*/ 1 h 3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9"/>
                <a:gd name="T19" fmla="*/ 0 h 31"/>
                <a:gd name="T20" fmla="*/ 59 w 59"/>
                <a:gd name="T21" fmla="*/ 31 h 3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9" h="31">
                  <a:moveTo>
                    <a:pt x="0" y="29"/>
                  </a:moveTo>
                  <a:lnTo>
                    <a:pt x="14" y="31"/>
                  </a:lnTo>
                  <a:lnTo>
                    <a:pt x="19" y="22"/>
                  </a:lnTo>
                  <a:lnTo>
                    <a:pt x="59" y="12"/>
                  </a:lnTo>
                  <a:lnTo>
                    <a:pt x="24" y="0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56" name="Freeform 605"/>
            <p:cNvSpPr>
              <a:spLocks/>
            </p:cNvSpPr>
            <p:nvPr/>
          </p:nvSpPr>
          <p:spPr bwMode="auto">
            <a:xfrm>
              <a:off x="2953" y="2819"/>
              <a:ext cx="15" cy="28"/>
            </a:xfrm>
            <a:custGeom>
              <a:avLst/>
              <a:gdLst>
                <a:gd name="T0" fmla="*/ 0 w 24"/>
                <a:gd name="T1" fmla="*/ 1 h 52"/>
                <a:gd name="T2" fmla="*/ 1 w 24"/>
                <a:gd name="T3" fmla="*/ 1 h 52"/>
                <a:gd name="T4" fmla="*/ 1 w 24"/>
                <a:gd name="T5" fmla="*/ 1 h 52"/>
                <a:gd name="T6" fmla="*/ 1 w 24"/>
                <a:gd name="T7" fmla="*/ 1 h 52"/>
                <a:gd name="T8" fmla="*/ 1 w 24"/>
                <a:gd name="T9" fmla="*/ 0 h 52"/>
                <a:gd name="T10" fmla="*/ 1 w 24"/>
                <a:gd name="T11" fmla="*/ 1 h 52"/>
                <a:gd name="T12" fmla="*/ 1 w 24"/>
                <a:gd name="T13" fmla="*/ 1 h 52"/>
                <a:gd name="T14" fmla="*/ 0 w 24"/>
                <a:gd name="T15" fmla="*/ 1 h 5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52"/>
                <a:gd name="T26" fmla="*/ 24 w 24"/>
                <a:gd name="T27" fmla="*/ 52 h 5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52">
                  <a:moveTo>
                    <a:pt x="0" y="52"/>
                  </a:moveTo>
                  <a:lnTo>
                    <a:pt x="14" y="45"/>
                  </a:lnTo>
                  <a:lnTo>
                    <a:pt x="14" y="21"/>
                  </a:lnTo>
                  <a:lnTo>
                    <a:pt x="24" y="14"/>
                  </a:lnTo>
                  <a:lnTo>
                    <a:pt x="14" y="0"/>
                  </a:lnTo>
                  <a:lnTo>
                    <a:pt x="5" y="21"/>
                  </a:lnTo>
                  <a:lnTo>
                    <a:pt x="10" y="33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57" name="Freeform 606"/>
            <p:cNvSpPr>
              <a:spLocks/>
            </p:cNvSpPr>
            <p:nvPr/>
          </p:nvSpPr>
          <p:spPr bwMode="auto">
            <a:xfrm>
              <a:off x="2987" y="2881"/>
              <a:ext cx="28" cy="43"/>
            </a:xfrm>
            <a:custGeom>
              <a:avLst/>
              <a:gdLst>
                <a:gd name="T0" fmla="*/ 0 w 47"/>
                <a:gd name="T1" fmla="*/ 1 h 83"/>
                <a:gd name="T2" fmla="*/ 1 w 47"/>
                <a:gd name="T3" fmla="*/ 1 h 83"/>
                <a:gd name="T4" fmla="*/ 1 w 47"/>
                <a:gd name="T5" fmla="*/ 1 h 83"/>
                <a:gd name="T6" fmla="*/ 1 w 47"/>
                <a:gd name="T7" fmla="*/ 1 h 83"/>
                <a:gd name="T8" fmla="*/ 1 w 47"/>
                <a:gd name="T9" fmla="*/ 1 h 83"/>
                <a:gd name="T10" fmla="*/ 1 w 47"/>
                <a:gd name="T11" fmla="*/ 1 h 83"/>
                <a:gd name="T12" fmla="*/ 1 w 47"/>
                <a:gd name="T13" fmla="*/ 1 h 83"/>
                <a:gd name="T14" fmla="*/ 1 w 47"/>
                <a:gd name="T15" fmla="*/ 1 h 83"/>
                <a:gd name="T16" fmla="*/ 1 w 47"/>
                <a:gd name="T17" fmla="*/ 1 h 83"/>
                <a:gd name="T18" fmla="*/ 1 w 47"/>
                <a:gd name="T19" fmla="*/ 1 h 83"/>
                <a:gd name="T20" fmla="*/ 1 w 47"/>
                <a:gd name="T21" fmla="*/ 0 h 83"/>
                <a:gd name="T22" fmla="*/ 0 w 47"/>
                <a:gd name="T23" fmla="*/ 1 h 8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7"/>
                <a:gd name="T37" fmla="*/ 0 h 83"/>
                <a:gd name="T38" fmla="*/ 47 w 47"/>
                <a:gd name="T39" fmla="*/ 83 h 8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7" h="83">
                  <a:moveTo>
                    <a:pt x="0" y="9"/>
                  </a:moveTo>
                  <a:lnTo>
                    <a:pt x="16" y="38"/>
                  </a:lnTo>
                  <a:lnTo>
                    <a:pt x="16" y="45"/>
                  </a:lnTo>
                  <a:lnTo>
                    <a:pt x="28" y="45"/>
                  </a:lnTo>
                  <a:lnTo>
                    <a:pt x="28" y="57"/>
                  </a:lnTo>
                  <a:lnTo>
                    <a:pt x="38" y="54"/>
                  </a:lnTo>
                  <a:lnTo>
                    <a:pt x="33" y="83"/>
                  </a:lnTo>
                  <a:lnTo>
                    <a:pt x="42" y="80"/>
                  </a:lnTo>
                  <a:lnTo>
                    <a:pt x="47" y="64"/>
                  </a:lnTo>
                  <a:lnTo>
                    <a:pt x="21" y="2"/>
                  </a:lnTo>
                  <a:lnTo>
                    <a:pt x="5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58" name="Freeform 607"/>
            <p:cNvSpPr>
              <a:spLocks/>
            </p:cNvSpPr>
            <p:nvPr/>
          </p:nvSpPr>
          <p:spPr bwMode="auto">
            <a:xfrm>
              <a:off x="2971" y="2890"/>
              <a:ext cx="27" cy="36"/>
            </a:xfrm>
            <a:custGeom>
              <a:avLst/>
              <a:gdLst>
                <a:gd name="T0" fmla="*/ 0 w 47"/>
                <a:gd name="T1" fmla="*/ 0 h 70"/>
                <a:gd name="T2" fmla="*/ 1 w 47"/>
                <a:gd name="T3" fmla="*/ 1 h 70"/>
                <a:gd name="T4" fmla="*/ 1 w 47"/>
                <a:gd name="T5" fmla="*/ 1 h 70"/>
                <a:gd name="T6" fmla="*/ 1 w 47"/>
                <a:gd name="T7" fmla="*/ 1 h 70"/>
                <a:gd name="T8" fmla="*/ 1 w 47"/>
                <a:gd name="T9" fmla="*/ 1 h 70"/>
                <a:gd name="T10" fmla="*/ 1 w 47"/>
                <a:gd name="T11" fmla="*/ 1 h 70"/>
                <a:gd name="T12" fmla="*/ 1 w 47"/>
                <a:gd name="T13" fmla="*/ 1 h 70"/>
                <a:gd name="T14" fmla="*/ 1 w 47"/>
                <a:gd name="T15" fmla="*/ 1 h 70"/>
                <a:gd name="T16" fmla="*/ 1 w 47"/>
                <a:gd name="T17" fmla="*/ 1 h 70"/>
                <a:gd name="T18" fmla="*/ 1 w 47"/>
                <a:gd name="T19" fmla="*/ 1 h 70"/>
                <a:gd name="T20" fmla="*/ 1 w 47"/>
                <a:gd name="T21" fmla="*/ 1 h 70"/>
                <a:gd name="T22" fmla="*/ 1 w 47"/>
                <a:gd name="T23" fmla="*/ 1 h 70"/>
                <a:gd name="T24" fmla="*/ 1 w 47"/>
                <a:gd name="T25" fmla="*/ 0 h 70"/>
                <a:gd name="T26" fmla="*/ 0 w 47"/>
                <a:gd name="T27" fmla="*/ 0 h 7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7"/>
                <a:gd name="T43" fmla="*/ 0 h 70"/>
                <a:gd name="T44" fmla="*/ 47 w 47"/>
                <a:gd name="T45" fmla="*/ 70 h 7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7" h="70">
                  <a:moveTo>
                    <a:pt x="0" y="0"/>
                  </a:moveTo>
                  <a:lnTo>
                    <a:pt x="4" y="11"/>
                  </a:lnTo>
                  <a:lnTo>
                    <a:pt x="11" y="7"/>
                  </a:lnTo>
                  <a:lnTo>
                    <a:pt x="18" y="11"/>
                  </a:lnTo>
                  <a:lnTo>
                    <a:pt x="14" y="30"/>
                  </a:lnTo>
                  <a:lnTo>
                    <a:pt x="33" y="47"/>
                  </a:lnTo>
                  <a:lnTo>
                    <a:pt x="35" y="70"/>
                  </a:lnTo>
                  <a:lnTo>
                    <a:pt x="47" y="68"/>
                  </a:lnTo>
                  <a:lnTo>
                    <a:pt x="35" y="44"/>
                  </a:lnTo>
                  <a:lnTo>
                    <a:pt x="37" y="35"/>
                  </a:lnTo>
                  <a:lnTo>
                    <a:pt x="23" y="37"/>
                  </a:lnTo>
                  <a:lnTo>
                    <a:pt x="23" y="9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59" name="Freeform 608"/>
            <p:cNvSpPr>
              <a:spLocks/>
            </p:cNvSpPr>
            <p:nvPr/>
          </p:nvSpPr>
          <p:spPr bwMode="auto">
            <a:xfrm>
              <a:off x="2971" y="2890"/>
              <a:ext cx="27" cy="36"/>
            </a:xfrm>
            <a:custGeom>
              <a:avLst/>
              <a:gdLst>
                <a:gd name="T0" fmla="*/ 0 w 47"/>
                <a:gd name="T1" fmla="*/ 0 h 70"/>
                <a:gd name="T2" fmla="*/ 1 w 47"/>
                <a:gd name="T3" fmla="*/ 1 h 70"/>
                <a:gd name="T4" fmla="*/ 1 w 47"/>
                <a:gd name="T5" fmla="*/ 1 h 70"/>
                <a:gd name="T6" fmla="*/ 1 w 47"/>
                <a:gd name="T7" fmla="*/ 1 h 70"/>
                <a:gd name="T8" fmla="*/ 1 w 47"/>
                <a:gd name="T9" fmla="*/ 1 h 70"/>
                <a:gd name="T10" fmla="*/ 1 w 47"/>
                <a:gd name="T11" fmla="*/ 1 h 70"/>
                <a:gd name="T12" fmla="*/ 1 w 47"/>
                <a:gd name="T13" fmla="*/ 1 h 70"/>
                <a:gd name="T14" fmla="*/ 1 w 47"/>
                <a:gd name="T15" fmla="*/ 1 h 70"/>
                <a:gd name="T16" fmla="*/ 1 w 47"/>
                <a:gd name="T17" fmla="*/ 1 h 70"/>
                <a:gd name="T18" fmla="*/ 1 w 47"/>
                <a:gd name="T19" fmla="*/ 1 h 70"/>
                <a:gd name="T20" fmla="*/ 1 w 47"/>
                <a:gd name="T21" fmla="*/ 1 h 70"/>
                <a:gd name="T22" fmla="*/ 1 w 47"/>
                <a:gd name="T23" fmla="*/ 1 h 70"/>
                <a:gd name="T24" fmla="*/ 1 w 47"/>
                <a:gd name="T25" fmla="*/ 0 h 70"/>
                <a:gd name="T26" fmla="*/ 0 w 47"/>
                <a:gd name="T27" fmla="*/ 0 h 7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7"/>
                <a:gd name="T43" fmla="*/ 0 h 70"/>
                <a:gd name="T44" fmla="*/ 47 w 47"/>
                <a:gd name="T45" fmla="*/ 70 h 7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7" h="70">
                  <a:moveTo>
                    <a:pt x="0" y="0"/>
                  </a:moveTo>
                  <a:lnTo>
                    <a:pt x="4" y="11"/>
                  </a:lnTo>
                  <a:lnTo>
                    <a:pt x="11" y="7"/>
                  </a:lnTo>
                  <a:lnTo>
                    <a:pt x="18" y="11"/>
                  </a:lnTo>
                  <a:lnTo>
                    <a:pt x="14" y="30"/>
                  </a:lnTo>
                  <a:lnTo>
                    <a:pt x="33" y="47"/>
                  </a:lnTo>
                  <a:lnTo>
                    <a:pt x="35" y="70"/>
                  </a:lnTo>
                  <a:lnTo>
                    <a:pt x="47" y="68"/>
                  </a:lnTo>
                  <a:lnTo>
                    <a:pt x="35" y="44"/>
                  </a:lnTo>
                  <a:lnTo>
                    <a:pt x="37" y="35"/>
                  </a:lnTo>
                  <a:lnTo>
                    <a:pt x="23" y="37"/>
                  </a:lnTo>
                  <a:lnTo>
                    <a:pt x="23" y="9"/>
                  </a:lnTo>
                  <a:lnTo>
                    <a:pt x="14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60" name="Freeform 609"/>
            <p:cNvSpPr>
              <a:spLocks/>
            </p:cNvSpPr>
            <p:nvPr/>
          </p:nvSpPr>
          <p:spPr bwMode="auto">
            <a:xfrm>
              <a:off x="4378" y="2966"/>
              <a:ext cx="32" cy="35"/>
            </a:xfrm>
            <a:custGeom>
              <a:avLst/>
              <a:gdLst>
                <a:gd name="T0" fmla="*/ 0 w 54"/>
                <a:gd name="T1" fmla="*/ 1 h 68"/>
                <a:gd name="T2" fmla="*/ 1 w 54"/>
                <a:gd name="T3" fmla="*/ 1 h 68"/>
                <a:gd name="T4" fmla="*/ 1 w 54"/>
                <a:gd name="T5" fmla="*/ 1 h 68"/>
                <a:gd name="T6" fmla="*/ 1 w 54"/>
                <a:gd name="T7" fmla="*/ 1 h 68"/>
                <a:gd name="T8" fmla="*/ 1 w 54"/>
                <a:gd name="T9" fmla="*/ 1 h 68"/>
                <a:gd name="T10" fmla="*/ 1 w 54"/>
                <a:gd name="T11" fmla="*/ 1 h 68"/>
                <a:gd name="T12" fmla="*/ 1 w 54"/>
                <a:gd name="T13" fmla="*/ 1 h 68"/>
                <a:gd name="T14" fmla="*/ 1 w 54"/>
                <a:gd name="T15" fmla="*/ 1 h 68"/>
                <a:gd name="T16" fmla="*/ 1 w 54"/>
                <a:gd name="T17" fmla="*/ 0 h 68"/>
                <a:gd name="T18" fmla="*/ 1 w 54"/>
                <a:gd name="T19" fmla="*/ 1 h 68"/>
                <a:gd name="T20" fmla="*/ 1 w 54"/>
                <a:gd name="T21" fmla="*/ 1 h 68"/>
                <a:gd name="T22" fmla="*/ 1 w 54"/>
                <a:gd name="T23" fmla="*/ 1 h 68"/>
                <a:gd name="T24" fmla="*/ 1 w 54"/>
                <a:gd name="T25" fmla="*/ 1 h 68"/>
                <a:gd name="T26" fmla="*/ 1 w 54"/>
                <a:gd name="T27" fmla="*/ 1 h 68"/>
                <a:gd name="T28" fmla="*/ 0 w 54"/>
                <a:gd name="T29" fmla="*/ 1 h 6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4"/>
                <a:gd name="T46" fmla="*/ 0 h 68"/>
                <a:gd name="T47" fmla="*/ 54 w 54"/>
                <a:gd name="T48" fmla="*/ 68 h 6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4" h="68">
                  <a:moveTo>
                    <a:pt x="0" y="38"/>
                  </a:moveTo>
                  <a:lnTo>
                    <a:pt x="2" y="66"/>
                  </a:lnTo>
                  <a:lnTo>
                    <a:pt x="24" y="68"/>
                  </a:lnTo>
                  <a:lnTo>
                    <a:pt x="33" y="66"/>
                  </a:lnTo>
                  <a:lnTo>
                    <a:pt x="43" y="54"/>
                  </a:lnTo>
                  <a:lnTo>
                    <a:pt x="43" y="45"/>
                  </a:lnTo>
                  <a:lnTo>
                    <a:pt x="54" y="38"/>
                  </a:lnTo>
                  <a:lnTo>
                    <a:pt x="43" y="21"/>
                  </a:lnTo>
                  <a:lnTo>
                    <a:pt x="52" y="0"/>
                  </a:lnTo>
                  <a:lnTo>
                    <a:pt x="28" y="7"/>
                  </a:lnTo>
                  <a:lnTo>
                    <a:pt x="28" y="12"/>
                  </a:lnTo>
                  <a:lnTo>
                    <a:pt x="24" y="9"/>
                  </a:lnTo>
                  <a:lnTo>
                    <a:pt x="19" y="19"/>
                  </a:lnTo>
                  <a:lnTo>
                    <a:pt x="7" y="21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61" name="Freeform 610"/>
            <p:cNvSpPr>
              <a:spLocks/>
            </p:cNvSpPr>
            <p:nvPr/>
          </p:nvSpPr>
          <p:spPr bwMode="auto">
            <a:xfrm>
              <a:off x="4513" y="2966"/>
              <a:ext cx="51" cy="20"/>
            </a:xfrm>
            <a:custGeom>
              <a:avLst/>
              <a:gdLst>
                <a:gd name="T0" fmla="*/ 0 w 87"/>
                <a:gd name="T1" fmla="*/ 1 h 40"/>
                <a:gd name="T2" fmla="*/ 1 w 87"/>
                <a:gd name="T3" fmla="*/ 1 h 40"/>
                <a:gd name="T4" fmla="*/ 1 w 87"/>
                <a:gd name="T5" fmla="*/ 1 h 40"/>
                <a:gd name="T6" fmla="*/ 1 w 87"/>
                <a:gd name="T7" fmla="*/ 1 h 40"/>
                <a:gd name="T8" fmla="*/ 1 w 87"/>
                <a:gd name="T9" fmla="*/ 1 h 40"/>
                <a:gd name="T10" fmla="*/ 2 w 87"/>
                <a:gd name="T11" fmla="*/ 1 h 40"/>
                <a:gd name="T12" fmla="*/ 2 w 87"/>
                <a:gd name="T13" fmla="*/ 0 h 40"/>
                <a:gd name="T14" fmla="*/ 1 w 87"/>
                <a:gd name="T15" fmla="*/ 1 h 40"/>
                <a:gd name="T16" fmla="*/ 1 w 87"/>
                <a:gd name="T17" fmla="*/ 0 h 40"/>
                <a:gd name="T18" fmla="*/ 1 w 87"/>
                <a:gd name="T19" fmla="*/ 1 h 40"/>
                <a:gd name="T20" fmla="*/ 0 w 87"/>
                <a:gd name="T21" fmla="*/ 1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7"/>
                <a:gd name="T34" fmla="*/ 0 h 40"/>
                <a:gd name="T35" fmla="*/ 87 w 87"/>
                <a:gd name="T36" fmla="*/ 40 h 4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7" h="40">
                  <a:moveTo>
                    <a:pt x="0" y="26"/>
                  </a:moveTo>
                  <a:lnTo>
                    <a:pt x="9" y="40"/>
                  </a:lnTo>
                  <a:lnTo>
                    <a:pt x="12" y="17"/>
                  </a:lnTo>
                  <a:lnTo>
                    <a:pt x="26" y="7"/>
                  </a:lnTo>
                  <a:lnTo>
                    <a:pt x="59" y="5"/>
                  </a:lnTo>
                  <a:lnTo>
                    <a:pt x="68" y="9"/>
                  </a:lnTo>
                  <a:lnTo>
                    <a:pt x="87" y="0"/>
                  </a:lnTo>
                  <a:lnTo>
                    <a:pt x="59" y="5"/>
                  </a:lnTo>
                  <a:lnTo>
                    <a:pt x="19" y="0"/>
                  </a:lnTo>
                  <a:lnTo>
                    <a:pt x="5" y="12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62" name="Freeform 611"/>
            <p:cNvSpPr>
              <a:spLocks/>
            </p:cNvSpPr>
            <p:nvPr/>
          </p:nvSpPr>
          <p:spPr bwMode="auto">
            <a:xfrm>
              <a:off x="4779" y="2854"/>
              <a:ext cx="55" cy="58"/>
            </a:xfrm>
            <a:custGeom>
              <a:avLst/>
              <a:gdLst>
                <a:gd name="T0" fmla="*/ 0 w 94"/>
                <a:gd name="T1" fmla="*/ 1 h 111"/>
                <a:gd name="T2" fmla="*/ 1 w 94"/>
                <a:gd name="T3" fmla="*/ 1 h 111"/>
                <a:gd name="T4" fmla="*/ 1 w 94"/>
                <a:gd name="T5" fmla="*/ 1 h 111"/>
                <a:gd name="T6" fmla="*/ 1 w 94"/>
                <a:gd name="T7" fmla="*/ 1 h 111"/>
                <a:gd name="T8" fmla="*/ 2 w 94"/>
                <a:gd name="T9" fmla="*/ 1 h 111"/>
                <a:gd name="T10" fmla="*/ 2 w 94"/>
                <a:gd name="T11" fmla="*/ 1 h 111"/>
                <a:gd name="T12" fmla="*/ 2 w 94"/>
                <a:gd name="T13" fmla="*/ 1 h 111"/>
                <a:gd name="T14" fmla="*/ 2 w 94"/>
                <a:gd name="T15" fmla="*/ 0 h 111"/>
                <a:gd name="T16" fmla="*/ 2 w 94"/>
                <a:gd name="T17" fmla="*/ 1 h 111"/>
                <a:gd name="T18" fmla="*/ 1 w 94"/>
                <a:gd name="T19" fmla="*/ 1 h 111"/>
                <a:gd name="T20" fmla="*/ 0 w 94"/>
                <a:gd name="T21" fmla="*/ 1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4"/>
                <a:gd name="T34" fmla="*/ 0 h 111"/>
                <a:gd name="T35" fmla="*/ 94 w 94"/>
                <a:gd name="T36" fmla="*/ 111 h 1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4" h="111">
                  <a:moveTo>
                    <a:pt x="0" y="106"/>
                  </a:moveTo>
                  <a:lnTo>
                    <a:pt x="14" y="111"/>
                  </a:lnTo>
                  <a:lnTo>
                    <a:pt x="35" y="104"/>
                  </a:lnTo>
                  <a:lnTo>
                    <a:pt x="40" y="92"/>
                  </a:lnTo>
                  <a:lnTo>
                    <a:pt x="63" y="80"/>
                  </a:lnTo>
                  <a:lnTo>
                    <a:pt x="87" y="47"/>
                  </a:lnTo>
                  <a:lnTo>
                    <a:pt x="94" y="5"/>
                  </a:lnTo>
                  <a:lnTo>
                    <a:pt x="89" y="0"/>
                  </a:lnTo>
                  <a:lnTo>
                    <a:pt x="68" y="47"/>
                  </a:lnTo>
                  <a:lnTo>
                    <a:pt x="26" y="99"/>
                  </a:lnTo>
                  <a:lnTo>
                    <a:pt x="0" y="106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63" name="Freeform 612"/>
            <p:cNvSpPr>
              <a:spLocks/>
            </p:cNvSpPr>
            <p:nvPr/>
          </p:nvSpPr>
          <p:spPr bwMode="auto">
            <a:xfrm>
              <a:off x="4129" y="2768"/>
              <a:ext cx="25" cy="25"/>
            </a:xfrm>
            <a:custGeom>
              <a:avLst/>
              <a:gdLst>
                <a:gd name="T0" fmla="*/ 0 w 42"/>
                <a:gd name="T1" fmla="*/ 1 h 49"/>
                <a:gd name="T2" fmla="*/ 1 w 42"/>
                <a:gd name="T3" fmla="*/ 1 h 49"/>
                <a:gd name="T4" fmla="*/ 1 w 42"/>
                <a:gd name="T5" fmla="*/ 1 h 49"/>
                <a:gd name="T6" fmla="*/ 1 w 42"/>
                <a:gd name="T7" fmla="*/ 1 h 49"/>
                <a:gd name="T8" fmla="*/ 1 w 42"/>
                <a:gd name="T9" fmla="*/ 1 h 49"/>
                <a:gd name="T10" fmla="*/ 1 w 42"/>
                <a:gd name="T11" fmla="*/ 1 h 49"/>
                <a:gd name="T12" fmla="*/ 1 w 42"/>
                <a:gd name="T13" fmla="*/ 1 h 49"/>
                <a:gd name="T14" fmla="*/ 1 w 42"/>
                <a:gd name="T15" fmla="*/ 0 h 49"/>
                <a:gd name="T16" fmla="*/ 1 w 42"/>
                <a:gd name="T17" fmla="*/ 0 h 49"/>
                <a:gd name="T18" fmla="*/ 0 w 42"/>
                <a:gd name="T19" fmla="*/ 1 h 4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2"/>
                <a:gd name="T31" fmla="*/ 0 h 49"/>
                <a:gd name="T32" fmla="*/ 42 w 42"/>
                <a:gd name="T33" fmla="*/ 49 h 4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2" h="49">
                  <a:moveTo>
                    <a:pt x="0" y="14"/>
                  </a:moveTo>
                  <a:lnTo>
                    <a:pt x="9" y="23"/>
                  </a:lnTo>
                  <a:lnTo>
                    <a:pt x="16" y="49"/>
                  </a:lnTo>
                  <a:lnTo>
                    <a:pt x="21" y="49"/>
                  </a:lnTo>
                  <a:lnTo>
                    <a:pt x="25" y="42"/>
                  </a:lnTo>
                  <a:lnTo>
                    <a:pt x="37" y="42"/>
                  </a:lnTo>
                  <a:lnTo>
                    <a:pt x="42" y="21"/>
                  </a:lnTo>
                  <a:lnTo>
                    <a:pt x="21" y="0"/>
                  </a:lnTo>
                  <a:lnTo>
                    <a:pt x="11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64" name="Freeform 613"/>
            <p:cNvSpPr>
              <a:spLocks/>
            </p:cNvSpPr>
            <p:nvPr/>
          </p:nvSpPr>
          <p:spPr bwMode="auto">
            <a:xfrm>
              <a:off x="4168" y="2745"/>
              <a:ext cx="17" cy="33"/>
            </a:xfrm>
            <a:custGeom>
              <a:avLst/>
              <a:gdLst>
                <a:gd name="T0" fmla="*/ 0 w 28"/>
                <a:gd name="T1" fmla="*/ 1 h 62"/>
                <a:gd name="T2" fmla="*/ 1 w 28"/>
                <a:gd name="T3" fmla="*/ 1 h 62"/>
                <a:gd name="T4" fmla="*/ 1 w 28"/>
                <a:gd name="T5" fmla="*/ 1 h 62"/>
                <a:gd name="T6" fmla="*/ 1 w 28"/>
                <a:gd name="T7" fmla="*/ 1 h 62"/>
                <a:gd name="T8" fmla="*/ 1 w 28"/>
                <a:gd name="T9" fmla="*/ 1 h 62"/>
                <a:gd name="T10" fmla="*/ 1 w 28"/>
                <a:gd name="T11" fmla="*/ 1 h 62"/>
                <a:gd name="T12" fmla="*/ 1 w 28"/>
                <a:gd name="T13" fmla="*/ 1 h 62"/>
                <a:gd name="T14" fmla="*/ 0 w 28"/>
                <a:gd name="T15" fmla="*/ 0 h 62"/>
                <a:gd name="T16" fmla="*/ 1 w 28"/>
                <a:gd name="T17" fmla="*/ 1 h 62"/>
                <a:gd name="T18" fmla="*/ 1 w 28"/>
                <a:gd name="T19" fmla="*/ 1 h 62"/>
                <a:gd name="T20" fmla="*/ 1 w 28"/>
                <a:gd name="T21" fmla="*/ 1 h 62"/>
                <a:gd name="T22" fmla="*/ 0 w 28"/>
                <a:gd name="T23" fmla="*/ 1 h 6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8"/>
                <a:gd name="T37" fmla="*/ 0 h 62"/>
                <a:gd name="T38" fmla="*/ 28 w 28"/>
                <a:gd name="T39" fmla="*/ 62 h 6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8" h="62">
                  <a:moveTo>
                    <a:pt x="0" y="36"/>
                  </a:moveTo>
                  <a:lnTo>
                    <a:pt x="16" y="50"/>
                  </a:lnTo>
                  <a:lnTo>
                    <a:pt x="16" y="62"/>
                  </a:lnTo>
                  <a:lnTo>
                    <a:pt x="28" y="57"/>
                  </a:lnTo>
                  <a:lnTo>
                    <a:pt x="19" y="29"/>
                  </a:lnTo>
                  <a:lnTo>
                    <a:pt x="21" y="14"/>
                  </a:lnTo>
                  <a:lnTo>
                    <a:pt x="11" y="7"/>
                  </a:lnTo>
                  <a:lnTo>
                    <a:pt x="0" y="0"/>
                  </a:lnTo>
                  <a:lnTo>
                    <a:pt x="14" y="12"/>
                  </a:lnTo>
                  <a:lnTo>
                    <a:pt x="14" y="24"/>
                  </a:lnTo>
                  <a:lnTo>
                    <a:pt x="2" y="24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65" name="Freeform 614"/>
            <p:cNvSpPr>
              <a:spLocks/>
            </p:cNvSpPr>
            <p:nvPr/>
          </p:nvSpPr>
          <p:spPr bwMode="auto">
            <a:xfrm>
              <a:off x="4094" y="3044"/>
              <a:ext cx="2" cy="4"/>
            </a:xfrm>
            <a:custGeom>
              <a:avLst/>
              <a:gdLst>
                <a:gd name="T0" fmla="*/ 0 w 3"/>
                <a:gd name="T1" fmla="*/ 1 h 7"/>
                <a:gd name="T2" fmla="*/ 1 w 3"/>
                <a:gd name="T3" fmla="*/ 0 h 7"/>
                <a:gd name="T4" fmla="*/ 1 w 3"/>
                <a:gd name="T5" fmla="*/ 1 h 7"/>
                <a:gd name="T6" fmla="*/ 0 60000 65536"/>
                <a:gd name="T7" fmla="*/ 0 60000 65536"/>
                <a:gd name="T8" fmla="*/ 0 60000 65536"/>
                <a:gd name="T9" fmla="*/ 0 w 3"/>
                <a:gd name="T10" fmla="*/ 0 h 7"/>
                <a:gd name="T11" fmla="*/ 3 w 3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7">
                  <a:moveTo>
                    <a:pt x="0" y="3"/>
                  </a:moveTo>
                  <a:lnTo>
                    <a:pt x="3" y="0"/>
                  </a:lnTo>
                  <a:lnTo>
                    <a:pt x="3" y="7"/>
                  </a:lnTo>
                </a:path>
              </a:pathLst>
            </a:custGeom>
            <a:solidFill>
              <a:srgbClr val="6AADE4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66" name="Freeform 615"/>
            <p:cNvSpPr>
              <a:spLocks/>
            </p:cNvSpPr>
            <p:nvPr/>
          </p:nvSpPr>
          <p:spPr bwMode="auto">
            <a:xfrm>
              <a:off x="4034" y="3009"/>
              <a:ext cx="16" cy="31"/>
            </a:xfrm>
            <a:custGeom>
              <a:avLst/>
              <a:gdLst>
                <a:gd name="T0" fmla="*/ 1 w 28"/>
                <a:gd name="T1" fmla="*/ 1 h 59"/>
                <a:gd name="T2" fmla="*/ 1 w 28"/>
                <a:gd name="T3" fmla="*/ 0 h 59"/>
                <a:gd name="T4" fmla="*/ 1 w 28"/>
                <a:gd name="T5" fmla="*/ 0 h 59"/>
                <a:gd name="T6" fmla="*/ 1 w 28"/>
                <a:gd name="T7" fmla="*/ 1 h 59"/>
                <a:gd name="T8" fmla="*/ 1 w 28"/>
                <a:gd name="T9" fmla="*/ 1 h 59"/>
                <a:gd name="T10" fmla="*/ 1 w 28"/>
                <a:gd name="T11" fmla="*/ 1 h 59"/>
                <a:gd name="T12" fmla="*/ 1 w 28"/>
                <a:gd name="T13" fmla="*/ 1 h 59"/>
                <a:gd name="T14" fmla="*/ 1 w 28"/>
                <a:gd name="T15" fmla="*/ 1 h 59"/>
                <a:gd name="T16" fmla="*/ 1 w 28"/>
                <a:gd name="T17" fmla="*/ 1 h 59"/>
                <a:gd name="T18" fmla="*/ 1 w 28"/>
                <a:gd name="T19" fmla="*/ 1 h 59"/>
                <a:gd name="T20" fmla="*/ 1 w 28"/>
                <a:gd name="T21" fmla="*/ 1 h 59"/>
                <a:gd name="T22" fmla="*/ 1 w 28"/>
                <a:gd name="T23" fmla="*/ 1 h 59"/>
                <a:gd name="T24" fmla="*/ 0 w 28"/>
                <a:gd name="T25" fmla="*/ 1 h 59"/>
                <a:gd name="T26" fmla="*/ 1 w 28"/>
                <a:gd name="T27" fmla="*/ 1 h 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8"/>
                <a:gd name="T43" fmla="*/ 0 h 59"/>
                <a:gd name="T44" fmla="*/ 28 w 28"/>
                <a:gd name="T45" fmla="*/ 59 h 5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8" h="59">
                  <a:moveTo>
                    <a:pt x="2" y="5"/>
                  </a:moveTo>
                  <a:lnTo>
                    <a:pt x="7" y="0"/>
                  </a:lnTo>
                  <a:lnTo>
                    <a:pt x="9" y="0"/>
                  </a:lnTo>
                  <a:lnTo>
                    <a:pt x="14" y="2"/>
                  </a:lnTo>
                  <a:lnTo>
                    <a:pt x="21" y="12"/>
                  </a:lnTo>
                  <a:lnTo>
                    <a:pt x="19" y="26"/>
                  </a:lnTo>
                  <a:lnTo>
                    <a:pt x="28" y="35"/>
                  </a:lnTo>
                  <a:lnTo>
                    <a:pt x="26" y="43"/>
                  </a:lnTo>
                  <a:lnTo>
                    <a:pt x="12" y="59"/>
                  </a:lnTo>
                  <a:lnTo>
                    <a:pt x="2" y="50"/>
                  </a:lnTo>
                  <a:lnTo>
                    <a:pt x="5" y="19"/>
                  </a:lnTo>
                  <a:lnTo>
                    <a:pt x="0" y="17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C0C0C0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67" name="Freeform 616"/>
            <p:cNvSpPr>
              <a:spLocks/>
            </p:cNvSpPr>
            <p:nvPr/>
          </p:nvSpPr>
          <p:spPr bwMode="auto">
            <a:xfrm>
              <a:off x="3984" y="2964"/>
              <a:ext cx="23" cy="14"/>
            </a:xfrm>
            <a:custGeom>
              <a:avLst/>
              <a:gdLst>
                <a:gd name="T0" fmla="*/ 1 w 40"/>
                <a:gd name="T1" fmla="*/ 1 h 26"/>
                <a:gd name="T2" fmla="*/ 1 w 40"/>
                <a:gd name="T3" fmla="*/ 1 h 26"/>
                <a:gd name="T4" fmla="*/ 1 w 40"/>
                <a:gd name="T5" fmla="*/ 1 h 26"/>
                <a:gd name="T6" fmla="*/ 1 w 40"/>
                <a:gd name="T7" fmla="*/ 1 h 26"/>
                <a:gd name="T8" fmla="*/ 1 w 40"/>
                <a:gd name="T9" fmla="*/ 1 h 26"/>
                <a:gd name="T10" fmla="*/ 0 w 40"/>
                <a:gd name="T11" fmla="*/ 1 h 26"/>
                <a:gd name="T12" fmla="*/ 1 w 40"/>
                <a:gd name="T13" fmla="*/ 1 h 26"/>
                <a:gd name="T14" fmla="*/ 1 w 40"/>
                <a:gd name="T15" fmla="*/ 0 h 26"/>
                <a:gd name="T16" fmla="*/ 1 w 40"/>
                <a:gd name="T17" fmla="*/ 1 h 26"/>
                <a:gd name="T18" fmla="*/ 1 w 40"/>
                <a:gd name="T19" fmla="*/ 1 h 2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26"/>
                <a:gd name="T32" fmla="*/ 40 w 40"/>
                <a:gd name="T33" fmla="*/ 26 h 2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26">
                  <a:moveTo>
                    <a:pt x="40" y="4"/>
                  </a:moveTo>
                  <a:lnTo>
                    <a:pt x="28" y="9"/>
                  </a:lnTo>
                  <a:lnTo>
                    <a:pt x="23" y="23"/>
                  </a:lnTo>
                  <a:lnTo>
                    <a:pt x="12" y="21"/>
                  </a:lnTo>
                  <a:lnTo>
                    <a:pt x="5" y="26"/>
                  </a:lnTo>
                  <a:lnTo>
                    <a:pt x="0" y="16"/>
                  </a:lnTo>
                  <a:lnTo>
                    <a:pt x="2" y="7"/>
                  </a:lnTo>
                  <a:lnTo>
                    <a:pt x="38" y="0"/>
                  </a:lnTo>
                  <a:lnTo>
                    <a:pt x="40" y="2"/>
                  </a:lnTo>
                  <a:lnTo>
                    <a:pt x="40" y="4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68" name="Freeform 617"/>
            <p:cNvSpPr>
              <a:spLocks/>
            </p:cNvSpPr>
            <p:nvPr/>
          </p:nvSpPr>
          <p:spPr bwMode="auto">
            <a:xfrm>
              <a:off x="3984" y="2966"/>
              <a:ext cx="52" cy="45"/>
            </a:xfrm>
            <a:custGeom>
              <a:avLst/>
              <a:gdLst>
                <a:gd name="T0" fmla="*/ 1 w 90"/>
                <a:gd name="T1" fmla="*/ 0 h 87"/>
                <a:gd name="T2" fmla="*/ 2 w 90"/>
                <a:gd name="T3" fmla="*/ 1 h 87"/>
                <a:gd name="T4" fmla="*/ 2 w 90"/>
                <a:gd name="T5" fmla="*/ 1 h 87"/>
                <a:gd name="T6" fmla="*/ 2 w 90"/>
                <a:gd name="T7" fmla="*/ 1 h 87"/>
                <a:gd name="T8" fmla="*/ 2 w 90"/>
                <a:gd name="T9" fmla="*/ 1 h 87"/>
                <a:gd name="T10" fmla="*/ 2 w 90"/>
                <a:gd name="T11" fmla="*/ 1 h 87"/>
                <a:gd name="T12" fmla="*/ 2 w 90"/>
                <a:gd name="T13" fmla="*/ 1 h 87"/>
                <a:gd name="T14" fmla="*/ 2 w 90"/>
                <a:gd name="T15" fmla="*/ 1 h 87"/>
                <a:gd name="T16" fmla="*/ 2 w 90"/>
                <a:gd name="T17" fmla="*/ 1 h 87"/>
                <a:gd name="T18" fmla="*/ 1 w 90"/>
                <a:gd name="T19" fmla="*/ 1 h 87"/>
                <a:gd name="T20" fmla="*/ 1 w 90"/>
                <a:gd name="T21" fmla="*/ 1 h 87"/>
                <a:gd name="T22" fmla="*/ 1 w 90"/>
                <a:gd name="T23" fmla="*/ 1 h 87"/>
                <a:gd name="T24" fmla="*/ 1 w 90"/>
                <a:gd name="T25" fmla="*/ 1 h 87"/>
                <a:gd name="T26" fmla="*/ 1 w 90"/>
                <a:gd name="T27" fmla="*/ 1 h 87"/>
                <a:gd name="T28" fmla="*/ 1 w 90"/>
                <a:gd name="T29" fmla="*/ 1 h 87"/>
                <a:gd name="T30" fmla="*/ 2 w 90"/>
                <a:gd name="T31" fmla="*/ 1 h 87"/>
                <a:gd name="T32" fmla="*/ 2 w 90"/>
                <a:gd name="T33" fmla="*/ 1 h 87"/>
                <a:gd name="T34" fmla="*/ 1 w 90"/>
                <a:gd name="T35" fmla="*/ 1 h 87"/>
                <a:gd name="T36" fmla="*/ 1 w 90"/>
                <a:gd name="T37" fmla="*/ 1 h 87"/>
                <a:gd name="T38" fmla="*/ 1 w 90"/>
                <a:gd name="T39" fmla="*/ 1 h 87"/>
                <a:gd name="T40" fmla="*/ 1 w 90"/>
                <a:gd name="T41" fmla="*/ 1 h 87"/>
                <a:gd name="T42" fmla="*/ 1 w 90"/>
                <a:gd name="T43" fmla="*/ 1 h 87"/>
                <a:gd name="T44" fmla="*/ 1 w 90"/>
                <a:gd name="T45" fmla="*/ 1 h 87"/>
                <a:gd name="T46" fmla="*/ 1 w 90"/>
                <a:gd name="T47" fmla="*/ 1 h 87"/>
                <a:gd name="T48" fmla="*/ 1 w 90"/>
                <a:gd name="T49" fmla="*/ 1 h 87"/>
                <a:gd name="T50" fmla="*/ 1 w 90"/>
                <a:gd name="T51" fmla="*/ 1 h 87"/>
                <a:gd name="T52" fmla="*/ 1 w 90"/>
                <a:gd name="T53" fmla="*/ 1 h 87"/>
                <a:gd name="T54" fmla="*/ 0 w 90"/>
                <a:gd name="T55" fmla="*/ 1 h 87"/>
                <a:gd name="T56" fmla="*/ 0 w 90"/>
                <a:gd name="T57" fmla="*/ 1 h 87"/>
                <a:gd name="T58" fmla="*/ 1 w 90"/>
                <a:gd name="T59" fmla="*/ 1 h 87"/>
                <a:gd name="T60" fmla="*/ 1 w 90"/>
                <a:gd name="T61" fmla="*/ 1 h 87"/>
                <a:gd name="T62" fmla="*/ 1 w 90"/>
                <a:gd name="T63" fmla="*/ 1 h 87"/>
                <a:gd name="T64" fmla="*/ 1 w 90"/>
                <a:gd name="T65" fmla="*/ 1 h 87"/>
                <a:gd name="T66" fmla="*/ 1 w 90"/>
                <a:gd name="T67" fmla="*/ 1 h 87"/>
                <a:gd name="T68" fmla="*/ 1 w 90"/>
                <a:gd name="T69" fmla="*/ 0 h 8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90"/>
                <a:gd name="T106" fmla="*/ 0 h 87"/>
                <a:gd name="T107" fmla="*/ 90 w 90"/>
                <a:gd name="T108" fmla="*/ 87 h 8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90" h="87">
                  <a:moveTo>
                    <a:pt x="40" y="0"/>
                  </a:moveTo>
                  <a:lnTo>
                    <a:pt x="66" y="21"/>
                  </a:lnTo>
                  <a:lnTo>
                    <a:pt x="80" y="19"/>
                  </a:lnTo>
                  <a:lnTo>
                    <a:pt x="80" y="26"/>
                  </a:lnTo>
                  <a:lnTo>
                    <a:pt x="90" y="31"/>
                  </a:lnTo>
                  <a:lnTo>
                    <a:pt x="85" y="33"/>
                  </a:lnTo>
                  <a:lnTo>
                    <a:pt x="83" y="38"/>
                  </a:lnTo>
                  <a:lnTo>
                    <a:pt x="80" y="38"/>
                  </a:lnTo>
                  <a:lnTo>
                    <a:pt x="75" y="33"/>
                  </a:lnTo>
                  <a:lnTo>
                    <a:pt x="49" y="26"/>
                  </a:lnTo>
                  <a:lnTo>
                    <a:pt x="40" y="33"/>
                  </a:lnTo>
                  <a:lnTo>
                    <a:pt x="35" y="26"/>
                  </a:lnTo>
                  <a:lnTo>
                    <a:pt x="31" y="35"/>
                  </a:lnTo>
                  <a:lnTo>
                    <a:pt x="35" y="40"/>
                  </a:lnTo>
                  <a:lnTo>
                    <a:pt x="54" y="68"/>
                  </a:lnTo>
                  <a:lnTo>
                    <a:pt x="73" y="83"/>
                  </a:lnTo>
                  <a:lnTo>
                    <a:pt x="71" y="87"/>
                  </a:lnTo>
                  <a:lnTo>
                    <a:pt x="49" y="71"/>
                  </a:lnTo>
                  <a:lnTo>
                    <a:pt x="35" y="68"/>
                  </a:lnTo>
                  <a:lnTo>
                    <a:pt x="23" y="54"/>
                  </a:lnTo>
                  <a:lnTo>
                    <a:pt x="28" y="50"/>
                  </a:lnTo>
                  <a:lnTo>
                    <a:pt x="21" y="47"/>
                  </a:lnTo>
                  <a:lnTo>
                    <a:pt x="19" y="35"/>
                  </a:lnTo>
                  <a:lnTo>
                    <a:pt x="14" y="31"/>
                  </a:lnTo>
                  <a:lnTo>
                    <a:pt x="12" y="31"/>
                  </a:lnTo>
                  <a:lnTo>
                    <a:pt x="5" y="40"/>
                  </a:lnTo>
                  <a:lnTo>
                    <a:pt x="5" y="38"/>
                  </a:lnTo>
                  <a:lnTo>
                    <a:pt x="0" y="31"/>
                  </a:lnTo>
                  <a:lnTo>
                    <a:pt x="0" y="24"/>
                  </a:lnTo>
                  <a:lnTo>
                    <a:pt x="5" y="24"/>
                  </a:lnTo>
                  <a:lnTo>
                    <a:pt x="12" y="19"/>
                  </a:lnTo>
                  <a:lnTo>
                    <a:pt x="23" y="21"/>
                  </a:lnTo>
                  <a:lnTo>
                    <a:pt x="28" y="7"/>
                  </a:lnTo>
                  <a:lnTo>
                    <a:pt x="40" y="2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69" name="Freeform 618"/>
            <p:cNvSpPr>
              <a:spLocks/>
            </p:cNvSpPr>
            <p:nvPr/>
          </p:nvSpPr>
          <p:spPr bwMode="auto">
            <a:xfrm>
              <a:off x="4026" y="2973"/>
              <a:ext cx="39" cy="45"/>
            </a:xfrm>
            <a:custGeom>
              <a:avLst/>
              <a:gdLst>
                <a:gd name="T0" fmla="*/ 0 w 356"/>
                <a:gd name="T1" fmla="*/ 0 h 411"/>
                <a:gd name="T2" fmla="*/ 0 w 356"/>
                <a:gd name="T3" fmla="*/ 0 h 411"/>
                <a:gd name="T4" fmla="*/ 0 w 356"/>
                <a:gd name="T5" fmla="*/ 0 h 411"/>
                <a:gd name="T6" fmla="*/ 0 w 356"/>
                <a:gd name="T7" fmla="*/ 0 h 411"/>
                <a:gd name="T8" fmla="*/ 0 w 356"/>
                <a:gd name="T9" fmla="*/ 0 h 411"/>
                <a:gd name="T10" fmla="*/ 0 w 356"/>
                <a:gd name="T11" fmla="*/ 0 h 411"/>
                <a:gd name="T12" fmla="*/ 0 w 356"/>
                <a:gd name="T13" fmla="*/ 0 h 411"/>
                <a:gd name="T14" fmla="*/ 0 w 356"/>
                <a:gd name="T15" fmla="*/ 0 h 411"/>
                <a:gd name="T16" fmla="*/ 0 w 356"/>
                <a:gd name="T17" fmla="*/ 0 h 411"/>
                <a:gd name="T18" fmla="*/ 0 w 356"/>
                <a:gd name="T19" fmla="*/ 0 h 411"/>
                <a:gd name="T20" fmla="*/ 0 w 356"/>
                <a:gd name="T21" fmla="*/ 0 h 411"/>
                <a:gd name="T22" fmla="*/ 0 w 356"/>
                <a:gd name="T23" fmla="*/ 0 h 411"/>
                <a:gd name="T24" fmla="*/ 0 w 356"/>
                <a:gd name="T25" fmla="*/ 0 h 411"/>
                <a:gd name="T26" fmla="*/ 0 w 356"/>
                <a:gd name="T27" fmla="*/ 0 h 411"/>
                <a:gd name="T28" fmla="*/ 0 w 356"/>
                <a:gd name="T29" fmla="*/ 0 h 411"/>
                <a:gd name="T30" fmla="*/ 0 w 356"/>
                <a:gd name="T31" fmla="*/ 0 h 411"/>
                <a:gd name="T32" fmla="*/ 0 w 356"/>
                <a:gd name="T33" fmla="*/ 0 h 411"/>
                <a:gd name="T34" fmla="*/ 0 w 356"/>
                <a:gd name="T35" fmla="*/ 0 h 411"/>
                <a:gd name="T36" fmla="*/ 0 w 356"/>
                <a:gd name="T37" fmla="*/ 0 h 411"/>
                <a:gd name="T38" fmla="*/ 0 w 356"/>
                <a:gd name="T39" fmla="*/ 0 h 411"/>
                <a:gd name="T40" fmla="*/ 0 w 356"/>
                <a:gd name="T41" fmla="*/ 0 h 411"/>
                <a:gd name="T42" fmla="*/ 0 w 356"/>
                <a:gd name="T43" fmla="*/ 0 h 411"/>
                <a:gd name="T44" fmla="*/ 0 w 356"/>
                <a:gd name="T45" fmla="*/ 0 h 411"/>
                <a:gd name="T46" fmla="*/ 0 w 356"/>
                <a:gd name="T47" fmla="*/ 0 h 411"/>
                <a:gd name="T48" fmla="*/ 0 w 356"/>
                <a:gd name="T49" fmla="*/ 0 h 411"/>
                <a:gd name="T50" fmla="*/ 0 w 356"/>
                <a:gd name="T51" fmla="*/ 0 h 411"/>
                <a:gd name="T52" fmla="*/ 0 w 356"/>
                <a:gd name="T53" fmla="*/ 0 h 411"/>
                <a:gd name="T54" fmla="*/ 0 w 356"/>
                <a:gd name="T55" fmla="*/ 0 h 411"/>
                <a:gd name="T56" fmla="*/ 0 w 356"/>
                <a:gd name="T57" fmla="*/ 0 h 411"/>
                <a:gd name="T58" fmla="*/ 0 w 356"/>
                <a:gd name="T59" fmla="*/ 0 h 411"/>
                <a:gd name="T60" fmla="*/ 0 w 356"/>
                <a:gd name="T61" fmla="*/ 0 h 411"/>
                <a:gd name="T62" fmla="*/ 0 w 356"/>
                <a:gd name="T63" fmla="*/ 0 h 411"/>
                <a:gd name="T64" fmla="*/ 0 w 356"/>
                <a:gd name="T65" fmla="*/ 0 h 411"/>
                <a:gd name="T66" fmla="*/ 0 w 356"/>
                <a:gd name="T67" fmla="*/ 0 h 411"/>
                <a:gd name="T68" fmla="*/ 0 w 356"/>
                <a:gd name="T69" fmla="*/ 0 h 411"/>
                <a:gd name="T70" fmla="*/ 0 w 356"/>
                <a:gd name="T71" fmla="*/ 0 h 4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56"/>
                <a:gd name="T109" fmla="*/ 0 h 411"/>
                <a:gd name="T110" fmla="*/ 356 w 356"/>
                <a:gd name="T111" fmla="*/ 411 h 4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56" h="411">
                  <a:moveTo>
                    <a:pt x="63" y="111"/>
                  </a:moveTo>
                  <a:lnTo>
                    <a:pt x="73" y="88"/>
                  </a:lnTo>
                  <a:lnTo>
                    <a:pt x="99" y="79"/>
                  </a:lnTo>
                  <a:lnTo>
                    <a:pt x="47" y="56"/>
                  </a:lnTo>
                  <a:lnTo>
                    <a:pt x="47" y="23"/>
                  </a:lnTo>
                  <a:lnTo>
                    <a:pt x="147" y="0"/>
                  </a:lnTo>
                  <a:lnTo>
                    <a:pt x="246" y="121"/>
                  </a:lnTo>
                  <a:lnTo>
                    <a:pt x="319" y="144"/>
                  </a:lnTo>
                  <a:lnTo>
                    <a:pt x="346" y="186"/>
                  </a:lnTo>
                  <a:lnTo>
                    <a:pt x="319" y="232"/>
                  </a:lnTo>
                  <a:lnTo>
                    <a:pt x="356" y="288"/>
                  </a:lnTo>
                  <a:lnTo>
                    <a:pt x="319" y="329"/>
                  </a:lnTo>
                  <a:lnTo>
                    <a:pt x="319" y="353"/>
                  </a:lnTo>
                  <a:lnTo>
                    <a:pt x="246" y="353"/>
                  </a:lnTo>
                  <a:lnTo>
                    <a:pt x="183" y="385"/>
                  </a:lnTo>
                  <a:lnTo>
                    <a:pt x="147" y="339"/>
                  </a:lnTo>
                  <a:lnTo>
                    <a:pt x="120" y="329"/>
                  </a:lnTo>
                  <a:lnTo>
                    <a:pt x="108" y="331"/>
                  </a:lnTo>
                  <a:lnTo>
                    <a:pt x="84" y="351"/>
                  </a:lnTo>
                  <a:lnTo>
                    <a:pt x="70" y="411"/>
                  </a:lnTo>
                  <a:lnTo>
                    <a:pt x="0" y="342"/>
                  </a:lnTo>
                  <a:lnTo>
                    <a:pt x="10" y="322"/>
                  </a:lnTo>
                  <a:lnTo>
                    <a:pt x="1" y="289"/>
                  </a:lnTo>
                  <a:lnTo>
                    <a:pt x="22" y="277"/>
                  </a:lnTo>
                  <a:lnTo>
                    <a:pt x="10" y="253"/>
                  </a:lnTo>
                  <a:lnTo>
                    <a:pt x="19" y="241"/>
                  </a:lnTo>
                  <a:lnTo>
                    <a:pt x="49" y="252"/>
                  </a:lnTo>
                  <a:lnTo>
                    <a:pt x="48" y="243"/>
                  </a:lnTo>
                  <a:lnTo>
                    <a:pt x="73" y="241"/>
                  </a:lnTo>
                  <a:lnTo>
                    <a:pt x="84" y="232"/>
                  </a:lnTo>
                  <a:lnTo>
                    <a:pt x="73" y="199"/>
                  </a:lnTo>
                  <a:lnTo>
                    <a:pt x="99" y="199"/>
                  </a:lnTo>
                  <a:lnTo>
                    <a:pt x="99" y="186"/>
                  </a:lnTo>
                  <a:lnTo>
                    <a:pt x="63" y="167"/>
                  </a:lnTo>
                  <a:lnTo>
                    <a:pt x="84" y="111"/>
                  </a:lnTo>
                  <a:lnTo>
                    <a:pt x="63" y="111"/>
                  </a:lnTo>
                  <a:close/>
                </a:path>
              </a:pathLst>
            </a:custGeom>
            <a:solidFill>
              <a:srgbClr val="124570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70" name="Freeform 619"/>
            <p:cNvSpPr>
              <a:spLocks/>
            </p:cNvSpPr>
            <p:nvPr/>
          </p:nvSpPr>
          <p:spPr bwMode="auto">
            <a:xfrm>
              <a:off x="4045" y="3012"/>
              <a:ext cx="20" cy="15"/>
            </a:xfrm>
            <a:custGeom>
              <a:avLst/>
              <a:gdLst>
                <a:gd name="T0" fmla="*/ 1 w 35"/>
                <a:gd name="T1" fmla="*/ 1 h 30"/>
                <a:gd name="T2" fmla="*/ 0 w 35"/>
                <a:gd name="T3" fmla="*/ 1 h 30"/>
                <a:gd name="T4" fmla="*/ 1 w 35"/>
                <a:gd name="T5" fmla="*/ 1 h 30"/>
                <a:gd name="T6" fmla="*/ 1 w 35"/>
                <a:gd name="T7" fmla="*/ 0 h 30"/>
                <a:gd name="T8" fmla="*/ 1 w 35"/>
                <a:gd name="T9" fmla="*/ 0 h 30"/>
                <a:gd name="T10" fmla="*/ 1 w 35"/>
                <a:gd name="T11" fmla="*/ 1 h 30"/>
                <a:gd name="T12" fmla="*/ 1 w 35"/>
                <a:gd name="T13" fmla="*/ 1 h 30"/>
                <a:gd name="T14" fmla="*/ 1 w 35"/>
                <a:gd name="T15" fmla="*/ 1 h 30"/>
                <a:gd name="T16" fmla="*/ 1 w 35"/>
                <a:gd name="T17" fmla="*/ 1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5"/>
                <a:gd name="T28" fmla="*/ 0 h 30"/>
                <a:gd name="T29" fmla="*/ 35 w 35"/>
                <a:gd name="T30" fmla="*/ 30 h 3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5" h="30">
                  <a:moveTo>
                    <a:pt x="9" y="30"/>
                  </a:moveTo>
                  <a:lnTo>
                    <a:pt x="0" y="21"/>
                  </a:lnTo>
                  <a:lnTo>
                    <a:pt x="2" y="7"/>
                  </a:lnTo>
                  <a:lnTo>
                    <a:pt x="14" y="0"/>
                  </a:lnTo>
                  <a:lnTo>
                    <a:pt x="28" y="0"/>
                  </a:lnTo>
                  <a:lnTo>
                    <a:pt x="28" y="2"/>
                  </a:lnTo>
                  <a:lnTo>
                    <a:pt x="35" y="9"/>
                  </a:lnTo>
                  <a:lnTo>
                    <a:pt x="35" y="21"/>
                  </a:lnTo>
                  <a:lnTo>
                    <a:pt x="9" y="30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71" name="Line 620"/>
            <p:cNvSpPr>
              <a:spLocks noChangeShapeType="1"/>
            </p:cNvSpPr>
            <p:nvPr/>
          </p:nvSpPr>
          <p:spPr bwMode="auto">
            <a:xfrm>
              <a:off x="3956" y="3009"/>
              <a:ext cx="0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72" name="Line 621"/>
            <p:cNvSpPr>
              <a:spLocks noChangeShapeType="1"/>
            </p:cNvSpPr>
            <p:nvPr/>
          </p:nvSpPr>
          <p:spPr bwMode="auto">
            <a:xfrm>
              <a:off x="3956" y="3009"/>
              <a:ext cx="0" cy="0"/>
            </a:xfrm>
            <a:prstGeom prst="line">
              <a:avLst/>
            </a:prstGeom>
            <a:noFill/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73" name="Freeform 622"/>
            <p:cNvSpPr>
              <a:spLocks/>
            </p:cNvSpPr>
            <p:nvPr/>
          </p:nvSpPr>
          <p:spPr bwMode="auto">
            <a:xfrm>
              <a:off x="4002" y="2979"/>
              <a:ext cx="35" cy="29"/>
            </a:xfrm>
            <a:custGeom>
              <a:avLst/>
              <a:gdLst>
                <a:gd name="T0" fmla="*/ 0 w 315"/>
                <a:gd name="T1" fmla="*/ 0 h 272"/>
                <a:gd name="T2" fmla="*/ 0 w 315"/>
                <a:gd name="T3" fmla="*/ 0 h 272"/>
                <a:gd name="T4" fmla="*/ 0 w 315"/>
                <a:gd name="T5" fmla="*/ 0 h 272"/>
                <a:gd name="T6" fmla="*/ 0 w 315"/>
                <a:gd name="T7" fmla="*/ 0 h 272"/>
                <a:gd name="T8" fmla="*/ 0 w 315"/>
                <a:gd name="T9" fmla="*/ 0 h 272"/>
                <a:gd name="T10" fmla="*/ 0 w 315"/>
                <a:gd name="T11" fmla="*/ 0 h 272"/>
                <a:gd name="T12" fmla="*/ 0 w 315"/>
                <a:gd name="T13" fmla="*/ 0 h 272"/>
                <a:gd name="T14" fmla="*/ 0 w 315"/>
                <a:gd name="T15" fmla="*/ 0 h 272"/>
                <a:gd name="T16" fmla="*/ 0 w 315"/>
                <a:gd name="T17" fmla="*/ 0 h 272"/>
                <a:gd name="T18" fmla="*/ 0 w 315"/>
                <a:gd name="T19" fmla="*/ 0 h 272"/>
                <a:gd name="T20" fmla="*/ 0 w 315"/>
                <a:gd name="T21" fmla="*/ 0 h 272"/>
                <a:gd name="T22" fmla="*/ 0 w 315"/>
                <a:gd name="T23" fmla="*/ 0 h 272"/>
                <a:gd name="T24" fmla="*/ 0 w 315"/>
                <a:gd name="T25" fmla="*/ 0 h 272"/>
                <a:gd name="T26" fmla="*/ 0 w 315"/>
                <a:gd name="T27" fmla="*/ 0 h 272"/>
                <a:gd name="T28" fmla="*/ 0 w 315"/>
                <a:gd name="T29" fmla="*/ 0 h 272"/>
                <a:gd name="T30" fmla="*/ 0 w 315"/>
                <a:gd name="T31" fmla="*/ 0 h 272"/>
                <a:gd name="T32" fmla="*/ 0 w 315"/>
                <a:gd name="T33" fmla="*/ 0 h 272"/>
                <a:gd name="T34" fmla="*/ 0 w 315"/>
                <a:gd name="T35" fmla="*/ 0 h 272"/>
                <a:gd name="T36" fmla="*/ 0 w 315"/>
                <a:gd name="T37" fmla="*/ 0 h 272"/>
                <a:gd name="T38" fmla="*/ 0 w 315"/>
                <a:gd name="T39" fmla="*/ 0 h 272"/>
                <a:gd name="T40" fmla="*/ 0 w 315"/>
                <a:gd name="T41" fmla="*/ 0 h 272"/>
                <a:gd name="T42" fmla="*/ 0 w 315"/>
                <a:gd name="T43" fmla="*/ 0 h 27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15"/>
                <a:gd name="T67" fmla="*/ 0 h 272"/>
                <a:gd name="T68" fmla="*/ 315 w 315"/>
                <a:gd name="T69" fmla="*/ 272 h 27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15" h="272">
                  <a:moveTo>
                    <a:pt x="220" y="272"/>
                  </a:moveTo>
                  <a:lnTo>
                    <a:pt x="123" y="200"/>
                  </a:lnTo>
                  <a:lnTo>
                    <a:pt x="0" y="47"/>
                  </a:lnTo>
                  <a:lnTo>
                    <a:pt x="22" y="2"/>
                  </a:lnTo>
                  <a:lnTo>
                    <a:pt x="49" y="35"/>
                  </a:lnTo>
                  <a:lnTo>
                    <a:pt x="96" y="0"/>
                  </a:lnTo>
                  <a:lnTo>
                    <a:pt x="235" y="35"/>
                  </a:lnTo>
                  <a:lnTo>
                    <a:pt x="258" y="59"/>
                  </a:lnTo>
                  <a:lnTo>
                    <a:pt x="297" y="56"/>
                  </a:lnTo>
                  <a:lnTo>
                    <a:pt x="282" y="114"/>
                  </a:lnTo>
                  <a:lnTo>
                    <a:pt x="315" y="129"/>
                  </a:lnTo>
                  <a:lnTo>
                    <a:pt x="313" y="150"/>
                  </a:lnTo>
                  <a:lnTo>
                    <a:pt x="291" y="152"/>
                  </a:lnTo>
                  <a:lnTo>
                    <a:pt x="300" y="182"/>
                  </a:lnTo>
                  <a:lnTo>
                    <a:pt x="288" y="195"/>
                  </a:lnTo>
                  <a:lnTo>
                    <a:pt x="264" y="194"/>
                  </a:lnTo>
                  <a:lnTo>
                    <a:pt x="261" y="204"/>
                  </a:lnTo>
                  <a:lnTo>
                    <a:pt x="234" y="194"/>
                  </a:lnTo>
                  <a:lnTo>
                    <a:pt x="226" y="200"/>
                  </a:lnTo>
                  <a:lnTo>
                    <a:pt x="238" y="225"/>
                  </a:lnTo>
                  <a:lnTo>
                    <a:pt x="219" y="236"/>
                  </a:lnTo>
                  <a:lnTo>
                    <a:pt x="220" y="27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74" name="Freeform 623"/>
            <p:cNvSpPr>
              <a:spLocks/>
            </p:cNvSpPr>
            <p:nvPr/>
          </p:nvSpPr>
          <p:spPr bwMode="auto">
            <a:xfrm>
              <a:off x="4492" y="3400"/>
              <a:ext cx="16" cy="16"/>
            </a:xfrm>
            <a:custGeom>
              <a:avLst/>
              <a:gdLst>
                <a:gd name="T0" fmla="*/ 0 w 31"/>
                <a:gd name="T1" fmla="*/ 0 h 57"/>
                <a:gd name="T2" fmla="*/ 1 w 31"/>
                <a:gd name="T3" fmla="*/ 0 h 57"/>
                <a:gd name="T4" fmla="*/ 1 w 31"/>
                <a:gd name="T5" fmla="*/ 0 h 57"/>
                <a:gd name="T6" fmla="*/ 1 w 31"/>
                <a:gd name="T7" fmla="*/ 0 h 57"/>
                <a:gd name="T8" fmla="*/ 1 w 31"/>
                <a:gd name="T9" fmla="*/ 0 h 57"/>
                <a:gd name="T10" fmla="*/ 1 w 31"/>
                <a:gd name="T11" fmla="*/ 0 h 57"/>
                <a:gd name="T12" fmla="*/ 0 w 31"/>
                <a:gd name="T13" fmla="*/ 0 h 5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1"/>
                <a:gd name="T22" fmla="*/ 0 h 57"/>
                <a:gd name="T23" fmla="*/ 31 w 31"/>
                <a:gd name="T24" fmla="*/ 57 h 5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1" h="57">
                  <a:moveTo>
                    <a:pt x="0" y="26"/>
                  </a:moveTo>
                  <a:lnTo>
                    <a:pt x="7" y="57"/>
                  </a:lnTo>
                  <a:lnTo>
                    <a:pt x="29" y="50"/>
                  </a:lnTo>
                  <a:lnTo>
                    <a:pt x="31" y="33"/>
                  </a:lnTo>
                  <a:lnTo>
                    <a:pt x="12" y="5"/>
                  </a:lnTo>
                  <a:lnTo>
                    <a:pt x="5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75" name="Freeform 624"/>
            <p:cNvSpPr>
              <a:spLocks/>
            </p:cNvSpPr>
            <p:nvPr/>
          </p:nvSpPr>
          <p:spPr bwMode="auto">
            <a:xfrm>
              <a:off x="5065" y="3239"/>
              <a:ext cx="12" cy="25"/>
            </a:xfrm>
            <a:custGeom>
              <a:avLst/>
              <a:gdLst>
                <a:gd name="T0" fmla="*/ 0 w 19"/>
                <a:gd name="T1" fmla="*/ 1 h 48"/>
                <a:gd name="T2" fmla="*/ 1 w 19"/>
                <a:gd name="T3" fmla="*/ 1 h 48"/>
                <a:gd name="T4" fmla="*/ 1 w 19"/>
                <a:gd name="T5" fmla="*/ 1 h 48"/>
                <a:gd name="T6" fmla="*/ 1 w 19"/>
                <a:gd name="T7" fmla="*/ 1 h 48"/>
                <a:gd name="T8" fmla="*/ 1 w 19"/>
                <a:gd name="T9" fmla="*/ 1 h 48"/>
                <a:gd name="T10" fmla="*/ 1 w 19"/>
                <a:gd name="T11" fmla="*/ 1 h 48"/>
                <a:gd name="T12" fmla="*/ 1 w 19"/>
                <a:gd name="T13" fmla="*/ 1 h 48"/>
                <a:gd name="T14" fmla="*/ 1 w 19"/>
                <a:gd name="T15" fmla="*/ 1 h 48"/>
                <a:gd name="T16" fmla="*/ 1 w 19"/>
                <a:gd name="T17" fmla="*/ 1 h 48"/>
                <a:gd name="T18" fmla="*/ 1 w 19"/>
                <a:gd name="T19" fmla="*/ 1 h 48"/>
                <a:gd name="T20" fmla="*/ 1 w 19"/>
                <a:gd name="T21" fmla="*/ 0 h 48"/>
                <a:gd name="T22" fmla="*/ 0 w 19"/>
                <a:gd name="T23" fmla="*/ 1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9"/>
                <a:gd name="T37" fmla="*/ 0 h 48"/>
                <a:gd name="T38" fmla="*/ 19 w 19"/>
                <a:gd name="T39" fmla="*/ 48 h 4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9" h="48">
                  <a:moveTo>
                    <a:pt x="0" y="17"/>
                  </a:moveTo>
                  <a:lnTo>
                    <a:pt x="5" y="36"/>
                  </a:lnTo>
                  <a:lnTo>
                    <a:pt x="16" y="48"/>
                  </a:lnTo>
                  <a:lnTo>
                    <a:pt x="9" y="34"/>
                  </a:lnTo>
                  <a:lnTo>
                    <a:pt x="9" y="26"/>
                  </a:lnTo>
                  <a:lnTo>
                    <a:pt x="19" y="26"/>
                  </a:lnTo>
                  <a:lnTo>
                    <a:pt x="14" y="22"/>
                  </a:lnTo>
                  <a:lnTo>
                    <a:pt x="19" y="17"/>
                  </a:lnTo>
                  <a:lnTo>
                    <a:pt x="19" y="10"/>
                  </a:lnTo>
                  <a:lnTo>
                    <a:pt x="12" y="15"/>
                  </a:lnTo>
                  <a:lnTo>
                    <a:pt x="9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accent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76" name="Freeform 625"/>
            <p:cNvSpPr>
              <a:spLocks/>
            </p:cNvSpPr>
            <p:nvPr/>
          </p:nvSpPr>
          <p:spPr bwMode="auto">
            <a:xfrm>
              <a:off x="4039" y="3001"/>
              <a:ext cx="16" cy="11"/>
            </a:xfrm>
            <a:custGeom>
              <a:avLst/>
              <a:gdLst>
                <a:gd name="T0" fmla="*/ 1 w 27"/>
                <a:gd name="T1" fmla="*/ 1 h 19"/>
                <a:gd name="T2" fmla="*/ 0 w 27"/>
                <a:gd name="T3" fmla="*/ 1 h 19"/>
                <a:gd name="T4" fmla="*/ 1 w 27"/>
                <a:gd name="T5" fmla="*/ 0 h 19"/>
                <a:gd name="T6" fmla="*/ 1 w 27"/>
                <a:gd name="T7" fmla="*/ 1 h 19"/>
                <a:gd name="T8" fmla="*/ 1 w 27"/>
                <a:gd name="T9" fmla="*/ 1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"/>
                <a:gd name="T16" fmla="*/ 0 h 19"/>
                <a:gd name="T17" fmla="*/ 27 w 27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" h="19">
                  <a:moveTo>
                    <a:pt x="12" y="19"/>
                  </a:moveTo>
                  <a:lnTo>
                    <a:pt x="0" y="12"/>
                  </a:lnTo>
                  <a:lnTo>
                    <a:pt x="12" y="0"/>
                  </a:lnTo>
                  <a:lnTo>
                    <a:pt x="27" y="13"/>
                  </a:lnTo>
                  <a:lnTo>
                    <a:pt x="12" y="1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77" name="Freeform 626"/>
            <p:cNvSpPr>
              <a:spLocks/>
            </p:cNvSpPr>
            <p:nvPr/>
          </p:nvSpPr>
          <p:spPr bwMode="auto">
            <a:xfrm>
              <a:off x="3989" y="3069"/>
              <a:ext cx="10" cy="8"/>
            </a:xfrm>
            <a:custGeom>
              <a:avLst/>
              <a:gdLst>
                <a:gd name="T0" fmla="*/ 0 w 17"/>
                <a:gd name="T1" fmla="*/ 1 h 15"/>
                <a:gd name="T2" fmla="*/ 1 w 17"/>
                <a:gd name="T3" fmla="*/ 1 h 15"/>
                <a:gd name="T4" fmla="*/ 1 w 17"/>
                <a:gd name="T5" fmla="*/ 1 h 15"/>
                <a:gd name="T6" fmla="*/ 1 w 17"/>
                <a:gd name="T7" fmla="*/ 0 h 15"/>
                <a:gd name="T8" fmla="*/ 0 w 17"/>
                <a:gd name="T9" fmla="*/ 1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5"/>
                <a:gd name="T17" fmla="*/ 17 w 17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5">
                  <a:moveTo>
                    <a:pt x="0" y="7"/>
                  </a:moveTo>
                  <a:lnTo>
                    <a:pt x="12" y="15"/>
                  </a:lnTo>
                  <a:lnTo>
                    <a:pt x="17" y="5"/>
                  </a:lnTo>
                  <a:lnTo>
                    <a:pt x="10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6AADE4"/>
            </a:solidFill>
            <a:ln w="9525" cap="rnd">
              <a:solidFill>
                <a:srgbClr val="F9F9F9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78" name="Freeform 627"/>
            <p:cNvSpPr>
              <a:spLocks/>
            </p:cNvSpPr>
            <p:nvPr/>
          </p:nvSpPr>
          <p:spPr bwMode="auto">
            <a:xfrm>
              <a:off x="3235" y="3279"/>
              <a:ext cx="6" cy="3"/>
            </a:xfrm>
            <a:custGeom>
              <a:avLst/>
              <a:gdLst>
                <a:gd name="T0" fmla="*/ 0 w 10"/>
                <a:gd name="T1" fmla="*/ 0 h 5"/>
                <a:gd name="T2" fmla="*/ 1 w 10"/>
                <a:gd name="T3" fmla="*/ 1 h 5"/>
                <a:gd name="T4" fmla="*/ 1 w 10"/>
                <a:gd name="T5" fmla="*/ 0 h 5"/>
                <a:gd name="T6" fmla="*/ 0 w 10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5"/>
                <a:gd name="T14" fmla="*/ 10 w 10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5">
                  <a:moveTo>
                    <a:pt x="0" y="0"/>
                  </a:moveTo>
                  <a:lnTo>
                    <a:pt x="3" y="5"/>
                  </a:lnTo>
                  <a:lnTo>
                    <a:pt x="1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lIns="27432" tIns="27432" rIns="27432" bIns="27432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579" name="Freeform 628"/>
            <p:cNvSpPr>
              <a:spLocks/>
            </p:cNvSpPr>
            <p:nvPr/>
          </p:nvSpPr>
          <p:spPr bwMode="auto">
            <a:xfrm>
              <a:off x="4319" y="3172"/>
              <a:ext cx="9" cy="16"/>
            </a:xfrm>
            <a:custGeom>
              <a:avLst/>
              <a:gdLst>
                <a:gd name="T0" fmla="*/ 1 w 14"/>
                <a:gd name="T1" fmla="*/ 1 h 29"/>
                <a:gd name="T2" fmla="*/ 0 w 14"/>
                <a:gd name="T3" fmla="*/ 1 h 29"/>
                <a:gd name="T4" fmla="*/ 0 w 14"/>
                <a:gd name="T5" fmla="*/ 1 h 29"/>
                <a:gd name="T6" fmla="*/ 1 w 14"/>
                <a:gd name="T7" fmla="*/ 0 h 29"/>
                <a:gd name="T8" fmla="*/ 1 w 14"/>
                <a:gd name="T9" fmla="*/ 1 h 29"/>
                <a:gd name="T10" fmla="*/ 1 w 14"/>
                <a:gd name="T11" fmla="*/ 1 h 29"/>
                <a:gd name="T12" fmla="*/ 1 w 14"/>
                <a:gd name="T13" fmla="*/ 1 h 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29"/>
                <a:gd name="T23" fmla="*/ 14 w 14"/>
                <a:gd name="T24" fmla="*/ 29 h 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29">
                  <a:moveTo>
                    <a:pt x="9" y="29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14" y="5"/>
                  </a:lnTo>
                  <a:lnTo>
                    <a:pt x="9" y="29"/>
                  </a:lnTo>
                  <a:close/>
                </a:path>
              </a:pathLst>
            </a:custGeom>
            <a:solidFill>
              <a:srgbClr val="6AADE4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27432" tIns="27432" rIns="27432" bIns="27432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</p:grpSp>
      <p:pic>
        <p:nvPicPr>
          <p:cNvPr id="4121" name="Picture 51" descr="olympus_logo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4" cstate="print"/>
          <a:srcRect/>
          <a:stretch>
            <a:fillRect/>
          </a:stretch>
        </p:blipFill>
        <p:spPr>
          <a:xfrm>
            <a:off x="7539038" y="6113463"/>
            <a:ext cx="1171575" cy="312737"/>
          </a:xfrm>
        </p:spPr>
      </p:pic>
      <p:pic>
        <p:nvPicPr>
          <p:cNvPr id="4122" name="Picture 56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5" cstate="print"/>
          <a:srcRect/>
          <a:stretch>
            <a:fillRect/>
          </a:stretch>
        </p:blipFill>
        <p:spPr>
          <a:xfrm>
            <a:off x="5314950" y="1152525"/>
            <a:ext cx="1339850" cy="214313"/>
          </a:xfrm>
        </p:spPr>
      </p:pic>
      <p:pic>
        <p:nvPicPr>
          <p:cNvPr id="4123" name="Picture 58" descr="logo_groupama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6" cstate="print"/>
          <a:srcRect/>
          <a:stretch>
            <a:fillRect/>
          </a:stretch>
        </p:blipFill>
        <p:spPr>
          <a:xfrm>
            <a:off x="6564313" y="5468938"/>
            <a:ext cx="808037" cy="638175"/>
          </a:xfrm>
        </p:spPr>
      </p:pic>
      <p:pic>
        <p:nvPicPr>
          <p:cNvPr id="4124" name="Picture 60" descr="DHS Dept Homeland Security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7" cstate="print"/>
          <a:srcRect/>
          <a:stretch>
            <a:fillRect/>
          </a:stretch>
        </p:blipFill>
        <p:spPr>
          <a:xfrm>
            <a:off x="6946900" y="3962400"/>
            <a:ext cx="581025" cy="577850"/>
          </a:xfrm>
        </p:spPr>
      </p:pic>
      <p:sp>
        <p:nvSpPr>
          <p:cNvPr id="4125" name="AutoShape 157"/>
          <p:cNvSpPr>
            <a:spLocks noChangeArrowheads="1"/>
          </p:cNvSpPr>
          <p:nvPr/>
        </p:nvSpPr>
        <p:spPr bwMode="auto">
          <a:xfrm>
            <a:off x="6972300" y="2940050"/>
            <a:ext cx="1524000" cy="43815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 b="1"/>
          </a:p>
        </p:txBody>
      </p:sp>
      <p:sp>
        <p:nvSpPr>
          <p:cNvPr id="4126" name="AutoShape 156"/>
          <p:cNvSpPr>
            <a:spLocks noChangeArrowheads="1"/>
          </p:cNvSpPr>
          <p:nvPr/>
        </p:nvSpPr>
        <p:spPr bwMode="auto">
          <a:xfrm>
            <a:off x="6330950" y="2333625"/>
            <a:ext cx="2247900" cy="42862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 b="1"/>
          </a:p>
        </p:txBody>
      </p:sp>
      <p:pic>
        <p:nvPicPr>
          <p:cNvPr id="4127" name="Picture 11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23225" y="4457700"/>
            <a:ext cx="469900" cy="6223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pic>
        <p:nvPicPr>
          <p:cNvPr id="4128" name="Picture 115" descr="NNSGG-037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605713" y="5299075"/>
            <a:ext cx="1173162" cy="24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29" name="Picture 128" descr="Image: U.S. Department of Treasury Banner Image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243013" y="5624513"/>
            <a:ext cx="96678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0" name="Picture 133" descr="EPA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551613" y="1689100"/>
            <a:ext cx="654050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1" name="Picture 137" descr="BAE Systems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17488" y="6238875"/>
            <a:ext cx="1284287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2" name="Picture 140" descr="United tech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319963" y="1604963"/>
            <a:ext cx="109537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3" name="Picture 149" descr="societe generale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769100" y="3479800"/>
            <a:ext cx="12461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4" name="Picture 151" descr="Peugeot.co.uk logo">
            <a:hlinkClick r:id="rId16"/>
          </p:cNvPr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273675" y="5813425"/>
            <a:ext cx="492125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5" name="Picture 152" descr="CA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872413" y="3698875"/>
            <a:ext cx="620712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6" name="Picture 155" descr="blue cross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911975" y="2459038"/>
            <a:ext cx="1717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7" name="Picture 163" descr="department of defense gif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5057775" y="3683000"/>
            <a:ext cx="561975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8" name="Picture 173" descr="Delphi transparent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197600" y="6302375"/>
            <a:ext cx="1081088" cy="13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9" name="Picture 180" descr="bombardier Trans"/>
          <p:cNvPicPr>
            <a:picLocks noChangeAspect="1" noChangeArrowheads="1"/>
          </p:cNvPicPr>
          <p:nvPr/>
        </p:nvPicPr>
        <p:blipFill>
          <a:blip r:embed="rId22" cstate="print"/>
          <a:srcRect l="14082" t="-5455"/>
          <a:stretch>
            <a:fillRect/>
          </a:stretch>
        </p:blipFill>
        <p:spPr bwMode="auto">
          <a:xfrm>
            <a:off x="4175125" y="5470525"/>
            <a:ext cx="973138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40" name="Picture 185" descr="bhpbiliton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2479675" y="6096000"/>
            <a:ext cx="1173163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41" name="Picture 32" descr="Zurich Logo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4449763" y="4864100"/>
            <a:ext cx="701675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42" name="Picture 33" descr="Motorola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46075" y="5630863"/>
            <a:ext cx="811213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43" name="Picture 34" descr="Bluescope Steel 8k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5622925" y="4484688"/>
            <a:ext cx="698500" cy="54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44" name="Picture 38" descr="freescale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2959100" y="4945063"/>
            <a:ext cx="1160463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45" name="Picture 39" descr="RoyalMail_logo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3386138" y="5578475"/>
            <a:ext cx="652462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46" name="Picture 40" descr="AFG-060112-014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4271963" y="5856288"/>
            <a:ext cx="769937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47" name="Picture 41" descr="NSA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8308975" y="877888"/>
            <a:ext cx="574675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48" name="Picture 43" descr="shared_nglogo2"/>
          <p:cNvPicPr>
            <a:picLocks noChangeAspect="1" noChangeArrowheads="1"/>
          </p:cNvPicPr>
          <p:nvPr/>
        </p:nvPicPr>
        <p:blipFill>
          <a:blip r:embed="rId31" cstate="print"/>
          <a:srcRect l="6442" t="28134" r="13254" b="30449"/>
          <a:stretch>
            <a:fillRect/>
          </a:stretch>
        </p:blipFill>
        <p:spPr bwMode="auto">
          <a:xfrm>
            <a:off x="4354513" y="4348163"/>
            <a:ext cx="1076325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49" name="Picture 44" descr="sunmicrosystems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5684838" y="5326063"/>
            <a:ext cx="795337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50" name="Picture 45" descr="boeing"/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6870700" y="1154113"/>
            <a:ext cx="12033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51" name="Picture 48" descr="Dupont 40k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1622425" y="6042025"/>
            <a:ext cx="666750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52" name="Picture 2" descr="http://www.eaton.com/ecm/groups/public/documents/system/ss_image_corp_eatoncomhometitl.gif">
            <a:hlinkClick r:id="rId35"/>
          </p:cNvPr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6704013" y="2925763"/>
            <a:ext cx="703262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53" name="Picture 64" descr="caisse de depots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3030538" y="3632200"/>
            <a:ext cx="542925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54" name="Picture 51" descr="Network Rail">
            <a:hlinkClick r:id="rId38" tooltip="back to the homepage"/>
          </p:cNvPr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3390900" y="4371975"/>
            <a:ext cx="642938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55" name="Picture 53" descr="http://www.westernsouthern.com/IMAGES/logo_home.gif"/>
          <p:cNvPicPr>
            <a:picLocks noChangeAspect="1" noChangeArrowheads="1"/>
          </p:cNvPicPr>
          <p:nvPr/>
        </p:nvPicPr>
        <p:blipFill>
          <a:blip r:embed="rId40" cstate="print"/>
          <a:srcRect r="50536"/>
          <a:stretch>
            <a:fillRect/>
          </a:stretch>
        </p:blipFill>
        <p:spPr bwMode="auto">
          <a:xfrm>
            <a:off x="7515225" y="3049588"/>
            <a:ext cx="114141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56" name="Picture 55" descr="Woodside Logo">
            <a:hlinkClick r:id="rId41"/>
          </p:cNvPr>
          <p:cNvPicPr>
            <a:picLocks noChangeAspect="1" noChangeArrowheads="1"/>
          </p:cNvPicPr>
          <p:nvPr/>
        </p:nvPicPr>
        <p:blipFill>
          <a:blip r:embed="rId42" cstate="print"/>
          <a:srcRect/>
          <a:stretch>
            <a:fillRect/>
          </a:stretch>
        </p:blipFill>
        <p:spPr bwMode="auto">
          <a:xfrm>
            <a:off x="6764338" y="4778375"/>
            <a:ext cx="725487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57" name="Picture 57" descr="http://www.wiltonre.com/images/wiltonReLogo.gif"/>
          <p:cNvPicPr>
            <a:picLocks noChangeAspect="1" noChangeArrowheads="1"/>
          </p:cNvPicPr>
          <p:nvPr/>
        </p:nvPicPr>
        <p:blipFill>
          <a:blip r:embed="rId43" cstate="print"/>
          <a:srcRect/>
          <a:stretch>
            <a:fillRect/>
          </a:stretch>
        </p:blipFill>
        <p:spPr bwMode="auto">
          <a:xfrm>
            <a:off x="8029575" y="2028825"/>
            <a:ext cx="76517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58" name="Picture 61" descr="Chubb logo"/>
          <p:cNvPicPr>
            <a:picLocks noChangeAspect="1" noChangeArrowheads="1"/>
          </p:cNvPicPr>
          <p:nvPr/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6265863" y="4084638"/>
            <a:ext cx="465137" cy="392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59" name="Picture 58" descr="chrysler penatstar"/>
          <p:cNvPicPr>
            <a:picLocks noChangeAspect="1" noChangeArrowheads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4232275" y="3816350"/>
            <a:ext cx="771525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60" name="Picture 5" descr="NHS"/>
          <p:cNvPicPr>
            <a:picLocks noChangeAspect="1" noChangeArrowheads="1"/>
          </p:cNvPicPr>
          <p:nvPr/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2373313" y="5629275"/>
            <a:ext cx="669925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61" name="Picture 51" descr="Raytheon.png"/>
          <p:cNvPicPr>
            <a:picLocks noChangeAspect="1"/>
          </p:cNvPicPr>
          <p:nvPr/>
        </p:nvPicPr>
        <p:blipFill>
          <a:blip r:embed="rId47" cstate="print"/>
          <a:srcRect/>
          <a:stretch>
            <a:fillRect/>
          </a:stretch>
        </p:blipFill>
        <p:spPr bwMode="auto">
          <a:xfrm>
            <a:off x="7802563" y="5759450"/>
            <a:ext cx="998537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644"/>
          <p:cNvGrpSpPr/>
          <p:nvPr/>
        </p:nvGrpSpPr>
        <p:grpSpPr>
          <a:xfrm>
            <a:off x="288925" y="1004888"/>
            <a:ext cx="2403475" cy="4532312"/>
            <a:chOff x="339725" y="1423988"/>
            <a:chExt cx="2403475" cy="3635375"/>
          </a:xfrm>
        </p:grpSpPr>
        <p:sp>
          <p:nvSpPr>
            <p:cNvPr id="646" name="Rectangle 128"/>
            <p:cNvSpPr>
              <a:spLocks noChangeArrowheads="1"/>
            </p:cNvSpPr>
            <p:nvPr/>
          </p:nvSpPr>
          <p:spPr bwMode="auto">
            <a:xfrm>
              <a:off x="344488" y="1423988"/>
              <a:ext cx="2398712" cy="687387"/>
            </a:xfrm>
            <a:prstGeom prst="rect">
              <a:avLst/>
            </a:prstGeom>
            <a:solidFill>
              <a:srgbClr val="124570"/>
            </a:solidFill>
            <a:ln w="9525">
              <a:noFill/>
              <a:miter lim="800000"/>
              <a:headEnd/>
              <a:tailEnd/>
            </a:ln>
          </p:spPr>
          <p:txBody>
            <a:bodyPr lIns="64008" tIns="0" rIns="18288" bIns="0" anchor="ctr"/>
            <a:lstStyle/>
            <a:p>
              <a:pPr algn="ctr" eaLnBrk="0" hangingPunct="0">
                <a:lnSpc>
                  <a:spcPct val="85000"/>
                </a:lnSpc>
                <a:spcBef>
                  <a:spcPts val="3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$</a:t>
              </a:r>
              <a:r>
                <a:rPr lang="sk-SK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15,8 mld.</a:t>
              </a:r>
              <a:r>
                <a:rPr lang="en-US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 glob</a:t>
              </a:r>
              <a:r>
                <a:rPr lang="sk-SK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álne príjmy 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300"/>
                </a:spcBef>
              </a:pPr>
              <a:r>
                <a:rPr lang="sk-SK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za </a:t>
              </a:r>
              <a:r>
                <a:rPr lang="en-US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 IT </a:t>
              </a:r>
              <a:r>
                <a:rPr lang="sk-SK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služby</a:t>
              </a:r>
              <a:endParaRPr lang="en-US" sz="1400" b="1" dirty="0">
                <a:solidFill>
                  <a:srgbClr val="FFFFFF"/>
                </a:solidFill>
                <a:cs typeface="Times New Roman" pitchFamily="18" charset="0"/>
              </a:endParaRPr>
            </a:p>
          </p:txBody>
        </p:sp>
        <p:sp>
          <p:nvSpPr>
            <p:cNvPr id="647" name="Rectangle 128"/>
            <p:cNvSpPr>
              <a:spLocks noChangeArrowheads="1"/>
            </p:cNvSpPr>
            <p:nvPr/>
          </p:nvSpPr>
          <p:spPr bwMode="auto">
            <a:xfrm>
              <a:off x="344488" y="2160588"/>
              <a:ext cx="2398712" cy="566023"/>
            </a:xfrm>
            <a:prstGeom prst="rect">
              <a:avLst/>
            </a:prstGeom>
            <a:solidFill>
              <a:srgbClr val="B6BF00"/>
            </a:solidFill>
            <a:ln w="9525">
              <a:noFill/>
              <a:miter lim="800000"/>
              <a:headEnd/>
              <a:tailEnd/>
            </a:ln>
          </p:spPr>
          <p:txBody>
            <a:bodyPr lIns="64008" tIns="0" rIns="18288" bIns="0" anchor="ctr"/>
            <a:lstStyle/>
            <a:p>
              <a:pPr algn="ctr" eaLnBrk="0" hangingPunct="0">
                <a:lnSpc>
                  <a:spcPct val="85000"/>
                </a:lnSpc>
                <a:spcBef>
                  <a:spcPts val="3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50+ </a:t>
              </a:r>
              <a:r>
                <a:rPr lang="sk-SK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rokov excelentných služieb zákazníkom</a:t>
              </a:r>
              <a:endParaRPr lang="en-US" sz="1400" b="1" dirty="0">
                <a:solidFill>
                  <a:srgbClr val="FFFFFF"/>
                </a:solidFill>
                <a:cs typeface="Times New Roman" pitchFamily="18" charset="0"/>
              </a:endParaRPr>
            </a:p>
          </p:txBody>
        </p:sp>
        <p:sp>
          <p:nvSpPr>
            <p:cNvPr id="648" name="Rectangle 128"/>
            <p:cNvSpPr>
              <a:spLocks noChangeArrowheads="1"/>
            </p:cNvSpPr>
            <p:nvPr/>
          </p:nvSpPr>
          <p:spPr bwMode="auto">
            <a:xfrm>
              <a:off x="344488" y="2777544"/>
              <a:ext cx="2398712" cy="807031"/>
            </a:xfrm>
            <a:prstGeom prst="rect">
              <a:avLst/>
            </a:prstGeom>
            <a:solidFill>
              <a:srgbClr val="850057"/>
            </a:solidFill>
            <a:ln w="9525">
              <a:noFill/>
              <a:miter lim="800000"/>
              <a:headEnd/>
              <a:tailEnd/>
            </a:ln>
          </p:spPr>
          <p:txBody>
            <a:bodyPr lIns="64008" tIns="0" rIns="18288" bIns="0" anchor="ctr"/>
            <a:lstStyle/>
            <a:p>
              <a:pPr algn="ctr" eaLnBrk="0" hangingPunct="0">
                <a:lnSpc>
                  <a:spcPct val="85000"/>
                </a:lnSpc>
                <a:spcBef>
                  <a:spcPts val="300"/>
                </a:spcBef>
              </a:pPr>
              <a:endParaRPr lang="sk-SK" sz="1400" b="1" dirty="0" smtClean="0">
                <a:solidFill>
                  <a:srgbClr val="FFFFFF"/>
                </a:solidFill>
                <a:cs typeface="Times New Roman" pitchFamily="18" charset="0"/>
              </a:endParaRPr>
            </a:p>
            <a:p>
              <a:pPr algn="ctr" eaLnBrk="0" hangingPunct="0">
                <a:lnSpc>
                  <a:spcPct val="85000"/>
                </a:lnSpc>
                <a:spcBef>
                  <a:spcPts val="3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138</a:t>
              </a:r>
              <a:r>
                <a:rPr lang="sk-SK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 miesto v rebríčku </a:t>
              </a:r>
              <a:r>
                <a:rPr lang="en-US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Fortune 500</a:t>
              </a:r>
              <a:r>
                <a:rPr lang="sk-SK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, </a:t>
              </a:r>
              <a:r>
                <a:rPr lang="en-US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FORTUNE</a:t>
              </a:r>
              <a:r>
                <a:rPr lang="sk-SK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 </a:t>
              </a:r>
              <a:r>
                <a:rPr lang="en-US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g</a:t>
              </a:r>
              <a:r>
                <a:rPr lang="sk-SK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lobálne najobdivovanejšia spoločnosť</a:t>
              </a:r>
              <a:endParaRPr lang="en-US" sz="1400" b="1" dirty="0" smtClean="0">
                <a:solidFill>
                  <a:srgbClr val="FFFFFF"/>
                </a:solidFill>
                <a:cs typeface="Times New Roman" pitchFamily="18" charset="0"/>
              </a:endParaRPr>
            </a:p>
            <a:p>
              <a:pPr algn="ctr" eaLnBrk="0" hangingPunct="0">
                <a:lnSpc>
                  <a:spcPct val="85000"/>
                </a:lnSpc>
                <a:spcBef>
                  <a:spcPts val="300"/>
                </a:spcBef>
              </a:pPr>
              <a:endParaRPr lang="en-US" sz="1400" b="1" dirty="0">
                <a:solidFill>
                  <a:srgbClr val="FFFFFF"/>
                </a:solidFill>
                <a:cs typeface="Times New Roman" pitchFamily="18" charset="0"/>
              </a:endParaRPr>
            </a:p>
          </p:txBody>
        </p:sp>
        <p:sp>
          <p:nvSpPr>
            <p:cNvPr id="649" name="Rectangle 128"/>
            <p:cNvSpPr>
              <a:spLocks noChangeArrowheads="1"/>
            </p:cNvSpPr>
            <p:nvPr/>
          </p:nvSpPr>
          <p:spPr bwMode="auto">
            <a:xfrm>
              <a:off x="344488" y="3633788"/>
              <a:ext cx="2398712" cy="687387"/>
            </a:xfrm>
            <a:prstGeom prst="rect">
              <a:avLst/>
            </a:prstGeom>
            <a:solidFill>
              <a:srgbClr val="487313"/>
            </a:solidFill>
            <a:ln w="9525">
              <a:noFill/>
              <a:miter lim="800000"/>
              <a:headEnd/>
              <a:tailEnd/>
            </a:ln>
          </p:spPr>
          <p:txBody>
            <a:bodyPr lIns="64008" tIns="0" rIns="18288" bIns="0" anchor="ctr"/>
            <a:lstStyle/>
            <a:p>
              <a:pPr algn="ctr" eaLnBrk="0" hangingPunct="0"/>
              <a:r>
                <a:rPr lang="en-GB" altLang="en-US" sz="1400" b="1" dirty="0" smtClean="0">
                  <a:solidFill>
                    <a:schemeClr val="bg1"/>
                  </a:solidFill>
                </a:rPr>
                <a:t>2,500 </a:t>
              </a:r>
              <a:r>
                <a:rPr lang="sk-SK" altLang="en-US" sz="1400" b="1" dirty="0" smtClean="0">
                  <a:solidFill>
                    <a:schemeClr val="bg1"/>
                  </a:solidFill>
                </a:rPr>
                <a:t>veľkých globálnych zákazníkov </a:t>
              </a:r>
              <a:r>
                <a:rPr lang="en-GB" altLang="en-US" sz="1400" b="1" dirty="0" smtClean="0">
                  <a:solidFill>
                    <a:schemeClr val="bg1"/>
                  </a:solidFill>
                </a:rPr>
                <a:t>– 90 </a:t>
              </a:r>
              <a:r>
                <a:rPr lang="sk-SK" altLang="en-US" sz="1400" b="1" dirty="0" smtClean="0">
                  <a:solidFill>
                    <a:schemeClr val="bg1"/>
                  </a:solidFill>
                </a:rPr>
                <a:t>krajín</a:t>
              </a:r>
              <a:r>
                <a:rPr lang="en-GB" altLang="en-US" sz="1400" b="1" dirty="0" smtClean="0">
                  <a:solidFill>
                    <a:schemeClr val="bg1"/>
                  </a:solidFill>
                </a:rPr>
                <a:t> – 9</a:t>
              </a:r>
              <a:r>
                <a:rPr lang="sk-SK" altLang="en-US" sz="1400" b="1" dirty="0" smtClean="0">
                  <a:solidFill>
                    <a:schemeClr val="bg1"/>
                  </a:solidFill>
                </a:rPr>
                <a:t>6</a:t>
              </a:r>
              <a:r>
                <a:rPr lang="en-GB" altLang="en-US" sz="1400" b="1" dirty="0" smtClean="0">
                  <a:solidFill>
                    <a:schemeClr val="bg1"/>
                  </a:solidFill>
                </a:rPr>
                <a:t>,000 </a:t>
              </a:r>
              <a:r>
                <a:rPr lang="sk-SK" altLang="en-US" sz="1400" b="1" dirty="0" smtClean="0">
                  <a:solidFill>
                    <a:schemeClr val="bg1"/>
                  </a:solidFill>
                </a:rPr>
                <a:t>zamestnancov</a:t>
              </a:r>
              <a:endParaRPr lang="en-GB" sz="1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650" name="Rectangle 128"/>
            <p:cNvSpPr>
              <a:spLocks noChangeArrowheads="1"/>
            </p:cNvSpPr>
            <p:nvPr/>
          </p:nvSpPr>
          <p:spPr bwMode="auto">
            <a:xfrm>
              <a:off x="339725" y="4371975"/>
              <a:ext cx="2398713" cy="687388"/>
            </a:xfrm>
            <a:prstGeom prst="rect">
              <a:avLst/>
            </a:prstGeom>
            <a:solidFill>
              <a:srgbClr val="BB650E"/>
            </a:solidFill>
            <a:ln w="9525">
              <a:noFill/>
              <a:miter lim="800000"/>
              <a:headEnd/>
              <a:tailEnd/>
            </a:ln>
          </p:spPr>
          <p:txBody>
            <a:bodyPr lIns="64008" tIns="0" rIns="18288" bIns="0" anchor="ctr"/>
            <a:lstStyle/>
            <a:p>
              <a:pPr algn="ctr" eaLnBrk="0" hangingPunct="0">
                <a:lnSpc>
                  <a:spcPct val="85000"/>
                </a:lnSpc>
                <a:spcBef>
                  <a:spcPts val="300"/>
                </a:spcBef>
              </a:pPr>
              <a:r>
                <a:rPr lang="en-US" sz="1400" b="1" dirty="0" smtClean="0">
                  <a:solidFill>
                    <a:srgbClr val="FFFFFF"/>
                  </a:solidFill>
                  <a:cs typeface="Times New Roman" pitchFamily="18" charset="0"/>
                </a:rPr>
                <a:t>NYSE: CSC</a:t>
              </a:r>
              <a:endParaRPr lang="en-US" sz="1400" b="1" dirty="0">
                <a:solidFill>
                  <a:srgbClr val="FFFFFF"/>
                </a:solidFill>
                <a:cs typeface="Times New Roman" pitchFamily="18" charset="0"/>
              </a:endParaRPr>
            </a:p>
          </p:txBody>
        </p:sp>
      </p:grpSp>
      <p:grpSp>
        <p:nvGrpSpPr>
          <p:cNvPr id="6" name="Group 651"/>
          <p:cNvGrpSpPr/>
          <p:nvPr/>
        </p:nvGrpSpPr>
        <p:grpSpPr>
          <a:xfrm>
            <a:off x="266700" y="312738"/>
            <a:ext cx="8509000" cy="887412"/>
            <a:chOff x="266700" y="312738"/>
            <a:chExt cx="8509000" cy="887412"/>
          </a:xfrm>
        </p:grpSpPr>
        <p:cxnSp>
          <p:nvCxnSpPr>
            <p:cNvPr id="653" name="Straight Connector 14"/>
            <p:cNvCxnSpPr>
              <a:cxnSpLocks noChangeShapeType="1"/>
            </p:cNvCxnSpPr>
            <p:nvPr>
              <p:custDataLst>
                <p:tags r:id="rId1"/>
              </p:custDataLst>
            </p:nvPr>
          </p:nvCxnSpPr>
          <p:spPr bwMode="auto">
            <a:xfrm>
              <a:off x="333375" y="312738"/>
              <a:ext cx="8442325" cy="1587"/>
            </a:xfrm>
            <a:prstGeom prst="line">
              <a:avLst/>
            </a:prstGeom>
            <a:noFill/>
            <a:ln w="9525" algn="ctr">
              <a:solidFill>
                <a:srgbClr val="777777"/>
              </a:solidFill>
              <a:round/>
              <a:headEnd/>
              <a:tailEnd/>
            </a:ln>
          </p:spPr>
        </p:cxnSp>
        <p:sp>
          <p:nvSpPr>
            <p:cNvPr id="654" name="Title 12"/>
            <p:cNvSpPr txBox="1">
              <a:spLocks/>
            </p:cNvSpPr>
            <p:nvPr/>
          </p:nvSpPr>
          <p:spPr bwMode="auto">
            <a:xfrm>
              <a:off x="266700" y="414338"/>
              <a:ext cx="8455025" cy="7858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44563" eaLnBrk="0" hangingPunct="0">
                <a:lnSpc>
                  <a:spcPct val="90000"/>
                </a:lnSpc>
                <a:spcBef>
                  <a:spcPct val="40000"/>
                </a:spcBef>
              </a:pPr>
              <a:r>
                <a:rPr lang="en-GB" sz="2200" b="1" dirty="0" smtClean="0">
                  <a:solidFill>
                    <a:srgbClr val="777777"/>
                  </a:solidFill>
                </a:rPr>
                <a:t>CSC – </a:t>
              </a:r>
              <a:r>
                <a:rPr lang="sk-SK" sz="2200" b="1" dirty="0" smtClean="0">
                  <a:solidFill>
                    <a:srgbClr val="777777"/>
                  </a:solidFill>
                </a:rPr>
                <a:t>globálny poskytovateľ konzultačných a IT služieb</a:t>
              </a:r>
              <a:endParaRPr lang="en-GB" sz="2200" dirty="0" smtClean="0">
                <a:solidFill>
                  <a:srgbClr val="777777"/>
                </a:solidFill>
              </a:endParaRPr>
            </a:p>
          </p:txBody>
        </p:sp>
      </p:grpSp>
    </p:spTree>
  </p:cSld>
  <p:clrMapOvr>
    <a:masterClrMapping/>
  </p:clrMapOvr>
  <p:transition spd="slow">
    <p:zoom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Eine Ecke des Rechtecks schneiden 299"/>
          <p:cNvSpPr/>
          <p:nvPr>
            <p:custDataLst>
              <p:tags r:id="rId1"/>
            </p:custDataLst>
          </p:nvPr>
        </p:nvSpPr>
        <p:spPr bwMode="auto">
          <a:xfrm flipV="1">
            <a:off x="333375" y="4319588"/>
            <a:ext cx="4148138" cy="1847296"/>
          </a:xfrm>
          <a:prstGeom prst="snip1Rect">
            <a:avLst>
              <a:gd name="adj" fmla="val 17958"/>
            </a:avLst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lIns="36000" tIns="72000" rIns="36000" bIns="36000"/>
          <a:lstStyle/>
          <a:p>
            <a:pPr marL="179388" indent="-179388" eaLnBrk="0" hangingPunct="0">
              <a:lnSpc>
                <a:spcPct val="85000"/>
              </a:lnSpc>
              <a:spcBef>
                <a:spcPct val="35000"/>
              </a:spcBef>
              <a:buClr>
                <a:schemeClr val="tx2"/>
              </a:buClr>
              <a:buFontTx/>
              <a:buChar char="•"/>
              <a:defRPr/>
            </a:pPr>
            <a:endParaRPr lang="de-AT" altLang="en-US" sz="1200"/>
          </a:p>
        </p:txBody>
      </p:sp>
      <p:cxnSp>
        <p:nvCxnSpPr>
          <p:cNvPr id="17411" name="Straight Connector 143"/>
          <p:cNvCxnSpPr>
            <a:cxnSpLocks noChangeShapeType="1"/>
          </p:cNvCxnSpPr>
          <p:nvPr>
            <p:custDataLst>
              <p:tags r:id="rId2"/>
            </p:custDataLst>
          </p:nvPr>
        </p:nvCxnSpPr>
        <p:spPr bwMode="auto">
          <a:xfrm>
            <a:off x="333375" y="312738"/>
            <a:ext cx="8442325" cy="1587"/>
          </a:xfrm>
          <a:prstGeom prst="line">
            <a:avLst/>
          </a:prstGeom>
          <a:noFill/>
          <a:ln w="9525" algn="ctr">
            <a:solidFill>
              <a:srgbClr val="777777"/>
            </a:solidFill>
            <a:round/>
            <a:headEnd/>
            <a:tailEnd/>
          </a:ln>
        </p:spPr>
      </p:cxnSp>
      <p:sp>
        <p:nvSpPr>
          <p:cNvPr id="17412" name="Title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209550" y="414338"/>
            <a:ext cx="8455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44563" eaLnBrk="0" hangingPunct="0">
              <a:lnSpc>
                <a:spcPct val="90000"/>
              </a:lnSpc>
              <a:spcBef>
                <a:spcPct val="40000"/>
              </a:spcBef>
            </a:pPr>
            <a:r>
              <a:rPr lang="en-GB" sz="2200" b="1" dirty="0">
                <a:solidFill>
                  <a:srgbClr val="777777"/>
                </a:solidFill>
              </a:rPr>
              <a:t>CSC </a:t>
            </a:r>
            <a:r>
              <a:rPr lang="sk-SK" sz="2200" b="1" dirty="0" smtClean="0">
                <a:solidFill>
                  <a:srgbClr val="777777"/>
                </a:solidFill>
              </a:rPr>
              <a:t>v regióne </a:t>
            </a:r>
            <a:r>
              <a:rPr lang="en-GB" sz="2200" b="1" dirty="0" smtClean="0">
                <a:solidFill>
                  <a:srgbClr val="777777"/>
                </a:solidFill>
              </a:rPr>
              <a:t>Austria </a:t>
            </a:r>
            <a:r>
              <a:rPr lang="en-GB" sz="2200" b="1" dirty="0" smtClean="0">
                <a:solidFill>
                  <a:srgbClr val="777777"/>
                </a:solidFill>
              </a:rPr>
              <a:t>a </a:t>
            </a:r>
            <a:r>
              <a:rPr lang="en-GB" sz="2200" b="1" dirty="0" smtClean="0">
                <a:solidFill>
                  <a:srgbClr val="777777"/>
                </a:solidFill>
              </a:rPr>
              <a:t>Eastern Europe - </a:t>
            </a:r>
            <a:r>
              <a:rPr lang="sk-SK" sz="2200" b="1" dirty="0" smtClean="0">
                <a:solidFill>
                  <a:srgbClr val="777777"/>
                </a:solidFill>
              </a:rPr>
              <a:t>prehľad</a:t>
            </a:r>
            <a:endParaRPr lang="en-GB" sz="2200" dirty="0">
              <a:solidFill>
                <a:srgbClr val="777777"/>
              </a:solidFill>
            </a:endParaRPr>
          </a:p>
        </p:txBody>
      </p:sp>
      <p:grpSp>
        <p:nvGrpSpPr>
          <p:cNvPr id="2" name="Group 12"/>
          <p:cNvGrpSpPr>
            <a:grpSpLocks/>
          </p:cNvGrpSpPr>
          <p:nvPr/>
        </p:nvGrpSpPr>
        <p:grpSpPr bwMode="auto">
          <a:xfrm>
            <a:off x="575428" y="872798"/>
            <a:ext cx="4691898" cy="3178283"/>
            <a:chOff x="150" y="14"/>
            <a:chExt cx="2498" cy="1669"/>
          </a:xfrm>
        </p:grpSpPr>
        <p:grpSp>
          <p:nvGrpSpPr>
            <p:cNvPr id="3" name="Group 13"/>
            <p:cNvGrpSpPr>
              <a:grpSpLocks/>
            </p:cNvGrpSpPr>
            <p:nvPr/>
          </p:nvGrpSpPr>
          <p:grpSpPr bwMode="auto">
            <a:xfrm>
              <a:off x="382" y="91"/>
              <a:ext cx="2266" cy="1592"/>
              <a:chOff x="382" y="91"/>
              <a:chExt cx="2266" cy="1592"/>
            </a:xfrm>
          </p:grpSpPr>
          <p:sp>
            <p:nvSpPr>
              <p:cNvPr id="17432" name="Freeform 14"/>
              <p:cNvSpPr>
                <a:spLocks/>
              </p:cNvSpPr>
              <p:nvPr/>
            </p:nvSpPr>
            <p:spPr bwMode="auto">
              <a:xfrm>
                <a:off x="1373" y="1052"/>
                <a:ext cx="1275" cy="631"/>
              </a:xfrm>
              <a:custGeom>
                <a:avLst/>
                <a:gdLst>
                  <a:gd name="T0" fmla="*/ 0 w 21557"/>
                  <a:gd name="T1" fmla="*/ 0 h 21366"/>
                  <a:gd name="T2" fmla="*/ 0 w 21557"/>
                  <a:gd name="T3" fmla="*/ 0 h 21366"/>
                  <a:gd name="T4" fmla="*/ 0 w 21557"/>
                  <a:gd name="T5" fmla="*/ 0 h 21366"/>
                  <a:gd name="T6" fmla="*/ 0 w 21557"/>
                  <a:gd name="T7" fmla="*/ 0 h 21366"/>
                  <a:gd name="T8" fmla="*/ 0 w 21557"/>
                  <a:gd name="T9" fmla="*/ 0 h 21366"/>
                  <a:gd name="T10" fmla="*/ 0 w 21557"/>
                  <a:gd name="T11" fmla="*/ 0 h 21366"/>
                  <a:gd name="T12" fmla="*/ 0 w 21557"/>
                  <a:gd name="T13" fmla="*/ 0 h 21366"/>
                  <a:gd name="T14" fmla="*/ 0 w 21557"/>
                  <a:gd name="T15" fmla="*/ 0 h 21366"/>
                  <a:gd name="T16" fmla="*/ 0 w 21557"/>
                  <a:gd name="T17" fmla="*/ 0 h 21366"/>
                  <a:gd name="T18" fmla="*/ 0 w 21557"/>
                  <a:gd name="T19" fmla="*/ 0 h 21366"/>
                  <a:gd name="T20" fmla="*/ 0 w 21557"/>
                  <a:gd name="T21" fmla="*/ 0 h 21366"/>
                  <a:gd name="T22" fmla="*/ 0 w 21557"/>
                  <a:gd name="T23" fmla="*/ 0 h 21366"/>
                  <a:gd name="T24" fmla="*/ 0 w 21557"/>
                  <a:gd name="T25" fmla="*/ 0 h 21366"/>
                  <a:gd name="T26" fmla="*/ 0 w 21557"/>
                  <a:gd name="T27" fmla="*/ 0 h 21366"/>
                  <a:gd name="T28" fmla="*/ 0 w 21557"/>
                  <a:gd name="T29" fmla="*/ 0 h 21366"/>
                  <a:gd name="T30" fmla="*/ 0 w 21557"/>
                  <a:gd name="T31" fmla="*/ 0 h 21366"/>
                  <a:gd name="T32" fmla="*/ 0 w 21557"/>
                  <a:gd name="T33" fmla="*/ 0 h 21366"/>
                  <a:gd name="T34" fmla="*/ 0 w 21557"/>
                  <a:gd name="T35" fmla="*/ 0 h 21366"/>
                  <a:gd name="T36" fmla="*/ 0 w 21557"/>
                  <a:gd name="T37" fmla="*/ 0 h 21366"/>
                  <a:gd name="T38" fmla="*/ 0 w 21557"/>
                  <a:gd name="T39" fmla="*/ 0 h 21366"/>
                  <a:gd name="T40" fmla="*/ 0 w 21557"/>
                  <a:gd name="T41" fmla="*/ 0 h 21366"/>
                  <a:gd name="T42" fmla="*/ 0 w 21557"/>
                  <a:gd name="T43" fmla="*/ 0 h 21366"/>
                  <a:gd name="T44" fmla="*/ 0 w 21557"/>
                  <a:gd name="T45" fmla="*/ 0 h 21366"/>
                  <a:gd name="T46" fmla="*/ 0 w 21557"/>
                  <a:gd name="T47" fmla="*/ 0 h 21366"/>
                  <a:gd name="T48" fmla="*/ 0 w 21557"/>
                  <a:gd name="T49" fmla="*/ 0 h 21366"/>
                  <a:gd name="T50" fmla="*/ 0 w 21557"/>
                  <a:gd name="T51" fmla="*/ 0 h 21366"/>
                  <a:gd name="T52" fmla="*/ 0 w 21557"/>
                  <a:gd name="T53" fmla="*/ 0 h 21366"/>
                  <a:gd name="T54" fmla="*/ 0 w 21557"/>
                  <a:gd name="T55" fmla="*/ 0 h 21366"/>
                  <a:gd name="T56" fmla="*/ 0 w 21557"/>
                  <a:gd name="T57" fmla="*/ 0 h 21366"/>
                  <a:gd name="T58" fmla="*/ 0 w 21557"/>
                  <a:gd name="T59" fmla="*/ 0 h 21366"/>
                  <a:gd name="T60" fmla="*/ 0 w 21557"/>
                  <a:gd name="T61" fmla="*/ 0 h 21366"/>
                  <a:gd name="T62" fmla="*/ 0 w 21557"/>
                  <a:gd name="T63" fmla="*/ 0 h 21366"/>
                  <a:gd name="T64" fmla="*/ 0 w 21557"/>
                  <a:gd name="T65" fmla="*/ 0 h 21366"/>
                  <a:gd name="T66" fmla="*/ 0 w 21557"/>
                  <a:gd name="T67" fmla="*/ 0 h 21366"/>
                  <a:gd name="T68" fmla="*/ 0 w 21557"/>
                  <a:gd name="T69" fmla="*/ 0 h 21366"/>
                  <a:gd name="T70" fmla="*/ 0 w 21557"/>
                  <a:gd name="T71" fmla="*/ 0 h 21366"/>
                  <a:gd name="T72" fmla="*/ 0 w 21557"/>
                  <a:gd name="T73" fmla="*/ 0 h 21366"/>
                  <a:gd name="T74" fmla="*/ 0 w 21557"/>
                  <a:gd name="T75" fmla="*/ 0 h 21366"/>
                  <a:gd name="T76" fmla="*/ 0 w 21557"/>
                  <a:gd name="T77" fmla="*/ 0 h 21366"/>
                  <a:gd name="T78" fmla="*/ 0 w 21557"/>
                  <a:gd name="T79" fmla="*/ 0 h 21366"/>
                  <a:gd name="T80" fmla="*/ 0 w 21557"/>
                  <a:gd name="T81" fmla="*/ 0 h 21366"/>
                  <a:gd name="T82" fmla="*/ 0 w 21557"/>
                  <a:gd name="T83" fmla="*/ 0 h 21366"/>
                  <a:gd name="T84" fmla="*/ 0 w 21557"/>
                  <a:gd name="T85" fmla="*/ 0 h 21366"/>
                  <a:gd name="T86" fmla="*/ 0 w 21557"/>
                  <a:gd name="T87" fmla="*/ 0 h 2136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1557"/>
                  <a:gd name="T133" fmla="*/ 0 h 21366"/>
                  <a:gd name="T134" fmla="*/ 21557 w 21557"/>
                  <a:gd name="T135" fmla="*/ 21366 h 2136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1557" h="21366">
                    <a:moveTo>
                      <a:pt x="21168" y="9755"/>
                    </a:moveTo>
                    <a:cubicBezTo>
                      <a:pt x="21363" y="10067"/>
                      <a:pt x="21557" y="10925"/>
                      <a:pt x="21557" y="10925"/>
                    </a:cubicBezTo>
                    <a:cubicBezTo>
                      <a:pt x="21557" y="10925"/>
                      <a:pt x="21246" y="11861"/>
                      <a:pt x="21052" y="11705"/>
                    </a:cubicBezTo>
                    <a:cubicBezTo>
                      <a:pt x="20897" y="11627"/>
                      <a:pt x="20275" y="11393"/>
                      <a:pt x="19886" y="11471"/>
                    </a:cubicBezTo>
                    <a:cubicBezTo>
                      <a:pt x="19498" y="11549"/>
                      <a:pt x="19265" y="11861"/>
                      <a:pt x="19187" y="12329"/>
                    </a:cubicBezTo>
                    <a:cubicBezTo>
                      <a:pt x="19071" y="12718"/>
                      <a:pt x="18799" y="12251"/>
                      <a:pt x="18721" y="12485"/>
                    </a:cubicBezTo>
                    <a:cubicBezTo>
                      <a:pt x="18604" y="12718"/>
                      <a:pt x="17983" y="13498"/>
                      <a:pt x="17750" y="13498"/>
                    </a:cubicBezTo>
                    <a:cubicBezTo>
                      <a:pt x="17517" y="13498"/>
                      <a:pt x="17206" y="13498"/>
                      <a:pt x="16779" y="14590"/>
                    </a:cubicBezTo>
                    <a:cubicBezTo>
                      <a:pt x="16312" y="15604"/>
                      <a:pt x="15807" y="15760"/>
                      <a:pt x="15574" y="15916"/>
                    </a:cubicBezTo>
                    <a:cubicBezTo>
                      <a:pt x="15302" y="16072"/>
                      <a:pt x="14720" y="15448"/>
                      <a:pt x="14486" y="15760"/>
                    </a:cubicBezTo>
                    <a:cubicBezTo>
                      <a:pt x="14253" y="15994"/>
                      <a:pt x="13787" y="16929"/>
                      <a:pt x="13593" y="16929"/>
                    </a:cubicBezTo>
                    <a:cubicBezTo>
                      <a:pt x="13360" y="16929"/>
                      <a:pt x="12894" y="16695"/>
                      <a:pt x="12777" y="16851"/>
                    </a:cubicBezTo>
                    <a:cubicBezTo>
                      <a:pt x="12661" y="17007"/>
                      <a:pt x="12622" y="17475"/>
                      <a:pt x="12661" y="17631"/>
                    </a:cubicBezTo>
                    <a:cubicBezTo>
                      <a:pt x="12661" y="17709"/>
                      <a:pt x="12933" y="18333"/>
                      <a:pt x="12855" y="18567"/>
                    </a:cubicBezTo>
                    <a:cubicBezTo>
                      <a:pt x="12738" y="18801"/>
                      <a:pt x="12583" y="19035"/>
                      <a:pt x="12505" y="19503"/>
                    </a:cubicBezTo>
                    <a:cubicBezTo>
                      <a:pt x="12427" y="20048"/>
                      <a:pt x="12350" y="19736"/>
                      <a:pt x="12350" y="19970"/>
                    </a:cubicBezTo>
                    <a:cubicBezTo>
                      <a:pt x="12350" y="20204"/>
                      <a:pt x="12078" y="20204"/>
                      <a:pt x="11961" y="20048"/>
                    </a:cubicBezTo>
                    <a:cubicBezTo>
                      <a:pt x="11845" y="19892"/>
                      <a:pt x="12078" y="19503"/>
                      <a:pt x="12000" y="19347"/>
                    </a:cubicBezTo>
                    <a:cubicBezTo>
                      <a:pt x="11884" y="19113"/>
                      <a:pt x="11728" y="18801"/>
                      <a:pt x="11806" y="18645"/>
                    </a:cubicBezTo>
                    <a:cubicBezTo>
                      <a:pt x="11922" y="18489"/>
                      <a:pt x="12078" y="17943"/>
                      <a:pt x="12117" y="17631"/>
                    </a:cubicBezTo>
                    <a:cubicBezTo>
                      <a:pt x="12156" y="17241"/>
                      <a:pt x="12156" y="16851"/>
                      <a:pt x="12000" y="16773"/>
                    </a:cubicBezTo>
                    <a:cubicBezTo>
                      <a:pt x="11845" y="16617"/>
                      <a:pt x="11573" y="17865"/>
                      <a:pt x="11379" y="17943"/>
                    </a:cubicBezTo>
                    <a:cubicBezTo>
                      <a:pt x="11223" y="18021"/>
                      <a:pt x="10563" y="17475"/>
                      <a:pt x="10407" y="17709"/>
                    </a:cubicBezTo>
                    <a:cubicBezTo>
                      <a:pt x="10213" y="17943"/>
                      <a:pt x="9786" y="18957"/>
                      <a:pt x="9708" y="19191"/>
                    </a:cubicBezTo>
                    <a:cubicBezTo>
                      <a:pt x="9669" y="19425"/>
                      <a:pt x="9514" y="19581"/>
                      <a:pt x="9320" y="19892"/>
                    </a:cubicBezTo>
                    <a:cubicBezTo>
                      <a:pt x="9125" y="20204"/>
                      <a:pt x="8543" y="20828"/>
                      <a:pt x="8310" y="20672"/>
                    </a:cubicBezTo>
                    <a:cubicBezTo>
                      <a:pt x="8038" y="20516"/>
                      <a:pt x="7610" y="19581"/>
                      <a:pt x="7455" y="19425"/>
                    </a:cubicBezTo>
                    <a:cubicBezTo>
                      <a:pt x="7299" y="19347"/>
                      <a:pt x="6134" y="18723"/>
                      <a:pt x="5862" y="18957"/>
                    </a:cubicBezTo>
                    <a:cubicBezTo>
                      <a:pt x="5629" y="19191"/>
                      <a:pt x="5784" y="20672"/>
                      <a:pt x="5668" y="20984"/>
                    </a:cubicBezTo>
                    <a:cubicBezTo>
                      <a:pt x="5551" y="21296"/>
                      <a:pt x="5279" y="21140"/>
                      <a:pt x="4969" y="21296"/>
                    </a:cubicBezTo>
                    <a:cubicBezTo>
                      <a:pt x="4658" y="21530"/>
                      <a:pt x="4114" y="21140"/>
                      <a:pt x="4075" y="20672"/>
                    </a:cubicBezTo>
                    <a:cubicBezTo>
                      <a:pt x="4036" y="20204"/>
                      <a:pt x="3881" y="20204"/>
                      <a:pt x="3725" y="20048"/>
                    </a:cubicBezTo>
                    <a:cubicBezTo>
                      <a:pt x="3570" y="19970"/>
                      <a:pt x="3298" y="19736"/>
                      <a:pt x="3181" y="20048"/>
                    </a:cubicBezTo>
                    <a:cubicBezTo>
                      <a:pt x="3104" y="20282"/>
                      <a:pt x="2910" y="20984"/>
                      <a:pt x="2754" y="20594"/>
                    </a:cubicBezTo>
                    <a:cubicBezTo>
                      <a:pt x="2599" y="20204"/>
                      <a:pt x="2676" y="19503"/>
                      <a:pt x="2521" y="19503"/>
                    </a:cubicBezTo>
                    <a:cubicBezTo>
                      <a:pt x="2366" y="19503"/>
                      <a:pt x="2016" y="19892"/>
                      <a:pt x="1822" y="19503"/>
                    </a:cubicBezTo>
                    <a:cubicBezTo>
                      <a:pt x="1666" y="19191"/>
                      <a:pt x="1861" y="17241"/>
                      <a:pt x="1628" y="17007"/>
                    </a:cubicBezTo>
                    <a:cubicBezTo>
                      <a:pt x="1394" y="16773"/>
                      <a:pt x="695" y="16150"/>
                      <a:pt x="540" y="16227"/>
                    </a:cubicBezTo>
                    <a:cubicBezTo>
                      <a:pt x="384" y="16305"/>
                      <a:pt x="307" y="17085"/>
                      <a:pt x="151" y="16617"/>
                    </a:cubicBezTo>
                    <a:cubicBezTo>
                      <a:pt x="-43" y="16150"/>
                      <a:pt x="-43" y="15448"/>
                      <a:pt x="112" y="15292"/>
                    </a:cubicBezTo>
                    <a:cubicBezTo>
                      <a:pt x="229" y="15136"/>
                      <a:pt x="851" y="15292"/>
                      <a:pt x="967" y="14980"/>
                    </a:cubicBezTo>
                    <a:cubicBezTo>
                      <a:pt x="1084" y="14746"/>
                      <a:pt x="1317" y="14200"/>
                      <a:pt x="1122" y="13810"/>
                    </a:cubicBezTo>
                    <a:cubicBezTo>
                      <a:pt x="967" y="13420"/>
                      <a:pt x="1278" y="12952"/>
                      <a:pt x="1084" y="12718"/>
                    </a:cubicBezTo>
                    <a:cubicBezTo>
                      <a:pt x="889" y="12407"/>
                      <a:pt x="462" y="13108"/>
                      <a:pt x="229" y="12874"/>
                    </a:cubicBezTo>
                    <a:cubicBezTo>
                      <a:pt x="151" y="12796"/>
                      <a:pt x="307" y="11939"/>
                      <a:pt x="423" y="11159"/>
                    </a:cubicBezTo>
                    <a:cubicBezTo>
                      <a:pt x="462" y="10847"/>
                      <a:pt x="695" y="10457"/>
                      <a:pt x="928" y="10223"/>
                    </a:cubicBezTo>
                    <a:cubicBezTo>
                      <a:pt x="1122" y="10067"/>
                      <a:pt x="1317" y="9833"/>
                      <a:pt x="1511" y="9911"/>
                    </a:cubicBezTo>
                    <a:cubicBezTo>
                      <a:pt x="1705" y="9989"/>
                      <a:pt x="2094" y="9755"/>
                      <a:pt x="2288" y="9599"/>
                    </a:cubicBezTo>
                    <a:cubicBezTo>
                      <a:pt x="2482" y="9443"/>
                      <a:pt x="3220" y="9755"/>
                      <a:pt x="3337" y="9599"/>
                    </a:cubicBezTo>
                    <a:cubicBezTo>
                      <a:pt x="3453" y="9365"/>
                      <a:pt x="3104" y="9053"/>
                      <a:pt x="3298" y="8898"/>
                    </a:cubicBezTo>
                    <a:cubicBezTo>
                      <a:pt x="3531" y="8664"/>
                      <a:pt x="3958" y="8742"/>
                      <a:pt x="4153" y="8430"/>
                    </a:cubicBezTo>
                    <a:cubicBezTo>
                      <a:pt x="4308" y="8118"/>
                      <a:pt x="3376" y="7962"/>
                      <a:pt x="3415" y="7650"/>
                    </a:cubicBezTo>
                    <a:cubicBezTo>
                      <a:pt x="3453" y="7338"/>
                      <a:pt x="3376" y="7182"/>
                      <a:pt x="3648" y="7182"/>
                    </a:cubicBezTo>
                    <a:cubicBezTo>
                      <a:pt x="3958" y="7182"/>
                      <a:pt x="5357" y="7182"/>
                      <a:pt x="5629" y="6870"/>
                    </a:cubicBezTo>
                    <a:cubicBezTo>
                      <a:pt x="5862" y="6558"/>
                      <a:pt x="5707" y="6324"/>
                      <a:pt x="5901" y="6090"/>
                    </a:cubicBezTo>
                    <a:cubicBezTo>
                      <a:pt x="6095" y="5856"/>
                      <a:pt x="6872" y="4297"/>
                      <a:pt x="7066" y="4141"/>
                    </a:cubicBezTo>
                    <a:cubicBezTo>
                      <a:pt x="7299" y="3907"/>
                      <a:pt x="7688" y="3439"/>
                      <a:pt x="8154" y="3439"/>
                    </a:cubicBezTo>
                    <a:cubicBezTo>
                      <a:pt x="8581" y="3439"/>
                      <a:pt x="8931" y="3205"/>
                      <a:pt x="9048" y="3127"/>
                    </a:cubicBezTo>
                    <a:cubicBezTo>
                      <a:pt x="9164" y="2971"/>
                      <a:pt x="9281" y="2737"/>
                      <a:pt x="9358" y="2503"/>
                    </a:cubicBezTo>
                    <a:cubicBezTo>
                      <a:pt x="9475" y="2269"/>
                      <a:pt x="9592" y="2659"/>
                      <a:pt x="9708" y="2659"/>
                    </a:cubicBezTo>
                    <a:cubicBezTo>
                      <a:pt x="9786" y="2659"/>
                      <a:pt x="9553" y="3283"/>
                      <a:pt x="9708" y="3361"/>
                    </a:cubicBezTo>
                    <a:cubicBezTo>
                      <a:pt x="9902" y="3439"/>
                      <a:pt x="10019" y="3673"/>
                      <a:pt x="10174" y="3673"/>
                    </a:cubicBezTo>
                    <a:cubicBezTo>
                      <a:pt x="10369" y="3595"/>
                      <a:pt x="10446" y="3205"/>
                      <a:pt x="10563" y="3127"/>
                    </a:cubicBezTo>
                    <a:cubicBezTo>
                      <a:pt x="10679" y="2971"/>
                      <a:pt x="10835" y="3283"/>
                      <a:pt x="10835" y="3517"/>
                    </a:cubicBezTo>
                    <a:cubicBezTo>
                      <a:pt x="10835" y="3751"/>
                      <a:pt x="10835" y="3907"/>
                      <a:pt x="10990" y="4141"/>
                    </a:cubicBezTo>
                    <a:cubicBezTo>
                      <a:pt x="11145" y="4453"/>
                      <a:pt x="11223" y="4531"/>
                      <a:pt x="11301" y="4375"/>
                    </a:cubicBezTo>
                    <a:cubicBezTo>
                      <a:pt x="11417" y="4141"/>
                      <a:pt x="11379" y="3829"/>
                      <a:pt x="11495" y="3829"/>
                    </a:cubicBezTo>
                    <a:cubicBezTo>
                      <a:pt x="11612" y="3829"/>
                      <a:pt x="11728" y="3673"/>
                      <a:pt x="11806" y="3985"/>
                    </a:cubicBezTo>
                    <a:cubicBezTo>
                      <a:pt x="11922" y="4219"/>
                      <a:pt x="11845" y="4375"/>
                      <a:pt x="12000" y="4375"/>
                    </a:cubicBezTo>
                    <a:cubicBezTo>
                      <a:pt x="12156" y="4375"/>
                      <a:pt x="12816" y="4687"/>
                      <a:pt x="13127" y="4531"/>
                    </a:cubicBezTo>
                    <a:cubicBezTo>
                      <a:pt x="13438" y="4297"/>
                      <a:pt x="14098" y="3283"/>
                      <a:pt x="14370" y="3283"/>
                    </a:cubicBezTo>
                    <a:cubicBezTo>
                      <a:pt x="14603" y="3283"/>
                      <a:pt x="14953" y="3673"/>
                      <a:pt x="15225" y="3439"/>
                    </a:cubicBezTo>
                    <a:cubicBezTo>
                      <a:pt x="15458" y="3283"/>
                      <a:pt x="16196" y="1879"/>
                      <a:pt x="16351" y="1334"/>
                    </a:cubicBezTo>
                    <a:cubicBezTo>
                      <a:pt x="16390" y="1178"/>
                      <a:pt x="16429" y="1022"/>
                      <a:pt x="16468" y="866"/>
                    </a:cubicBezTo>
                    <a:cubicBezTo>
                      <a:pt x="16507" y="866"/>
                      <a:pt x="16545" y="788"/>
                      <a:pt x="16584" y="788"/>
                    </a:cubicBezTo>
                    <a:cubicBezTo>
                      <a:pt x="16817" y="710"/>
                      <a:pt x="17439" y="164"/>
                      <a:pt x="17594" y="8"/>
                    </a:cubicBezTo>
                    <a:cubicBezTo>
                      <a:pt x="17750" y="-70"/>
                      <a:pt x="18410" y="476"/>
                      <a:pt x="18527" y="710"/>
                    </a:cubicBezTo>
                    <a:cubicBezTo>
                      <a:pt x="18604" y="710"/>
                      <a:pt x="18682" y="866"/>
                      <a:pt x="18721" y="1022"/>
                    </a:cubicBezTo>
                    <a:cubicBezTo>
                      <a:pt x="18876" y="1256"/>
                      <a:pt x="18993" y="1646"/>
                      <a:pt x="18993" y="1801"/>
                    </a:cubicBezTo>
                    <a:cubicBezTo>
                      <a:pt x="18993" y="2113"/>
                      <a:pt x="18993" y="3049"/>
                      <a:pt x="19148" y="3361"/>
                    </a:cubicBezTo>
                    <a:cubicBezTo>
                      <a:pt x="19265" y="3673"/>
                      <a:pt x="19731" y="3283"/>
                      <a:pt x="19925" y="3283"/>
                    </a:cubicBezTo>
                    <a:cubicBezTo>
                      <a:pt x="20042" y="3283"/>
                      <a:pt x="20197" y="3673"/>
                      <a:pt x="20275" y="4063"/>
                    </a:cubicBezTo>
                    <a:cubicBezTo>
                      <a:pt x="20197" y="4375"/>
                      <a:pt x="20197" y="4999"/>
                      <a:pt x="20197" y="4999"/>
                    </a:cubicBezTo>
                    <a:cubicBezTo>
                      <a:pt x="19925" y="5311"/>
                      <a:pt x="19925" y="5311"/>
                      <a:pt x="19925" y="5311"/>
                    </a:cubicBezTo>
                    <a:cubicBezTo>
                      <a:pt x="19925" y="5311"/>
                      <a:pt x="20625" y="7260"/>
                      <a:pt x="20702" y="7650"/>
                    </a:cubicBezTo>
                    <a:cubicBezTo>
                      <a:pt x="20780" y="8040"/>
                      <a:pt x="20430" y="8975"/>
                      <a:pt x="20663" y="9131"/>
                    </a:cubicBezTo>
                    <a:cubicBezTo>
                      <a:pt x="20897" y="9287"/>
                      <a:pt x="20974" y="9365"/>
                      <a:pt x="21168" y="9755"/>
                    </a:cubicBezTo>
                    <a:close/>
                    <a:moveTo>
                      <a:pt x="21168" y="9755"/>
                    </a:moveTo>
                  </a:path>
                </a:pathLst>
              </a:custGeom>
              <a:solidFill>
                <a:srgbClr val="B6BF00"/>
              </a:solidFill>
              <a:ln w="6350" cap="flat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17436" name="Freeform 18"/>
              <p:cNvSpPr>
                <a:spLocks/>
              </p:cNvSpPr>
              <p:nvPr/>
            </p:nvSpPr>
            <p:spPr bwMode="auto">
              <a:xfrm>
                <a:off x="1010" y="673"/>
                <a:ext cx="562" cy="411"/>
              </a:xfrm>
              <a:custGeom>
                <a:avLst/>
                <a:gdLst>
                  <a:gd name="T0" fmla="*/ 0 w 21483"/>
                  <a:gd name="T1" fmla="*/ 0 h 21600"/>
                  <a:gd name="T2" fmla="*/ 0 w 21483"/>
                  <a:gd name="T3" fmla="*/ 0 h 21600"/>
                  <a:gd name="T4" fmla="*/ 0 w 21483"/>
                  <a:gd name="T5" fmla="*/ 0 h 21600"/>
                  <a:gd name="T6" fmla="*/ 0 w 21483"/>
                  <a:gd name="T7" fmla="*/ 0 h 21600"/>
                  <a:gd name="T8" fmla="*/ 0 w 21483"/>
                  <a:gd name="T9" fmla="*/ 0 h 21600"/>
                  <a:gd name="T10" fmla="*/ 0 w 21483"/>
                  <a:gd name="T11" fmla="*/ 0 h 21600"/>
                  <a:gd name="T12" fmla="*/ 0 w 21483"/>
                  <a:gd name="T13" fmla="*/ 0 h 21600"/>
                  <a:gd name="T14" fmla="*/ 0 w 21483"/>
                  <a:gd name="T15" fmla="*/ 0 h 21600"/>
                  <a:gd name="T16" fmla="*/ 0 w 21483"/>
                  <a:gd name="T17" fmla="*/ 0 h 21600"/>
                  <a:gd name="T18" fmla="*/ 0 w 21483"/>
                  <a:gd name="T19" fmla="*/ 0 h 21600"/>
                  <a:gd name="T20" fmla="*/ 0 w 21483"/>
                  <a:gd name="T21" fmla="*/ 0 h 21600"/>
                  <a:gd name="T22" fmla="*/ 0 w 21483"/>
                  <a:gd name="T23" fmla="*/ 0 h 21600"/>
                  <a:gd name="T24" fmla="*/ 0 w 21483"/>
                  <a:gd name="T25" fmla="*/ 0 h 21600"/>
                  <a:gd name="T26" fmla="*/ 0 w 21483"/>
                  <a:gd name="T27" fmla="*/ 0 h 21600"/>
                  <a:gd name="T28" fmla="*/ 0 w 21483"/>
                  <a:gd name="T29" fmla="*/ 0 h 21600"/>
                  <a:gd name="T30" fmla="*/ 0 w 21483"/>
                  <a:gd name="T31" fmla="*/ 0 h 21600"/>
                  <a:gd name="T32" fmla="*/ 0 w 21483"/>
                  <a:gd name="T33" fmla="*/ 0 h 21600"/>
                  <a:gd name="T34" fmla="*/ 0 w 21483"/>
                  <a:gd name="T35" fmla="*/ 0 h 21600"/>
                  <a:gd name="T36" fmla="*/ 0 w 21483"/>
                  <a:gd name="T37" fmla="*/ 0 h 21600"/>
                  <a:gd name="T38" fmla="*/ 0 w 21483"/>
                  <a:gd name="T39" fmla="*/ 0 h 21600"/>
                  <a:gd name="T40" fmla="*/ 0 w 21483"/>
                  <a:gd name="T41" fmla="*/ 0 h 21600"/>
                  <a:gd name="T42" fmla="*/ 0 w 21483"/>
                  <a:gd name="T43" fmla="*/ 0 h 21600"/>
                  <a:gd name="T44" fmla="*/ 0 w 21483"/>
                  <a:gd name="T45" fmla="*/ 0 h 21600"/>
                  <a:gd name="T46" fmla="*/ 0 w 21483"/>
                  <a:gd name="T47" fmla="*/ 0 h 21600"/>
                  <a:gd name="T48" fmla="*/ 0 w 21483"/>
                  <a:gd name="T49" fmla="*/ 0 h 21600"/>
                  <a:gd name="T50" fmla="*/ 0 w 21483"/>
                  <a:gd name="T51" fmla="*/ 0 h 21600"/>
                  <a:gd name="T52" fmla="*/ 0 w 21483"/>
                  <a:gd name="T53" fmla="*/ 0 h 21600"/>
                  <a:gd name="T54" fmla="*/ 0 w 21483"/>
                  <a:gd name="T55" fmla="*/ 0 h 21600"/>
                  <a:gd name="T56" fmla="*/ 0 w 21483"/>
                  <a:gd name="T57" fmla="*/ 0 h 21600"/>
                  <a:gd name="T58" fmla="*/ 0 w 21483"/>
                  <a:gd name="T59" fmla="*/ 0 h 21600"/>
                  <a:gd name="T60" fmla="*/ 0 w 21483"/>
                  <a:gd name="T61" fmla="*/ 0 h 21600"/>
                  <a:gd name="T62" fmla="*/ 0 w 21483"/>
                  <a:gd name="T63" fmla="*/ 0 h 21600"/>
                  <a:gd name="T64" fmla="*/ 0 w 21483"/>
                  <a:gd name="T65" fmla="*/ 0 h 21600"/>
                  <a:gd name="T66" fmla="*/ 0 w 21483"/>
                  <a:gd name="T67" fmla="*/ 0 h 21600"/>
                  <a:gd name="T68" fmla="*/ 0 w 21483"/>
                  <a:gd name="T69" fmla="*/ 0 h 21600"/>
                  <a:gd name="T70" fmla="*/ 0 w 21483"/>
                  <a:gd name="T71" fmla="*/ 0 h 21600"/>
                  <a:gd name="T72" fmla="*/ 0 w 21483"/>
                  <a:gd name="T73" fmla="*/ 0 h 21600"/>
                  <a:gd name="T74" fmla="*/ 0 w 21483"/>
                  <a:gd name="T75" fmla="*/ 0 h 21600"/>
                  <a:gd name="T76" fmla="*/ 0 w 21483"/>
                  <a:gd name="T77" fmla="*/ 0 h 21600"/>
                  <a:gd name="T78" fmla="*/ 0 w 21483"/>
                  <a:gd name="T79" fmla="*/ 0 h 21600"/>
                  <a:gd name="T80" fmla="*/ 0 w 21483"/>
                  <a:gd name="T81" fmla="*/ 0 h 2160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1483"/>
                  <a:gd name="T124" fmla="*/ 0 h 21600"/>
                  <a:gd name="T125" fmla="*/ 21483 w 21483"/>
                  <a:gd name="T126" fmla="*/ 21600 h 2160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1483" h="21600">
                    <a:moveTo>
                      <a:pt x="21249" y="12378"/>
                    </a:moveTo>
                    <a:cubicBezTo>
                      <a:pt x="21337" y="13227"/>
                      <a:pt x="21600" y="14562"/>
                      <a:pt x="21424" y="14804"/>
                    </a:cubicBezTo>
                    <a:cubicBezTo>
                      <a:pt x="21161" y="15047"/>
                      <a:pt x="20459" y="15047"/>
                      <a:pt x="20195" y="15533"/>
                    </a:cubicBezTo>
                    <a:cubicBezTo>
                      <a:pt x="19932" y="16018"/>
                      <a:pt x="19229" y="16867"/>
                      <a:pt x="19229" y="17353"/>
                    </a:cubicBezTo>
                    <a:cubicBezTo>
                      <a:pt x="19229" y="17717"/>
                      <a:pt x="19405" y="19173"/>
                      <a:pt x="19493" y="20022"/>
                    </a:cubicBezTo>
                    <a:cubicBezTo>
                      <a:pt x="19054" y="20022"/>
                      <a:pt x="19054" y="20022"/>
                      <a:pt x="19054" y="20022"/>
                    </a:cubicBezTo>
                    <a:cubicBezTo>
                      <a:pt x="19054" y="20022"/>
                      <a:pt x="16420" y="18566"/>
                      <a:pt x="15717" y="18566"/>
                    </a:cubicBezTo>
                    <a:cubicBezTo>
                      <a:pt x="15102" y="18566"/>
                      <a:pt x="14312" y="19173"/>
                      <a:pt x="13873" y="19416"/>
                    </a:cubicBezTo>
                    <a:cubicBezTo>
                      <a:pt x="13434" y="19658"/>
                      <a:pt x="12556" y="21236"/>
                      <a:pt x="11678" y="21357"/>
                    </a:cubicBezTo>
                    <a:cubicBezTo>
                      <a:pt x="10800" y="21357"/>
                      <a:pt x="9220" y="21600"/>
                      <a:pt x="8868" y="21600"/>
                    </a:cubicBezTo>
                    <a:cubicBezTo>
                      <a:pt x="8517" y="21600"/>
                      <a:pt x="7024" y="20993"/>
                      <a:pt x="6585" y="20993"/>
                    </a:cubicBezTo>
                    <a:cubicBezTo>
                      <a:pt x="6059" y="21115"/>
                      <a:pt x="6673" y="19901"/>
                      <a:pt x="6322" y="19780"/>
                    </a:cubicBezTo>
                    <a:cubicBezTo>
                      <a:pt x="5444" y="19173"/>
                      <a:pt x="5444" y="19173"/>
                      <a:pt x="5444" y="19173"/>
                    </a:cubicBezTo>
                    <a:cubicBezTo>
                      <a:pt x="5444" y="18809"/>
                      <a:pt x="5268" y="17838"/>
                      <a:pt x="4917" y="17474"/>
                    </a:cubicBezTo>
                    <a:cubicBezTo>
                      <a:pt x="4478" y="17110"/>
                      <a:pt x="4039" y="18202"/>
                      <a:pt x="3688" y="17960"/>
                    </a:cubicBezTo>
                    <a:cubicBezTo>
                      <a:pt x="3424" y="17717"/>
                      <a:pt x="2283" y="16261"/>
                      <a:pt x="2283" y="16261"/>
                    </a:cubicBezTo>
                    <a:cubicBezTo>
                      <a:pt x="2459" y="14926"/>
                      <a:pt x="2459" y="14926"/>
                      <a:pt x="2459" y="14926"/>
                    </a:cubicBezTo>
                    <a:cubicBezTo>
                      <a:pt x="2459" y="14926"/>
                      <a:pt x="1229" y="13470"/>
                      <a:pt x="878" y="12863"/>
                    </a:cubicBezTo>
                    <a:cubicBezTo>
                      <a:pt x="702" y="12499"/>
                      <a:pt x="263" y="11771"/>
                      <a:pt x="0" y="11285"/>
                    </a:cubicBezTo>
                    <a:cubicBezTo>
                      <a:pt x="878" y="10315"/>
                      <a:pt x="878" y="10315"/>
                      <a:pt x="878" y="10315"/>
                    </a:cubicBezTo>
                    <a:cubicBezTo>
                      <a:pt x="1141" y="9951"/>
                      <a:pt x="2020" y="10436"/>
                      <a:pt x="2107" y="9829"/>
                    </a:cubicBezTo>
                    <a:cubicBezTo>
                      <a:pt x="2195" y="9222"/>
                      <a:pt x="3073" y="5703"/>
                      <a:pt x="3688" y="4854"/>
                    </a:cubicBezTo>
                    <a:cubicBezTo>
                      <a:pt x="4302" y="4126"/>
                      <a:pt x="5093" y="3034"/>
                      <a:pt x="5093" y="3034"/>
                    </a:cubicBezTo>
                    <a:cubicBezTo>
                      <a:pt x="5620" y="2063"/>
                      <a:pt x="5620" y="2063"/>
                      <a:pt x="5620" y="2063"/>
                    </a:cubicBezTo>
                    <a:cubicBezTo>
                      <a:pt x="6234" y="2063"/>
                      <a:pt x="8429" y="2063"/>
                      <a:pt x="8868" y="2184"/>
                    </a:cubicBezTo>
                    <a:cubicBezTo>
                      <a:pt x="9395" y="2184"/>
                      <a:pt x="10098" y="3398"/>
                      <a:pt x="10273" y="3276"/>
                    </a:cubicBezTo>
                    <a:cubicBezTo>
                      <a:pt x="10449" y="3276"/>
                      <a:pt x="11678" y="2427"/>
                      <a:pt x="11854" y="2184"/>
                    </a:cubicBezTo>
                    <a:cubicBezTo>
                      <a:pt x="12117" y="1942"/>
                      <a:pt x="13083" y="728"/>
                      <a:pt x="13434" y="243"/>
                    </a:cubicBezTo>
                    <a:cubicBezTo>
                      <a:pt x="13434" y="243"/>
                      <a:pt x="13522" y="121"/>
                      <a:pt x="13698" y="0"/>
                    </a:cubicBezTo>
                    <a:cubicBezTo>
                      <a:pt x="14224" y="971"/>
                      <a:pt x="14224" y="971"/>
                      <a:pt x="14224" y="971"/>
                    </a:cubicBezTo>
                    <a:cubicBezTo>
                      <a:pt x="14224" y="971"/>
                      <a:pt x="15190" y="3034"/>
                      <a:pt x="15366" y="3519"/>
                    </a:cubicBezTo>
                    <a:cubicBezTo>
                      <a:pt x="15541" y="4126"/>
                      <a:pt x="16771" y="5218"/>
                      <a:pt x="16946" y="5703"/>
                    </a:cubicBezTo>
                    <a:cubicBezTo>
                      <a:pt x="17122" y="6189"/>
                      <a:pt x="17649" y="7524"/>
                      <a:pt x="17473" y="8252"/>
                    </a:cubicBezTo>
                    <a:cubicBezTo>
                      <a:pt x="17298" y="9101"/>
                      <a:pt x="17473" y="10557"/>
                      <a:pt x="17473" y="11285"/>
                    </a:cubicBezTo>
                    <a:cubicBezTo>
                      <a:pt x="18000" y="12013"/>
                      <a:pt x="18000" y="12013"/>
                      <a:pt x="18000" y="12013"/>
                    </a:cubicBezTo>
                    <a:cubicBezTo>
                      <a:pt x="18000" y="12135"/>
                      <a:pt x="17912" y="12135"/>
                      <a:pt x="18000" y="12256"/>
                    </a:cubicBezTo>
                    <a:cubicBezTo>
                      <a:pt x="18000" y="12984"/>
                      <a:pt x="18000" y="13106"/>
                      <a:pt x="18351" y="13348"/>
                    </a:cubicBezTo>
                    <a:cubicBezTo>
                      <a:pt x="18702" y="13470"/>
                      <a:pt x="19229" y="13591"/>
                      <a:pt x="19405" y="13348"/>
                    </a:cubicBezTo>
                    <a:cubicBezTo>
                      <a:pt x="19668" y="13106"/>
                      <a:pt x="19932" y="12135"/>
                      <a:pt x="20283" y="12135"/>
                    </a:cubicBezTo>
                    <a:cubicBezTo>
                      <a:pt x="20371" y="12135"/>
                      <a:pt x="20810" y="12256"/>
                      <a:pt x="21249" y="12378"/>
                    </a:cubicBezTo>
                    <a:close/>
                    <a:moveTo>
                      <a:pt x="21249" y="12378"/>
                    </a:moveTo>
                  </a:path>
                </a:pathLst>
              </a:custGeom>
              <a:solidFill>
                <a:srgbClr val="B6BF00"/>
              </a:solidFill>
              <a:ln w="6350" cap="flat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17437" name="Freeform 19"/>
              <p:cNvSpPr>
                <a:spLocks/>
              </p:cNvSpPr>
              <p:nvPr/>
            </p:nvSpPr>
            <p:spPr bwMode="auto">
              <a:xfrm>
                <a:off x="1130" y="1026"/>
                <a:ext cx="390" cy="266"/>
              </a:xfrm>
              <a:custGeom>
                <a:avLst/>
                <a:gdLst>
                  <a:gd name="T0" fmla="*/ 0 w 21177"/>
                  <a:gd name="T1" fmla="*/ 0 h 21600"/>
                  <a:gd name="T2" fmla="*/ 0 w 21177"/>
                  <a:gd name="T3" fmla="*/ 0 h 21600"/>
                  <a:gd name="T4" fmla="*/ 0 w 21177"/>
                  <a:gd name="T5" fmla="*/ 0 h 21600"/>
                  <a:gd name="T6" fmla="*/ 0 w 21177"/>
                  <a:gd name="T7" fmla="*/ 0 h 21600"/>
                  <a:gd name="T8" fmla="*/ 0 w 21177"/>
                  <a:gd name="T9" fmla="*/ 0 h 21600"/>
                  <a:gd name="T10" fmla="*/ 0 w 21177"/>
                  <a:gd name="T11" fmla="*/ 0 h 21600"/>
                  <a:gd name="T12" fmla="*/ 0 w 21177"/>
                  <a:gd name="T13" fmla="*/ 0 h 21600"/>
                  <a:gd name="T14" fmla="*/ 0 w 21177"/>
                  <a:gd name="T15" fmla="*/ 0 h 21600"/>
                  <a:gd name="T16" fmla="*/ 0 w 21177"/>
                  <a:gd name="T17" fmla="*/ 0 h 21600"/>
                  <a:gd name="T18" fmla="*/ 0 w 21177"/>
                  <a:gd name="T19" fmla="*/ 0 h 21600"/>
                  <a:gd name="T20" fmla="*/ 0 w 21177"/>
                  <a:gd name="T21" fmla="*/ 0 h 21600"/>
                  <a:gd name="T22" fmla="*/ 0 w 21177"/>
                  <a:gd name="T23" fmla="*/ 0 h 21600"/>
                  <a:gd name="T24" fmla="*/ 0 w 21177"/>
                  <a:gd name="T25" fmla="*/ 0 h 21600"/>
                  <a:gd name="T26" fmla="*/ 0 w 21177"/>
                  <a:gd name="T27" fmla="*/ 0 h 21600"/>
                  <a:gd name="T28" fmla="*/ 0 w 21177"/>
                  <a:gd name="T29" fmla="*/ 0 h 21600"/>
                  <a:gd name="T30" fmla="*/ 0 w 21177"/>
                  <a:gd name="T31" fmla="*/ 0 h 21600"/>
                  <a:gd name="T32" fmla="*/ 0 w 21177"/>
                  <a:gd name="T33" fmla="*/ 0 h 21600"/>
                  <a:gd name="T34" fmla="*/ 0 w 21177"/>
                  <a:gd name="T35" fmla="*/ 0 h 21600"/>
                  <a:gd name="T36" fmla="*/ 0 w 21177"/>
                  <a:gd name="T37" fmla="*/ 0 h 21600"/>
                  <a:gd name="T38" fmla="*/ 0 w 21177"/>
                  <a:gd name="T39" fmla="*/ 0 h 21600"/>
                  <a:gd name="T40" fmla="*/ 0 w 21177"/>
                  <a:gd name="T41" fmla="*/ 0 h 21600"/>
                  <a:gd name="T42" fmla="*/ 0 w 21177"/>
                  <a:gd name="T43" fmla="*/ 0 h 21600"/>
                  <a:gd name="T44" fmla="*/ 0 w 21177"/>
                  <a:gd name="T45" fmla="*/ 0 h 21600"/>
                  <a:gd name="T46" fmla="*/ 0 w 21177"/>
                  <a:gd name="T47" fmla="*/ 0 h 21600"/>
                  <a:gd name="T48" fmla="*/ 0 w 21177"/>
                  <a:gd name="T49" fmla="*/ 0 h 21600"/>
                  <a:gd name="T50" fmla="*/ 0 w 21177"/>
                  <a:gd name="T51" fmla="*/ 0 h 21600"/>
                  <a:gd name="T52" fmla="*/ 0 w 21177"/>
                  <a:gd name="T53" fmla="*/ 0 h 21600"/>
                  <a:gd name="T54" fmla="*/ 0 w 21177"/>
                  <a:gd name="T55" fmla="*/ 0 h 21600"/>
                  <a:gd name="T56" fmla="*/ 0 w 21177"/>
                  <a:gd name="T57" fmla="*/ 0 h 21600"/>
                  <a:gd name="T58" fmla="*/ 0 w 21177"/>
                  <a:gd name="T59" fmla="*/ 0 h 21600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21177"/>
                  <a:gd name="T91" fmla="*/ 0 h 21600"/>
                  <a:gd name="T92" fmla="*/ 21177 w 21177"/>
                  <a:gd name="T93" fmla="*/ 21600 h 21600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21177" h="21600">
                    <a:moveTo>
                      <a:pt x="21177" y="2234"/>
                    </a:moveTo>
                    <a:cubicBezTo>
                      <a:pt x="21177" y="2793"/>
                      <a:pt x="21177" y="3166"/>
                      <a:pt x="21177" y="3352"/>
                    </a:cubicBezTo>
                    <a:cubicBezTo>
                      <a:pt x="21177" y="3910"/>
                      <a:pt x="20802" y="4469"/>
                      <a:pt x="20678" y="4841"/>
                    </a:cubicBezTo>
                    <a:cubicBezTo>
                      <a:pt x="20553" y="5400"/>
                      <a:pt x="19429" y="4469"/>
                      <a:pt x="19429" y="5214"/>
                    </a:cubicBezTo>
                    <a:cubicBezTo>
                      <a:pt x="19429" y="6145"/>
                      <a:pt x="19054" y="8752"/>
                      <a:pt x="19054" y="9310"/>
                    </a:cubicBezTo>
                    <a:cubicBezTo>
                      <a:pt x="19054" y="10055"/>
                      <a:pt x="17806" y="10055"/>
                      <a:pt x="17806" y="10986"/>
                    </a:cubicBezTo>
                    <a:cubicBezTo>
                      <a:pt x="17806" y="12103"/>
                      <a:pt x="18430" y="12848"/>
                      <a:pt x="19179" y="12848"/>
                    </a:cubicBezTo>
                    <a:cubicBezTo>
                      <a:pt x="19679" y="13034"/>
                      <a:pt x="19928" y="13779"/>
                      <a:pt x="19928" y="14524"/>
                    </a:cubicBezTo>
                    <a:cubicBezTo>
                      <a:pt x="19429" y="14897"/>
                      <a:pt x="18805" y="15269"/>
                      <a:pt x="18680" y="15269"/>
                    </a:cubicBezTo>
                    <a:cubicBezTo>
                      <a:pt x="18180" y="15641"/>
                      <a:pt x="17306" y="14524"/>
                      <a:pt x="16682" y="14897"/>
                    </a:cubicBezTo>
                    <a:cubicBezTo>
                      <a:pt x="15933" y="15083"/>
                      <a:pt x="15184" y="15269"/>
                      <a:pt x="14185" y="16200"/>
                    </a:cubicBezTo>
                    <a:cubicBezTo>
                      <a:pt x="13311" y="17131"/>
                      <a:pt x="13436" y="18248"/>
                      <a:pt x="13186" y="19366"/>
                    </a:cubicBezTo>
                    <a:cubicBezTo>
                      <a:pt x="12937" y="20483"/>
                      <a:pt x="11563" y="20297"/>
                      <a:pt x="10814" y="20297"/>
                    </a:cubicBezTo>
                    <a:cubicBezTo>
                      <a:pt x="10065" y="20297"/>
                      <a:pt x="8067" y="18993"/>
                      <a:pt x="7193" y="18993"/>
                    </a:cubicBezTo>
                    <a:cubicBezTo>
                      <a:pt x="6444" y="18993"/>
                      <a:pt x="3947" y="20669"/>
                      <a:pt x="2574" y="21600"/>
                    </a:cubicBezTo>
                    <a:cubicBezTo>
                      <a:pt x="2449" y="18993"/>
                      <a:pt x="2449" y="18993"/>
                      <a:pt x="2449" y="18993"/>
                    </a:cubicBezTo>
                    <a:cubicBezTo>
                      <a:pt x="2449" y="18062"/>
                      <a:pt x="1700" y="16200"/>
                      <a:pt x="1700" y="16200"/>
                    </a:cubicBezTo>
                    <a:cubicBezTo>
                      <a:pt x="1700" y="16200"/>
                      <a:pt x="-423" y="14897"/>
                      <a:pt x="76" y="13779"/>
                    </a:cubicBezTo>
                    <a:cubicBezTo>
                      <a:pt x="576" y="12662"/>
                      <a:pt x="2199" y="8193"/>
                      <a:pt x="2199" y="8193"/>
                    </a:cubicBezTo>
                    <a:cubicBezTo>
                      <a:pt x="2199" y="8193"/>
                      <a:pt x="76" y="5586"/>
                      <a:pt x="201" y="4097"/>
                    </a:cubicBezTo>
                    <a:cubicBezTo>
                      <a:pt x="451" y="2421"/>
                      <a:pt x="1200" y="1490"/>
                      <a:pt x="1200" y="931"/>
                    </a:cubicBezTo>
                    <a:cubicBezTo>
                      <a:pt x="2449" y="1862"/>
                      <a:pt x="2449" y="1862"/>
                      <a:pt x="2449" y="1862"/>
                    </a:cubicBezTo>
                    <a:cubicBezTo>
                      <a:pt x="2948" y="2048"/>
                      <a:pt x="2074" y="3910"/>
                      <a:pt x="2823" y="3724"/>
                    </a:cubicBezTo>
                    <a:cubicBezTo>
                      <a:pt x="3448" y="3724"/>
                      <a:pt x="5570" y="4655"/>
                      <a:pt x="6069" y="4655"/>
                    </a:cubicBezTo>
                    <a:cubicBezTo>
                      <a:pt x="6569" y="4655"/>
                      <a:pt x="8816" y="4283"/>
                      <a:pt x="10065" y="4283"/>
                    </a:cubicBezTo>
                    <a:cubicBezTo>
                      <a:pt x="11313" y="4097"/>
                      <a:pt x="12562" y="1676"/>
                      <a:pt x="13186" y="1303"/>
                    </a:cubicBezTo>
                    <a:cubicBezTo>
                      <a:pt x="13811" y="931"/>
                      <a:pt x="14934" y="0"/>
                      <a:pt x="15808" y="0"/>
                    </a:cubicBezTo>
                    <a:cubicBezTo>
                      <a:pt x="16807" y="0"/>
                      <a:pt x="20553" y="2234"/>
                      <a:pt x="20553" y="2234"/>
                    </a:cubicBezTo>
                    <a:lnTo>
                      <a:pt x="21177" y="2234"/>
                    </a:lnTo>
                    <a:close/>
                    <a:moveTo>
                      <a:pt x="21177" y="2234"/>
                    </a:moveTo>
                  </a:path>
                </a:pathLst>
              </a:custGeom>
              <a:solidFill>
                <a:srgbClr val="B6BF00"/>
              </a:solidFill>
              <a:ln w="6350" cap="flat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17438" name="Freeform 20"/>
              <p:cNvSpPr>
                <a:spLocks/>
              </p:cNvSpPr>
              <p:nvPr/>
            </p:nvSpPr>
            <p:spPr bwMode="auto">
              <a:xfrm>
                <a:off x="1380" y="1204"/>
                <a:ext cx="184" cy="158"/>
              </a:xfrm>
              <a:custGeom>
                <a:avLst/>
                <a:gdLst>
                  <a:gd name="T0" fmla="*/ 0 w 21131"/>
                  <a:gd name="T1" fmla="*/ 0 h 21410"/>
                  <a:gd name="T2" fmla="*/ 0 w 21131"/>
                  <a:gd name="T3" fmla="*/ 0 h 21410"/>
                  <a:gd name="T4" fmla="*/ 0 w 21131"/>
                  <a:gd name="T5" fmla="*/ 0 h 21410"/>
                  <a:gd name="T6" fmla="*/ 0 w 21131"/>
                  <a:gd name="T7" fmla="*/ 0 h 21410"/>
                  <a:gd name="T8" fmla="*/ 0 w 21131"/>
                  <a:gd name="T9" fmla="*/ 0 h 21410"/>
                  <a:gd name="T10" fmla="*/ 0 w 21131"/>
                  <a:gd name="T11" fmla="*/ 0 h 21410"/>
                  <a:gd name="T12" fmla="*/ 0 w 21131"/>
                  <a:gd name="T13" fmla="*/ 0 h 21410"/>
                  <a:gd name="T14" fmla="*/ 0 w 21131"/>
                  <a:gd name="T15" fmla="*/ 0 h 21410"/>
                  <a:gd name="T16" fmla="*/ 0 w 21131"/>
                  <a:gd name="T17" fmla="*/ 0 h 21410"/>
                  <a:gd name="T18" fmla="*/ 0 w 21131"/>
                  <a:gd name="T19" fmla="*/ 0 h 21410"/>
                  <a:gd name="T20" fmla="*/ 0 w 21131"/>
                  <a:gd name="T21" fmla="*/ 0 h 21410"/>
                  <a:gd name="T22" fmla="*/ 0 w 21131"/>
                  <a:gd name="T23" fmla="*/ 0 h 21410"/>
                  <a:gd name="T24" fmla="*/ 0 w 21131"/>
                  <a:gd name="T25" fmla="*/ 0 h 21410"/>
                  <a:gd name="T26" fmla="*/ 0 w 21131"/>
                  <a:gd name="T27" fmla="*/ 0 h 21410"/>
                  <a:gd name="T28" fmla="*/ 0 w 21131"/>
                  <a:gd name="T29" fmla="*/ 0 h 21410"/>
                  <a:gd name="T30" fmla="*/ 0 w 21131"/>
                  <a:gd name="T31" fmla="*/ 0 h 21410"/>
                  <a:gd name="T32" fmla="*/ 0 w 21131"/>
                  <a:gd name="T33" fmla="*/ 0 h 21410"/>
                  <a:gd name="T34" fmla="*/ 0 w 21131"/>
                  <a:gd name="T35" fmla="*/ 0 h 21410"/>
                  <a:gd name="T36" fmla="*/ 0 w 21131"/>
                  <a:gd name="T37" fmla="*/ 0 h 21410"/>
                  <a:gd name="T38" fmla="*/ 0 w 21131"/>
                  <a:gd name="T39" fmla="*/ 0 h 21410"/>
                  <a:gd name="T40" fmla="*/ 0 w 21131"/>
                  <a:gd name="T41" fmla="*/ 0 h 21410"/>
                  <a:gd name="T42" fmla="*/ 0 w 21131"/>
                  <a:gd name="T43" fmla="*/ 0 h 2141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21131"/>
                  <a:gd name="T67" fmla="*/ 0 h 21410"/>
                  <a:gd name="T68" fmla="*/ 21131 w 21131"/>
                  <a:gd name="T69" fmla="*/ 21410 h 21410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21131" h="21410">
                    <a:moveTo>
                      <a:pt x="4215" y="15652"/>
                    </a:moveTo>
                    <a:cubicBezTo>
                      <a:pt x="3951" y="13774"/>
                      <a:pt x="1054" y="17530"/>
                      <a:pt x="0" y="16278"/>
                    </a:cubicBezTo>
                    <a:cubicBezTo>
                      <a:pt x="790" y="15026"/>
                      <a:pt x="1580" y="13774"/>
                      <a:pt x="2107" y="13148"/>
                    </a:cubicBezTo>
                    <a:cubicBezTo>
                      <a:pt x="2634" y="12522"/>
                      <a:pt x="3688" y="10643"/>
                      <a:pt x="3688" y="8139"/>
                    </a:cubicBezTo>
                    <a:cubicBezTo>
                      <a:pt x="3688" y="5635"/>
                      <a:pt x="1317" y="2817"/>
                      <a:pt x="1317" y="2817"/>
                    </a:cubicBezTo>
                    <a:cubicBezTo>
                      <a:pt x="3424" y="1252"/>
                      <a:pt x="5005" y="939"/>
                      <a:pt x="6585" y="626"/>
                    </a:cubicBezTo>
                    <a:cubicBezTo>
                      <a:pt x="7902" y="0"/>
                      <a:pt x="9746" y="1878"/>
                      <a:pt x="10800" y="1252"/>
                    </a:cubicBezTo>
                    <a:cubicBezTo>
                      <a:pt x="11063" y="1252"/>
                      <a:pt x="12380" y="626"/>
                      <a:pt x="13434" y="0"/>
                    </a:cubicBezTo>
                    <a:cubicBezTo>
                      <a:pt x="13434" y="626"/>
                      <a:pt x="13434" y="939"/>
                      <a:pt x="13434" y="1252"/>
                    </a:cubicBezTo>
                    <a:cubicBezTo>
                      <a:pt x="13434" y="2817"/>
                      <a:pt x="14488" y="5322"/>
                      <a:pt x="15805" y="5635"/>
                    </a:cubicBezTo>
                    <a:cubicBezTo>
                      <a:pt x="16859" y="5635"/>
                      <a:pt x="20283" y="7200"/>
                      <a:pt x="20810" y="7200"/>
                    </a:cubicBezTo>
                    <a:cubicBezTo>
                      <a:pt x="21600" y="7513"/>
                      <a:pt x="20810" y="10330"/>
                      <a:pt x="19756" y="10330"/>
                    </a:cubicBezTo>
                    <a:cubicBezTo>
                      <a:pt x="18966" y="10643"/>
                      <a:pt x="16595" y="9704"/>
                      <a:pt x="15541" y="10330"/>
                    </a:cubicBezTo>
                    <a:cubicBezTo>
                      <a:pt x="14224" y="10957"/>
                      <a:pt x="12117" y="10957"/>
                      <a:pt x="11063" y="12209"/>
                    </a:cubicBezTo>
                    <a:cubicBezTo>
                      <a:pt x="10273" y="13148"/>
                      <a:pt x="8956" y="15026"/>
                      <a:pt x="8956" y="15026"/>
                    </a:cubicBezTo>
                    <a:cubicBezTo>
                      <a:pt x="8956" y="15026"/>
                      <a:pt x="8166" y="15965"/>
                      <a:pt x="7376" y="16591"/>
                    </a:cubicBezTo>
                    <a:cubicBezTo>
                      <a:pt x="6585" y="17217"/>
                      <a:pt x="3688" y="18783"/>
                      <a:pt x="2634" y="19722"/>
                    </a:cubicBezTo>
                    <a:cubicBezTo>
                      <a:pt x="1580" y="20348"/>
                      <a:pt x="2371" y="20661"/>
                      <a:pt x="1580" y="20974"/>
                    </a:cubicBezTo>
                    <a:cubicBezTo>
                      <a:pt x="790" y="21600"/>
                      <a:pt x="263" y="21600"/>
                      <a:pt x="0" y="20661"/>
                    </a:cubicBezTo>
                    <a:cubicBezTo>
                      <a:pt x="0" y="19722"/>
                      <a:pt x="4478" y="16278"/>
                      <a:pt x="4215" y="15652"/>
                    </a:cubicBezTo>
                    <a:close/>
                    <a:moveTo>
                      <a:pt x="4215" y="15652"/>
                    </a:moveTo>
                  </a:path>
                </a:pathLst>
              </a:custGeom>
              <a:solidFill>
                <a:srgbClr val="B6BF00"/>
              </a:solidFill>
              <a:ln w="6350" cap="flat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17439" name="Freeform 21"/>
              <p:cNvSpPr>
                <a:spLocks/>
              </p:cNvSpPr>
              <p:nvPr/>
            </p:nvSpPr>
            <p:spPr bwMode="auto">
              <a:xfrm>
                <a:off x="685" y="91"/>
                <a:ext cx="530" cy="531"/>
              </a:xfrm>
              <a:custGeom>
                <a:avLst/>
                <a:gdLst>
                  <a:gd name="T0" fmla="*/ 0 w 21446"/>
                  <a:gd name="T1" fmla="*/ 0 h 21600"/>
                  <a:gd name="T2" fmla="*/ 0 w 21446"/>
                  <a:gd name="T3" fmla="*/ 0 h 21600"/>
                  <a:gd name="T4" fmla="*/ 0 w 21446"/>
                  <a:gd name="T5" fmla="*/ 0 h 21600"/>
                  <a:gd name="T6" fmla="*/ 0 w 21446"/>
                  <a:gd name="T7" fmla="*/ 0 h 21600"/>
                  <a:gd name="T8" fmla="*/ 0 w 21446"/>
                  <a:gd name="T9" fmla="*/ 0 h 21600"/>
                  <a:gd name="T10" fmla="*/ 0 w 21446"/>
                  <a:gd name="T11" fmla="*/ 0 h 21600"/>
                  <a:gd name="T12" fmla="*/ 0 w 21446"/>
                  <a:gd name="T13" fmla="*/ 0 h 21600"/>
                  <a:gd name="T14" fmla="*/ 0 w 21446"/>
                  <a:gd name="T15" fmla="*/ 0 h 21600"/>
                  <a:gd name="T16" fmla="*/ 0 w 21446"/>
                  <a:gd name="T17" fmla="*/ 0 h 21600"/>
                  <a:gd name="T18" fmla="*/ 0 w 21446"/>
                  <a:gd name="T19" fmla="*/ 0 h 21600"/>
                  <a:gd name="T20" fmla="*/ 0 w 21446"/>
                  <a:gd name="T21" fmla="*/ 0 h 21600"/>
                  <a:gd name="T22" fmla="*/ 0 w 21446"/>
                  <a:gd name="T23" fmla="*/ 0 h 21600"/>
                  <a:gd name="T24" fmla="*/ 0 w 21446"/>
                  <a:gd name="T25" fmla="*/ 0 h 21600"/>
                  <a:gd name="T26" fmla="*/ 0 w 21446"/>
                  <a:gd name="T27" fmla="*/ 0 h 21600"/>
                  <a:gd name="T28" fmla="*/ 0 w 21446"/>
                  <a:gd name="T29" fmla="*/ 0 h 21600"/>
                  <a:gd name="T30" fmla="*/ 0 w 21446"/>
                  <a:gd name="T31" fmla="*/ 0 h 21600"/>
                  <a:gd name="T32" fmla="*/ 0 w 21446"/>
                  <a:gd name="T33" fmla="*/ 0 h 21600"/>
                  <a:gd name="T34" fmla="*/ 0 w 21446"/>
                  <a:gd name="T35" fmla="*/ 0 h 21600"/>
                  <a:gd name="T36" fmla="*/ 0 w 21446"/>
                  <a:gd name="T37" fmla="*/ 0 h 21600"/>
                  <a:gd name="T38" fmla="*/ 0 w 21446"/>
                  <a:gd name="T39" fmla="*/ 0 h 21600"/>
                  <a:gd name="T40" fmla="*/ 0 w 21446"/>
                  <a:gd name="T41" fmla="*/ 0 h 21600"/>
                  <a:gd name="T42" fmla="*/ 0 w 21446"/>
                  <a:gd name="T43" fmla="*/ 0 h 21600"/>
                  <a:gd name="T44" fmla="*/ 0 w 21446"/>
                  <a:gd name="T45" fmla="*/ 0 h 21600"/>
                  <a:gd name="T46" fmla="*/ 0 w 21446"/>
                  <a:gd name="T47" fmla="*/ 0 h 21600"/>
                  <a:gd name="T48" fmla="*/ 0 w 21446"/>
                  <a:gd name="T49" fmla="*/ 0 h 21600"/>
                  <a:gd name="T50" fmla="*/ 0 w 21446"/>
                  <a:gd name="T51" fmla="*/ 0 h 21600"/>
                  <a:gd name="T52" fmla="*/ 0 w 21446"/>
                  <a:gd name="T53" fmla="*/ 0 h 21600"/>
                  <a:gd name="T54" fmla="*/ 0 w 21446"/>
                  <a:gd name="T55" fmla="*/ 0 h 21600"/>
                  <a:gd name="T56" fmla="*/ 0 w 21446"/>
                  <a:gd name="T57" fmla="*/ 0 h 21600"/>
                  <a:gd name="T58" fmla="*/ 0 w 21446"/>
                  <a:gd name="T59" fmla="*/ 0 h 21600"/>
                  <a:gd name="T60" fmla="*/ 0 w 21446"/>
                  <a:gd name="T61" fmla="*/ 0 h 21600"/>
                  <a:gd name="T62" fmla="*/ 0 w 21446"/>
                  <a:gd name="T63" fmla="*/ 0 h 21600"/>
                  <a:gd name="T64" fmla="*/ 0 w 21446"/>
                  <a:gd name="T65" fmla="*/ 0 h 21600"/>
                  <a:gd name="T66" fmla="*/ 0 w 21446"/>
                  <a:gd name="T67" fmla="*/ 0 h 21600"/>
                  <a:gd name="T68" fmla="*/ 0 w 21446"/>
                  <a:gd name="T69" fmla="*/ 0 h 21600"/>
                  <a:gd name="T70" fmla="*/ 0 w 21446"/>
                  <a:gd name="T71" fmla="*/ 0 h 21600"/>
                  <a:gd name="T72" fmla="*/ 0 w 21446"/>
                  <a:gd name="T73" fmla="*/ 0 h 21600"/>
                  <a:gd name="T74" fmla="*/ 0 w 21446"/>
                  <a:gd name="T75" fmla="*/ 0 h 21600"/>
                  <a:gd name="T76" fmla="*/ 0 w 21446"/>
                  <a:gd name="T77" fmla="*/ 0 h 21600"/>
                  <a:gd name="T78" fmla="*/ 0 w 21446"/>
                  <a:gd name="T79" fmla="*/ 0 h 21600"/>
                  <a:gd name="T80" fmla="*/ 0 w 21446"/>
                  <a:gd name="T81" fmla="*/ 0 h 21600"/>
                  <a:gd name="T82" fmla="*/ 0 w 21446"/>
                  <a:gd name="T83" fmla="*/ 0 h 21600"/>
                  <a:gd name="T84" fmla="*/ 0 w 21446"/>
                  <a:gd name="T85" fmla="*/ 0 h 21600"/>
                  <a:gd name="T86" fmla="*/ 0 w 21446"/>
                  <a:gd name="T87" fmla="*/ 0 h 21600"/>
                  <a:gd name="T88" fmla="*/ 0 w 21446"/>
                  <a:gd name="T89" fmla="*/ 0 h 21600"/>
                  <a:gd name="T90" fmla="*/ 0 w 21446"/>
                  <a:gd name="T91" fmla="*/ 0 h 21600"/>
                  <a:gd name="T92" fmla="*/ 0 w 21446"/>
                  <a:gd name="T93" fmla="*/ 0 h 21600"/>
                  <a:gd name="T94" fmla="*/ 0 w 21446"/>
                  <a:gd name="T95" fmla="*/ 0 h 21600"/>
                  <a:gd name="T96" fmla="*/ 0 w 21446"/>
                  <a:gd name="T97" fmla="*/ 0 h 21600"/>
                  <a:gd name="T98" fmla="*/ 0 w 21446"/>
                  <a:gd name="T99" fmla="*/ 0 h 21600"/>
                  <a:gd name="T100" fmla="*/ 0 w 21446"/>
                  <a:gd name="T101" fmla="*/ 0 h 21600"/>
                  <a:gd name="T102" fmla="*/ 0 w 21446"/>
                  <a:gd name="T103" fmla="*/ 0 h 21600"/>
                  <a:gd name="T104" fmla="*/ 0 w 21446"/>
                  <a:gd name="T105" fmla="*/ 0 h 21600"/>
                  <a:gd name="T106" fmla="*/ 0 w 21446"/>
                  <a:gd name="T107" fmla="*/ 0 h 21600"/>
                  <a:gd name="T108" fmla="*/ 0 w 21446"/>
                  <a:gd name="T109" fmla="*/ 0 h 2160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21446"/>
                  <a:gd name="T166" fmla="*/ 0 h 21600"/>
                  <a:gd name="T167" fmla="*/ 21446 w 21446"/>
                  <a:gd name="T168" fmla="*/ 21600 h 2160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21446" h="21600">
                    <a:moveTo>
                      <a:pt x="20980" y="15055"/>
                    </a:moveTo>
                    <a:cubicBezTo>
                      <a:pt x="21260" y="15429"/>
                      <a:pt x="21446" y="16270"/>
                      <a:pt x="21446" y="16644"/>
                    </a:cubicBezTo>
                    <a:cubicBezTo>
                      <a:pt x="21353" y="17018"/>
                      <a:pt x="20608" y="17018"/>
                      <a:pt x="20236" y="17205"/>
                    </a:cubicBezTo>
                    <a:cubicBezTo>
                      <a:pt x="19863" y="17392"/>
                      <a:pt x="18932" y="18982"/>
                      <a:pt x="18560" y="19636"/>
                    </a:cubicBezTo>
                    <a:cubicBezTo>
                      <a:pt x="18187" y="20291"/>
                      <a:pt x="18653" y="21226"/>
                      <a:pt x="18653" y="21600"/>
                    </a:cubicBezTo>
                    <a:cubicBezTo>
                      <a:pt x="17163" y="21319"/>
                      <a:pt x="17163" y="21319"/>
                      <a:pt x="17163" y="21319"/>
                    </a:cubicBezTo>
                    <a:cubicBezTo>
                      <a:pt x="16977" y="21132"/>
                      <a:pt x="15860" y="20478"/>
                      <a:pt x="15487" y="20478"/>
                    </a:cubicBezTo>
                    <a:cubicBezTo>
                      <a:pt x="15115" y="20478"/>
                      <a:pt x="13718" y="20665"/>
                      <a:pt x="13439" y="20758"/>
                    </a:cubicBezTo>
                    <a:cubicBezTo>
                      <a:pt x="13067" y="20852"/>
                      <a:pt x="12508" y="21506"/>
                      <a:pt x="12508" y="21506"/>
                    </a:cubicBezTo>
                    <a:cubicBezTo>
                      <a:pt x="12508" y="21506"/>
                      <a:pt x="11949" y="21600"/>
                      <a:pt x="11763" y="21600"/>
                    </a:cubicBezTo>
                    <a:cubicBezTo>
                      <a:pt x="11670" y="21600"/>
                      <a:pt x="11670" y="21226"/>
                      <a:pt x="11670" y="20852"/>
                    </a:cubicBezTo>
                    <a:cubicBezTo>
                      <a:pt x="11670" y="20571"/>
                      <a:pt x="11112" y="20197"/>
                      <a:pt x="10832" y="20104"/>
                    </a:cubicBezTo>
                    <a:cubicBezTo>
                      <a:pt x="10553" y="20104"/>
                      <a:pt x="10087" y="20104"/>
                      <a:pt x="9715" y="20197"/>
                    </a:cubicBezTo>
                    <a:cubicBezTo>
                      <a:pt x="9343" y="19262"/>
                      <a:pt x="9343" y="19262"/>
                      <a:pt x="9343" y="19262"/>
                    </a:cubicBezTo>
                    <a:cubicBezTo>
                      <a:pt x="9343" y="19262"/>
                      <a:pt x="9343" y="18982"/>
                      <a:pt x="8784" y="18701"/>
                    </a:cubicBezTo>
                    <a:cubicBezTo>
                      <a:pt x="8318" y="18421"/>
                      <a:pt x="7667" y="18701"/>
                      <a:pt x="7480" y="18421"/>
                    </a:cubicBezTo>
                    <a:cubicBezTo>
                      <a:pt x="7201" y="18140"/>
                      <a:pt x="7387" y="17486"/>
                      <a:pt x="7201" y="17392"/>
                    </a:cubicBezTo>
                    <a:cubicBezTo>
                      <a:pt x="7015" y="17299"/>
                      <a:pt x="5618" y="16831"/>
                      <a:pt x="5432" y="16925"/>
                    </a:cubicBezTo>
                    <a:cubicBezTo>
                      <a:pt x="5339" y="17112"/>
                      <a:pt x="4874" y="18140"/>
                      <a:pt x="4874" y="18140"/>
                    </a:cubicBezTo>
                    <a:cubicBezTo>
                      <a:pt x="4687" y="18234"/>
                      <a:pt x="3849" y="16831"/>
                      <a:pt x="3756" y="16644"/>
                    </a:cubicBezTo>
                    <a:cubicBezTo>
                      <a:pt x="3570" y="16457"/>
                      <a:pt x="4501" y="16083"/>
                      <a:pt x="3756" y="15803"/>
                    </a:cubicBezTo>
                    <a:cubicBezTo>
                      <a:pt x="3012" y="15522"/>
                      <a:pt x="1708" y="15055"/>
                      <a:pt x="1522" y="14774"/>
                    </a:cubicBezTo>
                    <a:cubicBezTo>
                      <a:pt x="1149" y="14493"/>
                      <a:pt x="1522" y="13558"/>
                      <a:pt x="1336" y="13184"/>
                    </a:cubicBezTo>
                    <a:cubicBezTo>
                      <a:pt x="1336" y="12904"/>
                      <a:pt x="963" y="11875"/>
                      <a:pt x="963" y="11221"/>
                    </a:cubicBezTo>
                    <a:cubicBezTo>
                      <a:pt x="963" y="10566"/>
                      <a:pt x="1336" y="9351"/>
                      <a:pt x="963" y="8977"/>
                    </a:cubicBezTo>
                    <a:cubicBezTo>
                      <a:pt x="498" y="8603"/>
                      <a:pt x="-154" y="8322"/>
                      <a:pt x="32" y="8042"/>
                    </a:cubicBezTo>
                    <a:cubicBezTo>
                      <a:pt x="218" y="7668"/>
                      <a:pt x="777" y="7294"/>
                      <a:pt x="777" y="6826"/>
                    </a:cubicBezTo>
                    <a:cubicBezTo>
                      <a:pt x="777" y="6452"/>
                      <a:pt x="870" y="5236"/>
                      <a:pt x="963" y="4395"/>
                    </a:cubicBezTo>
                    <a:cubicBezTo>
                      <a:pt x="1056" y="4301"/>
                      <a:pt x="1149" y="4301"/>
                      <a:pt x="1243" y="4301"/>
                    </a:cubicBezTo>
                    <a:cubicBezTo>
                      <a:pt x="1615" y="4301"/>
                      <a:pt x="3943" y="3647"/>
                      <a:pt x="4222" y="3647"/>
                    </a:cubicBezTo>
                    <a:cubicBezTo>
                      <a:pt x="4501" y="3647"/>
                      <a:pt x="4967" y="2712"/>
                      <a:pt x="5246" y="2712"/>
                    </a:cubicBezTo>
                    <a:cubicBezTo>
                      <a:pt x="5618" y="2618"/>
                      <a:pt x="5898" y="2618"/>
                      <a:pt x="6084" y="2525"/>
                    </a:cubicBezTo>
                    <a:cubicBezTo>
                      <a:pt x="6270" y="2525"/>
                      <a:pt x="6643" y="1964"/>
                      <a:pt x="6922" y="1964"/>
                    </a:cubicBezTo>
                    <a:cubicBezTo>
                      <a:pt x="7201" y="1964"/>
                      <a:pt x="8598" y="1683"/>
                      <a:pt x="8970" y="1870"/>
                    </a:cubicBezTo>
                    <a:cubicBezTo>
                      <a:pt x="9249" y="1964"/>
                      <a:pt x="9156" y="2057"/>
                      <a:pt x="9156" y="2338"/>
                    </a:cubicBezTo>
                    <a:cubicBezTo>
                      <a:pt x="9249" y="2525"/>
                      <a:pt x="9249" y="3179"/>
                      <a:pt x="9436" y="3273"/>
                    </a:cubicBezTo>
                    <a:cubicBezTo>
                      <a:pt x="9622" y="3273"/>
                      <a:pt x="10274" y="3647"/>
                      <a:pt x="10646" y="3553"/>
                    </a:cubicBezTo>
                    <a:cubicBezTo>
                      <a:pt x="11018" y="3460"/>
                      <a:pt x="12136" y="2618"/>
                      <a:pt x="12136" y="2338"/>
                    </a:cubicBezTo>
                    <a:cubicBezTo>
                      <a:pt x="12229" y="2151"/>
                      <a:pt x="11949" y="1496"/>
                      <a:pt x="12229" y="1403"/>
                    </a:cubicBezTo>
                    <a:cubicBezTo>
                      <a:pt x="12508" y="1309"/>
                      <a:pt x="13067" y="1590"/>
                      <a:pt x="13532" y="1122"/>
                    </a:cubicBezTo>
                    <a:cubicBezTo>
                      <a:pt x="13812" y="842"/>
                      <a:pt x="14091" y="374"/>
                      <a:pt x="14184" y="0"/>
                    </a:cubicBezTo>
                    <a:cubicBezTo>
                      <a:pt x="14929" y="374"/>
                      <a:pt x="15674" y="748"/>
                      <a:pt x="16046" y="935"/>
                    </a:cubicBezTo>
                    <a:cubicBezTo>
                      <a:pt x="16698" y="1309"/>
                      <a:pt x="17349" y="1029"/>
                      <a:pt x="17629" y="1403"/>
                    </a:cubicBezTo>
                    <a:cubicBezTo>
                      <a:pt x="17908" y="1777"/>
                      <a:pt x="17536" y="2338"/>
                      <a:pt x="17536" y="2525"/>
                    </a:cubicBezTo>
                    <a:cubicBezTo>
                      <a:pt x="17536" y="2805"/>
                      <a:pt x="17908" y="3366"/>
                      <a:pt x="18653" y="3553"/>
                    </a:cubicBezTo>
                    <a:cubicBezTo>
                      <a:pt x="19398" y="3834"/>
                      <a:pt x="19398" y="4395"/>
                      <a:pt x="19398" y="4956"/>
                    </a:cubicBezTo>
                    <a:cubicBezTo>
                      <a:pt x="19398" y="5423"/>
                      <a:pt x="19956" y="6639"/>
                      <a:pt x="20236" y="7294"/>
                    </a:cubicBezTo>
                    <a:cubicBezTo>
                      <a:pt x="20515" y="7855"/>
                      <a:pt x="20608" y="8790"/>
                      <a:pt x="20515" y="9070"/>
                    </a:cubicBezTo>
                    <a:cubicBezTo>
                      <a:pt x="20422" y="9257"/>
                      <a:pt x="19770" y="9257"/>
                      <a:pt x="19398" y="9538"/>
                    </a:cubicBezTo>
                    <a:cubicBezTo>
                      <a:pt x="18839" y="9912"/>
                      <a:pt x="18653" y="10473"/>
                      <a:pt x="19025" y="10660"/>
                    </a:cubicBezTo>
                    <a:cubicBezTo>
                      <a:pt x="19491" y="10847"/>
                      <a:pt x="19956" y="11595"/>
                      <a:pt x="19956" y="11595"/>
                    </a:cubicBezTo>
                    <a:cubicBezTo>
                      <a:pt x="19956" y="11595"/>
                      <a:pt x="19956" y="12156"/>
                      <a:pt x="19956" y="12717"/>
                    </a:cubicBezTo>
                    <a:cubicBezTo>
                      <a:pt x="19956" y="12810"/>
                      <a:pt x="19956" y="12997"/>
                      <a:pt x="19956" y="13091"/>
                    </a:cubicBezTo>
                    <a:cubicBezTo>
                      <a:pt x="19956" y="13745"/>
                      <a:pt x="20701" y="14587"/>
                      <a:pt x="20980" y="15055"/>
                    </a:cubicBezTo>
                    <a:close/>
                    <a:moveTo>
                      <a:pt x="20980" y="15055"/>
                    </a:moveTo>
                  </a:path>
                </a:pathLst>
              </a:custGeom>
              <a:solidFill>
                <a:srgbClr val="B6BF00"/>
              </a:solidFill>
              <a:ln w="6350" cap="flat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17441" name="Freeform 23"/>
              <p:cNvSpPr>
                <a:spLocks/>
              </p:cNvSpPr>
              <p:nvPr/>
            </p:nvSpPr>
            <p:spPr bwMode="auto">
              <a:xfrm>
                <a:off x="920" y="878"/>
                <a:ext cx="250" cy="347"/>
              </a:xfrm>
              <a:custGeom>
                <a:avLst/>
                <a:gdLst>
                  <a:gd name="T0" fmla="*/ 0 w 21600"/>
                  <a:gd name="T1" fmla="*/ 0 h 21469"/>
                  <a:gd name="T2" fmla="*/ 0 w 21600"/>
                  <a:gd name="T3" fmla="*/ 0 h 21469"/>
                  <a:gd name="T4" fmla="*/ 0 w 21600"/>
                  <a:gd name="T5" fmla="*/ 0 h 21469"/>
                  <a:gd name="T6" fmla="*/ 0 w 21600"/>
                  <a:gd name="T7" fmla="*/ 0 h 21469"/>
                  <a:gd name="T8" fmla="*/ 0 w 21600"/>
                  <a:gd name="T9" fmla="*/ 0 h 21469"/>
                  <a:gd name="T10" fmla="*/ 0 w 21600"/>
                  <a:gd name="T11" fmla="*/ 0 h 21469"/>
                  <a:gd name="T12" fmla="*/ 0 w 21600"/>
                  <a:gd name="T13" fmla="*/ 0 h 21469"/>
                  <a:gd name="T14" fmla="*/ 0 w 21600"/>
                  <a:gd name="T15" fmla="*/ 0 h 21469"/>
                  <a:gd name="T16" fmla="*/ 0 w 21600"/>
                  <a:gd name="T17" fmla="*/ 0 h 21469"/>
                  <a:gd name="T18" fmla="*/ 0 w 21600"/>
                  <a:gd name="T19" fmla="*/ 0 h 21469"/>
                  <a:gd name="T20" fmla="*/ 0 w 21600"/>
                  <a:gd name="T21" fmla="*/ 0 h 21469"/>
                  <a:gd name="T22" fmla="*/ 0 w 21600"/>
                  <a:gd name="T23" fmla="*/ 0 h 21469"/>
                  <a:gd name="T24" fmla="*/ 0 w 21600"/>
                  <a:gd name="T25" fmla="*/ 0 h 21469"/>
                  <a:gd name="T26" fmla="*/ 0 w 21600"/>
                  <a:gd name="T27" fmla="*/ 0 h 21469"/>
                  <a:gd name="T28" fmla="*/ 0 w 21600"/>
                  <a:gd name="T29" fmla="*/ 0 h 21469"/>
                  <a:gd name="T30" fmla="*/ 0 w 21600"/>
                  <a:gd name="T31" fmla="*/ 0 h 21469"/>
                  <a:gd name="T32" fmla="*/ 0 w 21600"/>
                  <a:gd name="T33" fmla="*/ 0 h 21469"/>
                  <a:gd name="T34" fmla="*/ 0 w 21600"/>
                  <a:gd name="T35" fmla="*/ 0 h 21469"/>
                  <a:gd name="T36" fmla="*/ 0 w 21600"/>
                  <a:gd name="T37" fmla="*/ 0 h 21469"/>
                  <a:gd name="T38" fmla="*/ 0 w 21600"/>
                  <a:gd name="T39" fmla="*/ 0 h 21469"/>
                  <a:gd name="T40" fmla="*/ 0 w 21600"/>
                  <a:gd name="T41" fmla="*/ 0 h 21469"/>
                  <a:gd name="T42" fmla="*/ 0 w 21600"/>
                  <a:gd name="T43" fmla="*/ 0 h 21469"/>
                  <a:gd name="T44" fmla="*/ 0 w 21600"/>
                  <a:gd name="T45" fmla="*/ 0 h 21469"/>
                  <a:gd name="T46" fmla="*/ 0 w 21600"/>
                  <a:gd name="T47" fmla="*/ 0 h 21469"/>
                  <a:gd name="T48" fmla="*/ 0 w 21600"/>
                  <a:gd name="T49" fmla="*/ 0 h 21469"/>
                  <a:gd name="T50" fmla="*/ 0 w 21600"/>
                  <a:gd name="T51" fmla="*/ 0 h 21469"/>
                  <a:gd name="T52" fmla="*/ 0 w 21600"/>
                  <a:gd name="T53" fmla="*/ 0 h 21469"/>
                  <a:gd name="T54" fmla="*/ 0 w 21600"/>
                  <a:gd name="T55" fmla="*/ 0 h 21469"/>
                  <a:gd name="T56" fmla="*/ 0 w 21600"/>
                  <a:gd name="T57" fmla="*/ 0 h 21469"/>
                  <a:gd name="T58" fmla="*/ 0 w 21600"/>
                  <a:gd name="T59" fmla="*/ 0 h 2146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21600"/>
                  <a:gd name="T91" fmla="*/ 0 h 21469"/>
                  <a:gd name="T92" fmla="*/ 21600 w 21600"/>
                  <a:gd name="T93" fmla="*/ 21469 h 21469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21600" h="21469">
                    <a:moveTo>
                      <a:pt x="21600" y="15358"/>
                    </a:moveTo>
                    <a:cubicBezTo>
                      <a:pt x="21600" y="15358"/>
                      <a:pt x="19024" y="18769"/>
                      <a:pt x="18231" y="19622"/>
                    </a:cubicBezTo>
                    <a:cubicBezTo>
                      <a:pt x="16250" y="19906"/>
                      <a:pt x="16250" y="19906"/>
                      <a:pt x="16250" y="19906"/>
                    </a:cubicBezTo>
                    <a:cubicBezTo>
                      <a:pt x="11494" y="21043"/>
                      <a:pt x="11494" y="21043"/>
                      <a:pt x="11494" y="21043"/>
                    </a:cubicBezTo>
                    <a:cubicBezTo>
                      <a:pt x="9116" y="21469"/>
                      <a:pt x="9116" y="21469"/>
                      <a:pt x="9116" y="21469"/>
                    </a:cubicBezTo>
                    <a:cubicBezTo>
                      <a:pt x="8719" y="20474"/>
                      <a:pt x="7134" y="19480"/>
                      <a:pt x="6539" y="18911"/>
                    </a:cubicBezTo>
                    <a:cubicBezTo>
                      <a:pt x="5945" y="18201"/>
                      <a:pt x="7728" y="17632"/>
                      <a:pt x="7728" y="17206"/>
                    </a:cubicBezTo>
                    <a:cubicBezTo>
                      <a:pt x="7728" y="16780"/>
                      <a:pt x="5747" y="16211"/>
                      <a:pt x="3369" y="14790"/>
                    </a:cubicBezTo>
                    <a:cubicBezTo>
                      <a:pt x="2576" y="14364"/>
                      <a:pt x="2180" y="14080"/>
                      <a:pt x="2180" y="13795"/>
                    </a:cubicBezTo>
                    <a:cubicBezTo>
                      <a:pt x="1783" y="13227"/>
                      <a:pt x="2576" y="13085"/>
                      <a:pt x="2972" y="13085"/>
                    </a:cubicBezTo>
                    <a:cubicBezTo>
                      <a:pt x="3765" y="13085"/>
                      <a:pt x="3567" y="11380"/>
                      <a:pt x="3369" y="10953"/>
                    </a:cubicBezTo>
                    <a:cubicBezTo>
                      <a:pt x="3369" y="10527"/>
                      <a:pt x="1387" y="9816"/>
                      <a:pt x="991" y="9390"/>
                    </a:cubicBezTo>
                    <a:cubicBezTo>
                      <a:pt x="396" y="9106"/>
                      <a:pt x="2774" y="6832"/>
                      <a:pt x="1982" y="6548"/>
                    </a:cubicBezTo>
                    <a:cubicBezTo>
                      <a:pt x="1585" y="6548"/>
                      <a:pt x="1189" y="6548"/>
                      <a:pt x="594" y="6406"/>
                    </a:cubicBezTo>
                    <a:cubicBezTo>
                      <a:pt x="1387" y="4843"/>
                      <a:pt x="1387" y="4843"/>
                      <a:pt x="1387" y="4843"/>
                    </a:cubicBezTo>
                    <a:cubicBezTo>
                      <a:pt x="396" y="2569"/>
                      <a:pt x="396" y="2569"/>
                      <a:pt x="396" y="2569"/>
                    </a:cubicBezTo>
                    <a:cubicBezTo>
                      <a:pt x="0" y="1148"/>
                      <a:pt x="0" y="1148"/>
                      <a:pt x="0" y="1148"/>
                    </a:cubicBezTo>
                    <a:cubicBezTo>
                      <a:pt x="594" y="1148"/>
                      <a:pt x="991" y="1148"/>
                      <a:pt x="1189" y="1148"/>
                    </a:cubicBezTo>
                    <a:cubicBezTo>
                      <a:pt x="2378" y="1148"/>
                      <a:pt x="5945" y="-131"/>
                      <a:pt x="6738" y="11"/>
                    </a:cubicBezTo>
                    <a:cubicBezTo>
                      <a:pt x="6936" y="153"/>
                      <a:pt x="7332" y="295"/>
                      <a:pt x="7530" y="580"/>
                    </a:cubicBezTo>
                    <a:cubicBezTo>
                      <a:pt x="7728" y="580"/>
                      <a:pt x="7728" y="580"/>
                      <a:pt x="7728" y="580"/>
                    </a:cubicBezTo>
                    <a:cubicBezTo>
                      <a:pt x="8323" y="1148"/>
                      <a:pt x="9314" y="2001"/>
                      <a:pt x="9710" y="2427"/>
                    </a:cubicBezTo>
                    <a:cubicBezTo>
                      <a:pt x="10503" y="3137"/>
                      <a:pt x="13277" y="4843"/>
                      <a:pt x="13277" y="4843"/>
                    </a:cubicBezTo>
                    <a:cubicBezTo>
                      <a:pt x="12881" y="6406"/>
                      <a:pt x="12881" y="6406"/>
                      <a:pt x="12881" y="6406"/>
                    </a:cubicBezTo>
                    <a:cubicBezTo>
                      <a:pt x="12881" y="6406"/>
                      <a:pt x="15457" y="8111"/>
                      <a:pt x="16051" y="8395"/>
                    </a:cubicBezTo>
                    <a:cubicBezTo>
                      <a:pt x="16844" y="8680"/>
                      <a:pt x="17835" y="7401"/>
                      <a:pt x="18826" y="7827"/>
                    </a:cubicBezTo>
                    <a:cubicBezTo>
                      <a:pt x="19618" y="8253"/>
                      <a:pt x="20015" y="9390"/>
                      <a:pt x="20015" y="9816"/>
                    </a:cubicBezTo>
                    <a:cubicBezTo>
                      <a:pt x="20015" y="10243"/>
                      <a:pt x="18826" y="10953"/>
                      <a:pt x="18429" y="12232"/>
                    </a:cubicBezTo>
                    <a:cubicBezTo>
                      <a:pt x="18231" y="13369"/>
                      <a:pt x="21600" y="15358"/>
                      <a:pt x="21600" y="15358"/>
                    </a:cubicBezTo>
                    <a:close/>
                    <a:moveTo>
                      <a:pt x="21600" y="15358"/>
                    </a:moveTo>
                  </a:path>
                </a:pathLst>
              </a:custGeom>
              <a:solidFill>
                <a:srgbClr val="B6BF00"/>
              </a:solidFill>
              <a:ln w="6350" cap="flat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17442" name="Freeform 24"/>
              <p:cNvSpPr>
                <a:spLocks/>
              </p:cNvSpPr>
              <p:nvPr/>
            </p:nvSpPr>
            <p:spPr bwMode="auto">
              <a:xfrm>
                <a:off x="812" y="587"/>
                <a:ext cx="334" cy="151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1600"/>
                  <a:gd name="T79" fmla="*/ 0 h 21600"/>
                  <a:gd name="T80" fmla="*/ 21600 w 21600"/>
                  <a:gd name="T81" fmla="*/ 21600 h 21600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1600" h="21600">
                    <a:moveTo>
                      <a:pt x="19217" y="4255"/>
                    </a:moveTo>
                    <a:cubicBezTo>
                      <a:pt x="21600" y="5236"/>
                      <a:pt x="21600" y="5236"/>
                      <a:pt x="21600" y="5236"/>
                    </a:cubicBezTo>
                    <a:cubicBezTo>
                      <a:pt x="21600" y="6545"/>
                      <a:pt x="20110" y="8836"/>
                      <a:pt x="19812" y="10800"/>
                    </a:cubicBezTo>
                    <a:cubicBezTo>
                      <a:pt x="19217" y="13745"/>
                      <a:pt x="19217" y="13745"/>
                      <a:pt x="19217" y="13745"/>
                    </a:cubicBezTo>
                    <a:cubicBezTo>
                      <a:pt x="18919" y="13745"/>
                      <a:pt x="18621" y="14073"/>
                      <a:pt x="18323" y="14400"/>
                    </a:cubicBezTo>
                    <a:cubicBezTo>
                      <a:pt x="17876" y="15055"/>
                      <a:pt x="17429" y="13418"/>
                      <a:pt x="16833" y="12436"/>
                    </a:cubicBezTo>
                    <a:cubicBezTo>
                      <a:pt x="16386" y="11782"/>
                      <a:pt x="14003" y="11782"/>
                      <a:pt x="13556" y="12109"/>
                    </a:cubicBezTo>
                    <a:cubicBezTo>
                      <a:pt x="12960" y="12109"/>
                      <a:pt x="11917" y="15709"/>
                      <a:pt x="11768" y="16036"/>
                    </a:cubicBezTo>
                    <a:cubicBezTo>
                      <a:pt x="11619" y="16691"/>
                      <a:pt x="8640" y="17345"/>
                      <a:pt x="7895" y="17673"/>
                    </a:cubicBezTo>
                    <a:cubicBezTo>
                      <a:pt x="7150" y="17673"/>
                      <a:pt x="6703" y="21273"/>
                      <a:pt x="6703" y="21273"/>
                    </a:cubicBezTo>
                    <a:cubicBezTo>
                      <a:pt x="6703" y="21273"/>
                      <a:pt x="4469" y="21600"/>
                      <a:pt x="3724" y="21600"/>
                    </a:cubicBezTo>
                    <a:cubicBezTo>
                      <a:pt x="2830" y="21600"/>
                      <a:pt x="2532" y="19636"/>
                      <a:pt x="2234" y="19636"/>
                    </a:cubicBezTo>
                    <a:cubicBezTo>
                      <a:pt x="596" y="18982"/>
                      <a:pt x="596" y="18982"/>
                      <a:pt x="596" y="18982"/>
                    </a:cubicBezTo>
                    <a:cubicBezTo>
                      <a:pt x="596" y="17018"/>
                      <a:pt x="0" y="11455"/>
                      <a:pt x="0" y="10800"/>
                    </a:cubicBezTo>
                    <a:cubicBezTo>
                      <a:pt x="0" y="9491"/>
                      <a:pt x="0" y="9491"/>
                      <a:pt x="0" y="9491"/>
                    </a:cubicBezTo>
                    <a:cubicBezTo>
                      <a:pt x="745" y="9491"/>
                      <a:pt x="2681" y="8836"/>
                      <a:pt x="2979" y="7855"/>
                    </a:cubicBezTo>
                    <a:cubicBezTo>
                      <a:pt x="3426" y="7200"/>
                      <a:pt x="5810" y="982"/>
                      <a:pt x="6406" y="655"/>
                    </a:cubicBezTo>
                    <a:cubicBezTo>
                      <a:pt x="6554" y="327"/>
                      <a:pt x="6852" y="327"/>
                      <a:pt x="7299" y="327"/>
                    </a:cubicBezTo>
                    <a:cubicBezTo>
                      <a:pt x="7895" y="0"/>
                      <a:pt x="8640" y="0"/>
                      <a:pt x="9087" y="0"/>
                    </a:cubicBezTo>
                    <a:cubicBezTo>
                      <a:pt x="9534" y="327"/>
                      <a:pt x="10428" y="1636"/>
                      <a:pt x="10428" y="2618"/>
                    </a:cubicBezTo>
                    <a:cubicBezTo>
                      <a:pt x="10428" y="3927"/>
                      <a:pt x="10428" y="5236"/>
                      <a:pt x="10577" y="5236"/>
                    </a:cubicBezTo>
                    <a:cubicBezTo>
                      <a:pt x="10874" y="5236"/>
                      <a:pt x="11768" y="4909"/>
                      <a:pt x="11768" y="4909"/>
                    </a:cubicBezTo>
                    <a:cubicBezTo>
                      <a:pt x="11768" y="4909"/>
                      <a:pt x="12662" y="2618"/>
                      <a:pt x="13258" y="2291"/>
                    </a:cubicBezTo>
                    <a:cubicBezTo>
                      <a:pt x="13705" y="1964"/>
                      <a:pt x="15939" y="1309"/>
                      <a:pt x="16535" y="1309"/>
                    </a:cubicBezTo>
                    <a:cubicBezTo>
                      <a:pt x="17131" y="1309"/>
                      <a:pt x="18919" y="3600"/>
                      <a:pt x="19217" y="4255"/>
                    </a:cubicBezTo>
                    <a:close/>
                    <a:moveTo>
                      <a:pt x="19217" y="4255"/>
                    </a:moveTo>
                  </a:path>
                </a:pathLst>
              </a:custGeom>
              <a:solidFill>
                <a:srgbClr val="B6BF00"/>
              </a:solidFill>
              <a:ln w="6350" cap="flat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17443" name="Freeform 25"/>
              <p:cNvSpPr>
                <a:spLocks/>
              </p:cNvSpPr>
              <p:nvPr/>
            </p:nvSpPr>
            <p:spPr bwMode="auto">
              <a:xfrm>
                <a:off x="769" y="670"/>
                <a:ext cx="388" cy="234"/>
              </a:xfrm>
              <a:custGeom>
                <a:avLst/>
                <a:gdLst>
                  <a:gd name="T0" fmla="*/ 0 w 21446"/>
                  <a:gd name="T1" fmla="*/ 0 h 21169"/>
                  <a:gd name="T2" fmla="*/ 0 w 21446"/>
                  <a:gd name="T3" fmla="*/ 0 h 21169"/>
                  <a:gd name="T4" fmla="*/ 0 w 21446"/>
                  <a:gd name="T5" fmla="*/ 0 h 21169"/>
                  <a:gd name="T6" fmla="*/ 0 w 21446"/>
                  <a:gd name="T7" fmla="*/ 0 h 21169"/>
                  <a:gd name="T8" fmla="*/ 0 w 21446"/>
                  <a:gd name="T9" fmla="*/ 0 h 21169"/>
                  <a:gd name="T10" fmla="*/ 0 w 21446"/>
                  <a:gd name="T11" fmla="*/ 0 h 21169"/>
                  <a:gd name="T12" fmla="*/ 0 w 21446"/>
                  <a:gd name="T13" fmla="*/ 0 h 21169"/>
                  <a:gd name="T14" fmla="*/ 0 w 21446"/>
                  <a:gd name="T15" fmla="*/ 0 h 21169"/>
                  <a:gd name="T16" fmla="*/ 0 w 21446"/>
                  <a:gd name="T17" fmla="*/ 0 h 21169"/>
                  <a:gd name="T18" fmla="*/ 0 w 21446"/>
                  <a:gd name="T19" fmla="*/ 0 h 21169"/>
                  <a:gd name="T20" fmla="*/ 0 w 21446"/>
                  <a:gd name="T21" fmla="*/ 0 h 21169"/>
                  <a:gd name="T22" fmla="*/ 0 w 21446"/>
                  <a:gd name="T23" fmla="*/ 0 h 21169"/>
                  <a:gd name="T24" fmla="*/ 0 w 21446"/>
                  <a:gd name="T25" fmla="*/ 0 h 21169"/>
                  <a:gd name="T26" fmla="*/ 0 w 21446"/>
                  <a:gd name="T27" fmla="*/ 0 h 21169"/>
                  <a:gd name="T28" fmla="*/ 0 w 21446"/>
                  <a:gd name="T29" fmla="*/ 0 h 21169"/>
                  <a:gd name="T30" fmla="*/ 0 w 21446"/>
                  <a:gd name="T31" fmla="*/ 0 h 21169"/>
                  <a:gd name="T32" fmla="*/ 0 w 21446"/>
                  <a:gd name="T33" fmla="*/ 0 h 21169"/>
                  <a:gd name="T34" fmla="*/ 0 w 21446"/>
                  <a:gd name="T35" fmla="*/ 0 h 21169"/>
                  <a:gd name="T36" fmla="*/ 0 w 21446"/>
                  <a:gd name="T37" fmla="*/ 0 h 21169"/>
                  <a:gd name="T38" fmla="*/ 0 w 21446"/>
                  <a:gd name="T39" fmla="*/ 0 h 21169"/>
                  <a:gd name="T40" fmla="*/ 0 w 21446"/>
                  <a:gd name="T41" fmla="*/ 0 h 21169"/>
                  <a:gd name="T42" fmla="*/ 0 w 21446"/>
                  <a:gd name="T43" fmla="*/ 0 h 21169"/>
                  <a:gd name="T44" fmla="*/ 0 w 21446"/>
                  <a:gd name="T45" fmla="*/ 0 h 21169"/>
                  <a:gd name="T46" fmla="*/ 0 w 21446"/>
                  <a:gd name="T47" fmla="*/ 0 h 21169"/>
                  <a:gd name="T48" fmla="*/ 0 w 21446"/>
                  <a:gd name="T49" fmla="*/ 0 h 21169"/>
                  <a:gd name="T50" fmla="*/ 0 w 21446"/>
                  <a:gd name="T51" fmla="*/ 0 h 21169"/>
                  <a:gd name="T52" fmla="*/ 0 w 21446"/>
                  <a:gd name="T53" fmla="*/ 0 h 21169"/>
                  <a:gd name="T54" fmla="*/ 0 w 21446"/>
                  <a:gd name="T55" fmla="*/ 0 h 2116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1446"/>
                  <a:gd name="T85" fmla="*/ 0 h 21169"/>
                  <a:gd name="T86" fmla="*/ 21446 w 21446"/>
                  <a:gd name="T87" fmla="*/ 21169 h 21169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1446" h="21169">
                    <a:moveTo>
                      <a:pt x="19159" y="1383"/>
                    </a:moveTo>
                    <a:cubicBezTo>
                      <a:pt x="19413" y="2006"/>
                      <a:pt x="20557" y="3875"/>
                      <a:pt x="21446" y="3875"/>
                    </a:cubicBezTo>
                    <a:cubicBezTo>
                      <a:pt x="20684" y="5537"/>
                      <a:pt x="20684" y="5537"/>
                      <a:pt x="20684" y="5537"/>
                    </a:cubicBezTo>
                    <a:cubicBezTo>
                      <a:pt x="20684" y="5537"/>
                      <a:pt x="19540" y="7406"/>
                      <a:pt x="18651" y="8652"/>
                    </a:cubicBezTo>
                    <a:cubicBezTo>
                      <a:pt x="17761" y="10106"/>
                      <a:pt x="16491" y="16129"/>
                      <a:pt x="16364" y="17167"/>
                    </a:cubicBezTo>
                    <a:cubicBezTo>
                      <a:pt x="16237" y="18206"/>
                      <a:pt x="14966" y="17375"/>
                      <a:pt x="14585" y="17998"/>
                    </a:cubicBezTo>
                    <a:cubicBezTo>
                      <a:pt x="13314" y="19660"/>
                      <a:pt x="13314" y="19660"/>
                      <a:pt x="13314" y="19660"/>
                    </a:cubicBezTo>
                    <a:cubicBezTo>
                      <a:pt x="13187" y="19660"/>
                      <a:pt x="13187" y="19660"/>
                      <a:pt x="13187" y="19660"/>
                    </a:cubicBezTo>
                    <a:cubicBezTo>
                      <a:pt x="13060" y="19244"/>
                      <a:pt x="12806" y="19037"/>
                      <a:pt x="12679" y="18829"/>
                    </a:cubicBezTo>
                    <a:cubicBezTo>
                      <a:pt x="12171" y="18621"/>
                      <a:pt x="9884" y="20491"/>
                      <a:pt x="9121" y="20491"/>
                    </a:cubicBezTo>
                    <a:cubicBezTo>
                      <a:pt x="8994" y="20491"/>
                      <a:pt x="8740" y="20491"/>
                      <a:pt x="8359" y="20491"/>
                    </a:cubicBezTo>
                    <a:cubicBezTo>
                      <a:pt x="7342" y="20906"/>
                      <a:pt x="5691" y="21529"/>
                      <a:pt x="5182" y="20906"/>
                    </a:cubicBezTo>
                    <a:cubicBezTo>
                      <a:pt x="4547" y="19867"/>
                      <a:pt x="2387" y="17998"/>
                      <a:pt x="1752" y="16752"/>
                    </a:cubicBezTo>
                    <a:cubicBezTo>
                      <a:pt x="1371" y="16337"/>
                      <a:pt x="990" y="15714"/>
                      <a:pt x="608" y="15091"/>
                    </a:cubicBezTo>
                    <a:cubicBezTo>
                      <a:pt x="100" y="14260"/>
                      <a:pt x="-154" y="13429"/>
                      <a:pt x="100" y="12598"/>
                    </a:cubicBezTo>
                    <a:cubicBezTo>
                      <a:pt x="354" y="10937"/>
                      <a:pt x="990" y="8860"/>
                      <a:pt x="1498" y="7614"/>
                    </a:cubicBezTo>
                    <a:cubicBezTo>
                      <a:pt x="2006" y="6575"/>
                      <a:pt x="2895" y="5744"/>
                      <a:pt x="2895" y="4498"/>
                    </a:cubicBezTo>
                    <a:cubicBezTo>
                      <a:pt x="4293" y="4914"/>
                      <a:pt x="4293" y="4914"/>
                      <a:pt x="4293" y="4914"/>
                    </a:cubicBezTo>
                    <a:cubicBezTo>
                      <a:pt x="4547" y="4914"/>
                      <a:pt x="4801" y="6160"/>
                      <a:pt x="5564" y="6160"/>
                    </a:cubicBezTo>
                    <a:cubicBezTo>
                      <a:pt x="6199" y="6160"/>
                      <a:pt x="8105" y="5952"/>
                      <a:pt x="8105" y="5952"/>
                    </a:cubicBezTo>
                    <a:cubicBezTo>
                      <a:pt x="8105" y="5952"/>
                      <a:pt x="8486" y="3667"/>
                      <a:pt x="9121" y="3667"/>
                    </a:cubicBezTo>
                    <a:cubicBezTo>
                      <a:pt x="9757" y="3460"/>
                      <a:pt x="12298" y="3044"/>
                      <a:pt x="12425" y="2629"/>
                    </a:cubicBezTo>
                    <a:cubicBezTo>
                      <a:pt x="12552" y="2421"/>
                      <a:pt x="13441" y="137"/>
                      <a:pt x="13950" y="137"/>
                    </a:cubicBezTo>
                    <a:cubicBezTo>
                      <a:pt x="14331" y="-71"/>
                      <a:pt x="16364" y="-71"/>
                      <a:pt x="16745" y="344"/>
                    </a:cubicBezTo>
                    <a:cubicBezTo>
                      <a:pt x="17253" y="967"/>
                      <a:pt x="17634" y="2006"/>
                      <a:pt x="18015" y="1591"/>
                    </a:cubicBezTo>
                    <a:cubicBezTo>
                      <a:pt x="18270" y="1383"/>
                      <a:pt x="18524" y="1175"/>
                      <a:pt x="18778" y="1175"/>
                    </a:cubicBezTo>
                    <a:cubicBezTo>
                      <a:pt x="18905" y="1175"/>
                      <a:pt x="19032" y="1175"/>
                      <a:pt x="19159" y="1383"/>
                    </a:cubicBezTo>
                    <a:close/>
                    <a:moveTo>
                      <a:pt x="19159" y="1383"/>
                    </a:moveTo>
                  </a:path>
                </a:pathLst>
              </a:custGeom>
              <a:solidFill>
                <a:srgbClr val="B6BF00"/>
              </a:solidFill>
              <a:ln w="6350" cap="flat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17448" name="Freeform 30"/>
              <p:cNvSpPr>
                <a:spLocks/>
              </p:cNvSpPr>
              <p:nvPr/>
            </p:nvSpPr>
            <p:spPr bwMode="auto">
              <a:xfrm>
                <a:off x="560" y="451"/>
                <a:ext cx="365" cy="207"/>
              </a:xfrm>
              <a:custGeom>
                <a:avLst/>
                <a:gdLst>
                  <a:gd name="T0" fmla="*/ 0 w 21600"/>
                  <a:gd name="T1" fmla="*/ 0 h 21206"/>
                  <a:gd name="T2" fmla="*/ 0 w 21600"/>
                  <a:gd name="T3" fmla="*/ 0 h 21206"/>
                  <a:gd name="T4" fmla="*/ 0 w 21600"/>
                  <a:gd name="T5" fmla="*/ 0 h 21206"/>
                  <a:gd name="T6" fmla="*/ 0 w 21600"/>
                  <a:gd name="T7" fmla="*/ 0 h 21206"/>
                  <a:gd name="T8" fmla="*/ 0 w 21600"/>
                  <a:gd name="T9" fmla="*/ 0 h 21206"/>
                  <a:gd name="T10" fmla="*/ 0 w 21600"/>
                  <a:gd name="T11" fmla="*/ 0 h 21206"/>
                  <a:gd name="T12" fmla="*/ 0 w 21600"/>
                  <a:gd name="T13" fmla="*/ 0 h 21206"/>
                  <a:gd name="T14" fmla="*/ 0 w 21600"/>
                  <a:gd name="T15" fmla="*/ 0 h 21206"/>
                  <a:gd name="T16" fmla="*/ 0 w 21600"/>
                  <a:gd name="T17" fmla="*/ 0 h 21206"/>
                  <a:gd name="T18" fmla="*/ 0 w 21600"/>
                  <a:gd name="T19" fmla="*/ 0 h 21206"/>
                  <a:gd name="T20" fmla="*/ 0 w 21600"/>
                  <a:gd name="T21" fmla="*/ 0 h 21206"/>
                  <a:gd name="T22" fmla="*/ 0 w 21600"/>
                  <a:gd name="T23" fmla="*/ 0 h 21206"/>
                  <a:gd name="T24" fmla="*/ 0 w 21600"/>
                  <a:gd name="T25" fmla="*/ 0 h 21206"/>
                  <a:gd name="T26" fmla="*/ 0 w 21600"/>
                  <a:gd name="T27" fmla="*/ 0 h 21206"/>
                  <a:gd name="T28" fmla="*/ 0 w 21600"/>
                  <a:gd name="T29" fmla="*/ 0 h 21206"/>
                  <a:gd name="T30" fmla="*/ 0 w 21600"/>
                  <a:gd name="T31" fmla="*/ 0 h 21206"/>
                  <a:gd name="T32" fmla="*/ 0 w 21600"/>
                  <a:gd name="T33" fmla="*/ 0 h 21206"/>
                  <a:gd name="T34" fmla="*/ 0 w 21600"/>
                  <a:gd name="T35" fmla="*/ 0 h 21206"/>
                  <a:gd name="T36" fmla="*/ 0 w 21600"/>
                  <a:gd name="T37" fmla="*/ 0 h 21206"/>
                  <a:gd name="T38" fmla="*/ 0 w 21600"/>
                  <a:gd name="T39" fmla="*/ 0 h 21206"/>
                  <a:gd name="T40" fmla="*/ 0 w 21600"/>
                  <a:gd name="T41" fmla="*/ 0 h 21206"/>
                  <a:gd name="T42" fmla="*/ 0 w 21600"/>
                  <a:gd name="T43" fmla="*/ 0 h 21206"/>
                  <a:gd name="T44" fmla="*/ 0 w 21600"/>
                  <a:gd name="T45" fmla="*/ 0 h 21206"/>
                  <a:gd name="T46" fmla="*/ 0 w 21600"/>
                  <a:gd name="T47" fmla="*/ 0 h 21206"/>
                  <a:gd name="T48" fmla="*/ 0 w 21600"/>
                  <a:gd name="T49" fmla="*/ 0 h 21206"/>
                  <a:gd name="T50" fmla="*/ 0 w 21600"/>
                  <a:gd name="T51" fmla="*/ 0 h 21206"/>
                  <a:gd name="T52" fmla="*/ 0 w 21600"/>
                  <a:gd name="T53" fmla="*/ 0 h 21206"/>
                  <a:gd name="T54" fmla="*/ 0 w 21600"/>
                  <a:gd name="T55" fmla="*/ 0 h 2120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1600"/>
                  <a:gd name="T85" fmla="*/ 0 h 21206"/>
                  <a:gd name="T86" fmla="*/ 21600 w 21600"/>
                  <a:gd name="T87" fmla="*/ 21206 h 2120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1600" h="21206">
                    <a:moveTo>
                      <a:pt x="21057" y="11739"/>
                    </a:moveTo>
                    <a:cubicBezTo>
                      <a:pt x="21600" y="14087"/>
                      <a:pt x="21600" y="14087"/>
                      <a:pt x="21600" y="14087"/>
                    </a:cubicBezTo>
                    <a:cubicBezTo>
                      <a:pt x="21192" y="14087"/>
                      <a:pt x="20921" y="14087"/>
                      <a:pt x="20785" y="14322"/>
                    </a:cubicBezTo>
                    <a:cubicBezTo>
                      <a:pt x="20242" y="14557"/>
                      <a:pt x="18068" y="19017"/>
                      <a:pt x="17660" y="19487"/>
                    </a:cubicBezTo>
                    <a:cubicBezTo>
                      <a:pt x="17389" y="20191"/>
                      <a:pt x="15623" y="20661"/>
                      <a:pt x="14943" y="20661"/>
                    </a:cubicBezTo>
                    <a:cubicBezTo>
                      <a:pt x="14264" y="20661"/>
                      <a:pt x="9509" y="17843"/>
                      <a:pt x="9102" y="17843"/>
                    </a:cubicBezTo>
                    <a:cubicBezTo>
                      <a:pt x="8694" y="18078"/>
                      <a:pt x="8015" y="20896"/>
                      <a:pt x="7336" y="21130"/>
                    </a:cubicBezTo>
                    <a:cubicBezTo>
                      <a:pt x="6657" y="21600"/>
                      <a:pt x="5298" y="19722"/>
                      <a:pt x="5026" y="19957"/>
                    </a:cubicBezTo>
                    <a:cubicBezTo>
                      <a:pt x="3804" y="17374"/>
                      <a:pt x="3804" y="17374"/>
                      <a:pt x="3804" y="17374"/>
                    </a:cubicBezTo>
                    <a:cubicBezTo>
                      <a:pt x="3804" y="17374"/>
                      <a:pt x="2853" y="15496"/>
                      <a:pt x="2445" y="15026"/>
                    </a:cubicBezTo>
                    <a:cubicBezTo>
                      <a:pt x="2174" y="14557"/>
                      <a:pt x="1223" y="13148"/>
                      <a:pt x="815" y="11739"/>
                    </a:cubicBezTo>
                    <a:cubicBezTo>
                      <a:pt x="272" y="10565"/>
                      <a:pt x="1358" y="9626"/>
                      <a:pt x="1087" y="8687"/>
                    </a:cubicBezTo>
                    <a:cubicBezTo>
                      <a:pt x="815" y="7748"/>
                      <a:pt x="0" y="7043"/>
                      <a:pt x="0" y="6104"/>
                    </a:cubicBezTo>
                    <a:cubicBezTo>
                      <a:pt x="0" y="5400"/>
                      <a:pt x="543" y="4696"/>
                      <a:pt x="1223" y="4696"/>
                    </a:cubicBezTo>
                    <a:cubicBezTo>
                      <a:pt x="1902" y="4461"/>
                      <a:pt x="4075" y="2817"/>
                      <a:pt x="4483" y="2817"/>
                    </a:cubicBezTo>
                    <a:cubicBezTo>
                      <a:pt x="4891" y="2583"/>
                      <a:pt x="6657" y="235"/>
                      <a:pt x="7064" y="0"/>
                    </a:cubicBezTo>
                    <a:cubicBezTo>
                      <a:pt x="7608" y="0"/>
                      <a:pt x="8151" y="2817"/>
                      <a:pt x="8694" y="2348"/>
                    </a:cubicBezTo>
                    <a:cubicBezTo>
                      <a:pt x="9645" y="470"/>
                      <a:pt x="9645" y="470"/>
                      <a:pt x="9645" y="470"/>
                    </a:cubicBezTo>
                    <a:cubicBezTo>
                      <a:pt x="9917" y="1174"/>
                      <a:pt x="11819" y="2348"/>
                      <a:pt x="12906" y="3052"/>
                    </a:cubicBezTo>
                    <a:cubicBezTo>
                      <a:pt x="13992" y="3757"/>
                      <a:pt x="12634" y="4696"/>
                      <a:pt x="12906" y="5165"/>
                    </a:cubicBezTo>
                    <a:cubicBezTo>
                      <a:pt x="13042" y="5635"/>
                      <a:pt x="14264" y="9157"/>
                      <a:pt x="14536" y="8922"/>
                    </a:cubicBezTo>
                    <a:cubicBezTo>
                      <a:pt x="14536" y="8922"/>
                      <a:pt x="15215" y="6339"/>
                      <a:pt x="15351" y="5870"/>
                    </a:cubicBezTo>
                    <a:cubicBezTo>
                      <a:pt x="15623" y="5635"/>
                      <a:pt x="17660" y="6809"/>
                      <a:pt x="17932" y="7043"/>
                    </a:cubicBezTo>
                    <a:cubicBezTo>
                      <a:pt x="18204" y="7278"/>
                      <a:pt x="17932" y="8922"/>
                      <a:pt x="18340" y="9626"/>
                    </a:cubicBezTo>
                    <a:cubicBezTo>
                      <a:pt x="18611" y="10330"/>
                      <a:pt x="19562" y="9626"/>
                      <a:pt x="20242" y="10330"/>
                    </a:cubicBezTo>
                    <a:cubicBezTo>
                      <a:pt x="21057" y="11035"/>
                      <a:pt x="21057" y="11739"/>
                      <a:pt x="21057" y="11739"/>
                    </a:cubicBezTo>
                    <a:close/>
                    <a:moveTo>
                      <a:pt x="21057" y="11739"/>
                    </a:moveTo>
                  </a:path>
                </a:pathLst>
              </a:custGeom>
              <a:solidFill>
                <a:srgbClr val="B6BF00"/>
              </a:solidFill>
              <a:ln w="6350" cap="flat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17449" name="Freeform 31"/>
              <p:cNvSpPr>
                <a:spLocks/>
              </p:cNvSpPr>
              <p:nvPr/>
            </p:nvSpPr>
            <p:spPr bwMode="auto">
              <a:xfrm>
                <a:off x="382" y="625"/>
                <a:ext cx="440" cy="213"/>
              </a:xfrm>
              <a:custGeom>
                <a:avLst/>
                <a:gdLst>
                  <a:gd name="T0" fmla="*/ 0 w 21600"/>
                  <a:gd name="T1" fmla="*/ 0 h 21232"/>
                  <a:gd name="T2" fmla="*/ 0 w 21600"/>
                  <a:gd name="T3" fmla="*/ 0 h 21232"/>
                  <a:gd name="T4" fmla="*/ 0 w 21600"/>
                  <a:gd name="T5" fmla="*/ 0 h 21232"/>
                  <a:gd name="T6" fmla="*/ 0 w 21600"/>
                  <a:gd name="T7" fmla="*/ 0 h 21232"/>
                  <a:gd name="T8" fmla="*/ 0 w 21600"/>
                  <a:gd name="T9" fmla="*/ 0 h 21232"/>
                  <a:gd name="T10" fmla="*/ 0 w 21600"/>
                  <a:gd name="T11" fmla="*/ 0 h 21232"/>
                  <a:gd name="T12" fmla="*/ 0 w 21600"/>
                  <a:gd name="T13" fmla="*/ 0 h 21232"/>
                  <a:gd name="T14" fmla="*/ 0 w 21600"/>
                  <a:gd name="T15" fmla="*/ 0 h 21232"/>
                  <a:gd name="T16" fmla="*/ 0 w 21600"/>
                  <a:gd name="T17" fmla="*/ 0 h 21232"/>
                  <a:gd name="T18" fmla="*/ 0 w 21600"/>
                  <a:gd name="T19" fmla="*/ 0 h 21232"/>
                  <a:gd name="T20" fmla="*/ 0 w 21600"/>
                  <a:gd name="T21" fmla="*/ 0 h 21232"/>
                  <a:gd name="T22" fmla="*/ 0 w 21600"/>
                  <a:gd name="T23" fmla="*/ 0 h 21232"/>
                  <a:gd name="T24" fmla="*/ 0 w 21600"/>
                  <a:gd name="T25" fmla="*/ 0 h 21232"/>
                  <a:gd name="T26" fmla="*/ 0 w 21600"/>
                  <a:gd name="T27" fmla="*/ 0 h 21232"/>
                  <a:gd name="T28" fmla="*/ 0 w 21600"/>
                  <a:gd name="T29" fmla="*/ 0 h 21232"/>
                  <a:gd name="T30" fmla="*/ 0 w 21600"/>
                  <a:gd name="T31" fmla="*/ 0 h 21232"/>
                  <a:gd name="T32" fmla="*/ 0 w 21600"/>
                  <a:gd name="T33" fmla="*/ 0 h 21232"/>
                  <a:gd name="T34" fmla="*/ 0 w 21600"/>
                  <a:gd name="T35" fmla="*/ 0 h 21232"/>
                  <a:gd name="T36" fmla="*/ 0 w 21600"/>
                  <a:gd name="T37" fmla="*/ 0 h 21232"/>
                  <a:gd name="T38" fmla="*/ 0 w 21600"/>
                  <a:gd name="T39" fmla="*/ 0 h 21232"/>
                  <a:gd name="T40" fmla="*/ 0 w 21600"/>
                  <a:gd name="T41" fmla="*/ 0 h 21232"/>
                  <a:gd name="T42" fmla="*/ 0 w 21600"/>
                  <a:gd name="T43" fmla="*/ 0 h 21232"/>
                  <a:gd name="T44" fmla="*/ 0 w 21600"/>
                  <a:gd name="T45" fmla="*/ 0 h 21232"/>
                  <a:gd name="T46" fmla="*/ 0 w 21600"/>
                  <a:gd name="T47" fmla="*/ 0 h 21232"/>
                  <a:gd name="T48" fmla="*/ 0 w 21600"/>
                  <a:gd name="T49" fmla="*/ 0 h 21232"/>
                  <a:gd name="T50" fmla="*/ 0 w 21600"/>
                  <a:gd name="T51" fmla="*/ 0 h 21232"/>
                  <a:gd name="T52" fmla="*/ 0 w 21600"/>
                  <a:gd name="T53" fmla="*/ 0 h 21232"/>
                  <a:gd name="T54" fmla="*/ 0 w 21600"/>
                  <a:gd name="T55" fmla="*/ 0 h 21232"/>
                  <a:gd name="T56" fmla="*/ 0 w 21600"/>
                  <a:gd name="T57" fmla="*/ 0 h 21232"/>
                  <a:gd name="T58" fmla="*/ 0 w 21600"/>
                  <a:gd name="T59" fmla="*/ 0 h 21232"/>
                  <a:gd name="T60" fmla="*/ 0 w 21600"/>
                  <a:gd name="T61" fmla="*/ 0 h 21232"/>
                  <a:gd name="T62" fmla="*/ 0 w 21600"/>
                  <a:gd name="T63" fmla="*/ 0 h 21232"/>
                  <a:gd name="T64" fmla="*/ 0 w 21600"/>
                  <a:gd name="T65" fmla="*/ 0 h 21232"/>
                  <a:gd name="T66" fmla="*/ 0 w 21600"/>
                  <a:gd name="T67" fmla="*/ 0 h 21232"/>
                  <a:gd name="T68" fmla="*/ 0 w 21600"/>
                  <a:gd name="T69" fmla="*/ 0 h 2123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1600"/>
                  <a:gd name="T106" fmla="*/ 0 h 21232"/>
                  <a:gd name="T107" fmla="*/ 21600 w 21600"/>
                  <a:gd name="T108" fmla="*/ 21232 h 2123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1600" h="21232">
                    <a:moveTo>
                      <a:pt x="21148" y="3677"/>
                    </a:moveTo>
                    <a:cubicBezTo>
                      <a:pt x="21148" y="4136"/>
                      <a:pt x="21600" y="8043"/>
                      <a:pt x="21600" y="9421"/>
                    </a:cubicBezTo>
                    <a:cubicBezTo>
                      <a:pt x="21600" y="10800"/>
                      <a:pt x="20808" y="11719"/>
                      <a:pt x="20356" y="12868"/>
                    </a:cubicBezTo>
                    <a:cubicBezTo>
                      <a:pt x="19904" y="14247"/>
                      <a:pt x="19338" y="16545"/>
                      <a:pt x="19112" y="18383"/>
                    </a:cubicBezTo>
                    <a:cubicBezTo>
                      <a:pt x="17755" y="18843"/>
                      <a:pt x="17755" y="18843"/>
                      <a:pt x="17755" y="18843"/>
                    </a:cubicBezTo>
                    <a:cubicBezTo>
                      <a:pt x="17076" y="18613"/>
                      <a:pt x="15380" y="18843"/>
                      <a:pt x="14815" y="19532"/>
                    </a:cubicBezTo>
                    <a:cubicBezTo>
                      <a:pt x="14362" y="20221"/>
                      <a:pt x="13910" y="21600"/>
                      <a:pt x="13458" y="21140"/>
                    </a:cubicBezTo>
                    <a:cubicBezTo>
                      <a:pt x="12892" y="20451"/>
                      <a:pt x="12214" y="20221"/>
                      <a:pt x="11648" y="20681"/>
                    </a:cubicBezTo>
                    <a:cubicBezTo>
                      <a:pt x="11422" y="20681"/>
                      <a:pt x="11309" y="20681"/>
                      <a:pt x="11196" y="20911"/>
                    </a:cubicBezTo>
                    <a:cubicBezTo>
                      <a:pt x="10291" y="19762"/>
                      <a:pt x="10291" y="19762"/>
                      <a:pt x="10291" y="19762"/>
                    </a:cubicBezTo>
                    <a:cubicBezTo>
                      <a:pt x="10291" y="19762"/>
                      <a:pt x="8482" y="18153"/>
                      <a:pt x="7916" y="17923"/>
                    </a:cubicBezTo>
                    <a:cubicBezTo>
                      <a:pt x="7351" y="17464"/>
                      <a:pt x="7690" y="15166"/>
                      <a:pt x="7238" y="15166"/>
                    </a:cubicBezTo>
                    <a:cubicBezTo>
                      <a:pt x="6898" y="14936"/>
                      <a:pt x="5202" y="14936"/>
                      <a:pt x="5202" y="14936"/>
                    </a:cubicBezTo>
                    <a:cubicBezTo>
                      <a:pt x="5202" y="14936"/>
                      <a:pt x="4184" y="16774"/>
                      <a:pt x="3845" y="16545"/>
                    </a:cubicBezTo>
                    <a:cubicBezTo>
                      <a:pt x="2601" y="15626"/>
                      <a:pt x="2601" y="15626"/>
                      <a:pt x="2601" y="15626"/>
                    </a:cubicBezTo>
                    <a:cubicBezTo>
                      <a:pt x="2601" y="15166"/>
                      <a:pt x="2601" y="14936"/>
                      <a:pt x="2488" y="14706"/>
                    </a:cubicBezTo>
                    <a:cubicBezTo>
                      <a:pt x="2262" y="14247"/>
                      <a:pt x="1470" y="15166"/>
                      <a:pt x="905" y="14706"/>
                    </a:cubicBezTo>
                    <a:cubicBezTo>
                      <a:pt x="452" y="14017"/>
                      <a:pt x="0" y="13787"/>
                      <a:pt x="0" y="12409"/>
                    </a:cubicBezTo>
                    <a:cubicBezTo>
                      <a:pt x="113" y="11260"/>
                      <a:pt x="452" y="10570"/>
                      <a:pt x="339" y="10111"/>
                    </a:cubicBezTo>
                    <a:cubicBezTo>
                      <a:pt x="1244" y="8732"/>
                      <a:pt x="1244" y="8732"/>
                      <a:pt x="1244" y="8732"/>
                    </a:cubicBezTo>
                    <a:cubicBezTo>
                      <a:pt x="1583" y="8962"/>
                      <a:pt x="1809" y="11260"/>
                      <a:pt x="2375" y="11260"/>
                    </a:cubicBezTo>
                    <a:cubicBezTo>
                      <a:pt x="2940" y="11260"/>
                      <a:pt x="3166" y="9881"/>
                      <a:pt x="3619" y="10111"/>
                    </a:cubicBezTo>
                    <a:cubicBezTo>
                      <a:pt x="4071" y="10111"/>
                      <a:pt x="4976" y="11260"/>
                      <a:pt x="5428" y="11030"/>
                    </a:cubicBezTo>
                    <a:cubicBezTo>
                      <a:pt x="5768" y="10570"/>
                      <a:pt x="7464" y="9881"/>
                      <a:pt x="7916" y="9881"/>
                    </a:cubicBezTo>
                    <a:cubicBezTo>
                      <a:pt x="8482" y="9881"/>
                      <a:pt x="9047" y="11489"/>
                      <a:pt x="9499" y="11719"/>
                    </a:cubicBezTo>
                    <a:cubicBezTo>
                      <a:pt x="9952" y="11949"/>
                      <a:pt x="10404" y="12179"/>
                      <a:pt x="10630" y="11719"/>
                    </a:cubicBezTo>
                    <a:cubicBezTo>
                      <a:pt x="10630" y="11030"/>
                      <a:pt x="10630" y="8962"/>
                      <a:pt x="10404" y="8272"/>
                    </a:cubicBezTo>
                    <a:cubicBezTo>
                      <a:pt x="10178" y="7583"/>
                      <a:pt x="9499" y="6204"/>
                      <a:pt x="9726" y="5974"/>
                    </a:cubicBezTo>
                    <a:cubicBezTo>
                      <a:pt x="9952" y="5974"/>
                      <a:pt x="12440" y="2298"/>
                      <a:pt x="12892" y="2068"/>
                    </a:cubicBezTo>
                    <a:cubicBezTo>
                      <a:pt x="13118" y="1838"/>
                      <a:pt x="14249" y="3677"/>
                      <a:pt x="14815" y="3217"/>
                    </a:cubicBezTo>
                    <a:cubicBezTo>
                      <a:pt x="15380" y="2987"/>
                      <a:pt x="15946" y="230"/>
                      <a:pt x="16285" y="0"/>
                    </a:cubicBezTo>
                    <a:cubicBezTo>
                      <a:pt x="16624" y="0"/>
                      <a:pt x="20582" y="2757"/>
                      <a:pt x="21148" y="2757"/>
                    </a:cubicBezTo>
                    <a:lnTo>
                      <a:pt x="21148" y="3677"/>
                    </a:lnTo>
                    <a:close/>
                    <a:moveTo>
                      <a:pt x="21148" y="3677"/>
                    </a:moveTo>
                  </a:path>
                </a:pathLst>
              </a:custGeom>
              <a:solidFill>
                <a:srgbClr val="850057"/>
              </a:solidFill>
              <a:ln w="6350" cap="flat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/>
              <a:lstStyle/>
              <a:p>
                <a:endParaRPr lang="en-US"/>
              </a:p>
            </p:txBody>
          </p:sp>
        </p:grpSp>
        <p:sp>
          <p:nvSpPr>
            <p:cNvPr id="17418" name="Rectangle 64"/>
            <p:cNvSpPr>
              <a:spLocks/>
            </p:cNvSpPr>
            <p:nvPr/>
          </p:nvSpPr>
          <p:spPr bwMode="auto">
            <a:xfrm>
              <a:off x="369" y="366"/>
              <a:ext cx="192" cy="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0" tIns="38100" rIns="38100" bIns="38100"/>
            <a:lstStyle/>
            <a:p>
              <a:pPr algn="ctr" eaLnBrk="0" hangingPunct="0"/>
              <a:r>
                <a:rPr lang="en-US" sz="1000" b="1">
                  <a:solidFill>
                    <a:srgbClr val="FFFFFF"/>
                  </a:solidFill>
                  <a:sym typeface="Arial" pitchFamily="34" charset="0"/>
                </a:rPr>
                <a:t>D</a:t>
              </a:r>
            </a:p>
          </p:txBody>
        </p:sp>
        <p:sp>
          <p:nvSpPr>
            <p:cNvPr id="17419" name="Rectangle 65"/>
            <p:cNvSpPr>
              <a:spLocks/>
            </p:cNvSpPr>
            <p:nvPr/>
          </p:nvSpPr>
          <p:spPr bwMode="auto">
            <a:xfrm>
              <a:off x="590" y="657"/>
              <a:ext cx="192" cy="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0" tIns="38100" rIns="38100" bIns="38100"/>
            <a:lstStyle/>
            <a:p>
              <a:pPr algn="ctr" eaLnBrk="0" hangingPunct="0"/>
              <a:r>
                <a:rPr lang="en-US" sz="1000" b="1">
                  <a:solidFill>
                    <a:srgbClr val="FFFFFF"/>
                  </a:solidFill>
                  <a:sym typeface="Arial" pitchFamily="34" charset="0"/>
                </a:rPr>
                <a:t>A</a:t>
              </a:r>
            </a:p>
          </p:txBody>
        </p:sp>
        <p:sp>
          <p:nvSpPr>
            <p:cNvPr id="17420" name="Rectangle 66"/>
            <p:cNvSpPr>
              <a:spLocks/>
            </p:cNvSpPr>
            <p:nvPr/>
          </p:nvSpPr>
          <p:spPr bwMode="auto">
            <a:xfrm>
              <a:off x="150" y="677"/>
              <a:ext cx="284" cy="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0" tIns="38100" rIns="38100" bIns="38100"/>
            <a:lstStyle/>
            <a:p>
              <a:pPr algn="ctr" eaLnBrk="0" hangingPunct="0"/>
              <a:r>
                <a:rPr lang="en-US" sz="1000" b="1">
                  <a:solidFill>
                    <a:srgbClr val="FFFFFF"/>
                  </a:solidFill>
                  <a:sym typeface="Arial" pitchFamily="34" charset="0"/>
                </a:rPr>
                <a:t>CH</a:t>
              </a:r>
            </a:p>
          </p:txBody>
        </p:sp>
        <p:sp>
          <p:nvSpPr>
            <p:cNvPr id="17421" name="Rectangle 67"/>
            <p:cNvSpPr>
              <a:spLocks/>
            </p:cNvSpPr>
            <p:nvPr/>
          </p:nvSpPr>
          <p:spPr bwMode="auto">
            <a:xfrm>
              <a:off x="597" y="488"/>
              <a:ext cx="284" cy="1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0" tIns="38100" rIns="38100" bIns="38100"/>
            <a:lstStyle/>
            <a:p>
              <a:pPr algn="ctr" eaLnBrk="0" hangingPunct="0"/>
              <a:r>
                <a:rPr lang="en-US" sz="1000" b="1">
                  <a:solidFill>
                    <a:srgbClr val="FFFFFF"/>
                  </a:solidFill>
                  <a:sym typeface="Arial" pitchFamily="34" charset="0"/>
                </a:rPr>
                <a:t>CZ</a:t>
              </a:r>
            </a:p>
          </p:txBody>
        </p:sp>
        <p:sp>
          <p:nvSpPr>
            <p:cNvPr id="17422" name="Rectangle 68"/>
            <p:cNvSpPr>
              <a:spLocks/>
            </p:cNvSpPr>
            <p:nvPr/>
          </p:nvSpPr>
          <p:spPr bwMode="auto">
            <a:xfrm>
              <a:off x="789" y="589"/>
              <a:ext cx="284" cy="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0" tIns="38100" rIns="38100" bIns="38100"/>
            <a:lstStyle/>
            <a:p>
              <a:pPr algn="ctr" eaLnBrk="0" hangingPunct="0"/>
              <a:r>
                <a:rPr lang="en-US" sz="1000" b="1">
                  <a:solidFill>
                    <a:srgbClr val="FFFFFF"/>
                  </a:solidFill>
                  <a:sym typeface="Arial" pitchFamily="34" charset="0"/>
                </a:rPr>
                <a:t>SK</a:t>
              </a:r>
            </a:p>
          </p:txBody>
        </p:sp>
        <p:sp>
          <p:nvSpPr>
            <p:cNvPr id="17423" name="Rectangle 69"/>
            <p:cNvSpPr>
              <a:spLocks/>
            </p:cNvSpPr>
            <p:nvPr/>
          </p:nvSpPr>
          <p:spPr bwMode="auto">
            <a:xfrm>
              <a:off x="803" y="285"/>
              <a:ext cx="284" cy="1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0" tIns="38100" rIns="38100" bIns="38100"/>
            <a:lstStyle/>
            <a:p>
              <a:pPr algn="ctr" eaLnBrk="0" hangingPunct="0"/>
              <a:r>
                <a:rPr lang="en-US" sz="1000" b="1">
                  <a:solidFill>
                    <a:srgbClr val="FFFFFF"/>
                  </a:solidFill>
                  <a:sym typeface="Arial" pitchFamily="34" charset="0"/>
                </a:rPr>
                <a:t>PL</a:t>
              </a:r>
            </a:p>
          </p:txBody>
        </p:sp>
        <p:sp>
          <p:nvSpPr>
            <p:cNvPr id="17424" name="Rectangle 70"/>
            <p:cNvSpPr>
              <a:spLocks/>
            </p:cNvSpPr>
            <p:nvPr/>
          </p:nvSpPr>
          <p:spPr bwMode="auto">
            <a:xfrm>
              <a:off x="804" y="728"/>
              <a:ext cx="284" cy="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0" tIns="38100" rIns="38100" bIns="38100"/>
            <a:lstStyle/>
            <a:p>
              <a:pPr algn="ctr" eaLnBrk="0" hangingPunct="0"/>
              <a:r>
                <a:rPr lang="en-US" sz="1000" b="1">
                  <a:solidFill>
                    <a:srgbClr val="FFFFFF"/>
                  </a:solidFill>
                  <a:sym typeface="Arial" pitchFamily="34" charset="0"/>
                </a:rPr>
                <a:t>HU</a:t>
              </a:r>
            </a:p>
          </p:txBody>
        </p:sp>
        <p:sp>
          <p:nvSpPr>
            <p:cNvPr id="17425" name="Rectangle 71"/>
            <p:cNvSpPr>
              <a:spLocks/>
            </p:cNvSpPr>
            <p:nvPr/>
          </p:nvSpPr>
          <p:spPr bwMode="auto">
            <a:xfrm>
              <a:off x="1179" y="1083"/>
              <a:ext cx="284" cy="1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0" tIns="38100" rIns="38100" bIns="38100"/>
            <a:lstStyle/>
            <a:p>
              <a:pPr algn="ctr" eaLnBrk="0" hangingPunct="0"/>
              <a:r>
                <a:rPr lang="en-US" sz="1000" b="1">
                  <a:solidFill>
                    <a:srgbClr val="FFFFFF"/>
                  </a:solidFill>
                  <a:sym typeface="Arial" pitchFamily="34" charset="0"/>
                </a:rPr>
                <a:t>BG</a:t>
              </a:r>
            </a:p>
          </p:txBody>
        </p:sp>
        <p:sp>
          <p:nvSpPr>
            <p:cNvPr id="17426" name="Rectangle 72"/>
            <p:cNvSpPr>
              <a:spLocks/>
            </p:cNvSpPr>
            <p:nvPr/>
          </p:nvSpPr>
          <p:spPr bwMode="auto">
            <a:xfrm>
              <a:off x="1760" y="1336"/>
              <a:ext cx="284" cy="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0" tIns="38100" rIns="38100" bIns="38100"/>
            <a:lstStyle/>
            <a:p>
              <a:pPr algn="ctr" eaLnBrk="0" hangingPunct="0"/>
              <a:r>
                <a:rPr lang="en-US" sz="1000" b="1">
                  <a:solidFill>
                    <a:srgbClr val="FFFFFF"/>
                  </a:solidFill>
                  <a:sym typeface="Arial" pitchFamily="34" charset="0"/>
                </a:rPr>
                <a:t>TR</a:t>
              </a:r>
            </a:p>
          </p:txBody>
        </p:sp>
        <p:sp>
          <p:nvSpPr>
            <p:cNvPr id="17427" name="Rectangle 73"/>
            <p:cNvSpPr>
              <a:spLocks/>
            </p:cNvSpPr>
            <p:nvPr/>
          </p:nvSpPr>
          <p:spPr bwMode="auto">
            <a:xfrm>
              <a:off x="1135" y="814"/>
              <a:ext cx="284" cy="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0" tIns="38100" rIns="38100" bIns="38100"/>
            <a:lstStyle/>
            <a:p>
              <a:pPr algn="ctr" eaLnBrk="0" hangingPunct="0"/>
              <a:r>
                <a:rPr lang="en-US" sz="1000" b="1">
                  <a:solidFill>
                    <a:srgbClr val="FFFFFF"/>
                  </a:solidFill>
                  <a:sym typeface="Arial" pitchFamily="34" charset="0"/>
                </a:rPr>
                <a:t>RO</a:t>
              </a:r>
            </a:p>
          </p:txBody>
        </p:sp>
        <p:sp>
          <p:nvSpPr>
            <p:cNvPr id="17428" name="Rectangle 74"/>
            <p:cNvSpPr>
              <a:spLocks/>
            </p:cNvSpPr>
            <p:nvPr/>
          </p:nvSpPr>
          <p:spPr bwMode="auto">
            <a:xfrm>
              <a:off x="862" y="970"/>
              <a:ext cx="369" cy="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0" tIns="38100" rIns="38100" bIns="38100"/>
            <a:lstStyle/>
            <a:p>
              <a:pPr algn="ctr" eaLnBrk="0" hangingPunct="0"/>
              <a:r>
                <a:rPr lang="en-US" sz="1000" b="1">
                  <a:solidFill>
                    <a:srgbClr val="FFFFFF"/>
                  </a:solidFill>
                  <a:sym typeface="Arial" pitchFamily="34" charset="0"/>
                </a:rPr>
                <a:t>SRB</a:t>
              </a:r>
            </a:p>
          </p:txBody>
        </p:sp>
        <p:sp>
          <p:nvSpPr>
            <p:cNvPr id="17429" name="Rectangle 75"/>
            <p:cNvSpPr>
              <a:spLocks/>
            </p:cNvSpPr>
            <p:nvPr/>
          </p:nvSpPr>
          <p:spPr bwMode="auto">
            <a:xfrm>
              <a:off x="1075" y="14"/>
              <a:ext cx="284" cy="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0" tIns="38100" rIns="38100" bIns="38100"/>
            <a:lstStyle/>
            <a:p>
              <a:pPr algn="ctr" eaLnBrk="0" hangingPunct="0"/>
              <a:r>
                <a:rPr lang="en-US" sz="1000" b="1">
                  <a:solidFill>
                    <a:srgbClr val="B6BF00"/>
                  </a:solidFill>
                  <a:sym typeface="Arial" pitchFamily="34" charset="0"/>
                </a:rPr>
                <a:t>LT</a:t>
              </a:r>
            </a:p>
          </p:txBody>
        </p:sp>
        <p:sp>
          <p:nvSpPr>
            <p:cNvPr id="17430" name="Freeform 76"/>
            <p:cNvSpPr>
              <a:spLocks/>
            </p:cNvSpPr>
            <p:nvPr/>
          </p:nvSpPr>
          <p:spPr bwMode="auto">
            <a:xfrm>
              <a:off x="1050" y="26"/>
              <a:ext cx="260" cy="201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w 21600"/>
                <a:gd name="T17" fmla="*/ 0 h 21600"/>
                <a:gd name="T18" fmla="*/ 0 w 21600"/>
                <a:gd name="T19" fmla="*/ 0 h 21600"/>
                <a:gd name="T20" fmla="*/ 0 w 21600"/>
                <a:gd name="T21" fmla="*/ 0 h 21600"/>
                <a:gd name="T22" fmla="*/ 0 w 21600"/>
                <a:gd name="T23" fmla="*/ 0 h 21600"/>
                <a:gd name="T24" fmla="*/ 0 w 21600"/>
                <a:gd name="T25" fmla="*/ 0 h 21600"/>
                <a:gd name="T26" fmla="*/ 0 w 21600"/>
                <a:gd name="T27" fmla="*/ 0 h 21600"/>
                <a:gd name="T28" fmla="*/ 0 w 21600"/>
                <a:gd name="T29" fmla="*/ 0 h 21600"/>
                <a:gd name="T30" fmla="*/ 0 w 21600"/>
                <a:gd name="T31" fmla="*/ 0 h 21600"/>
                <a:gd name="T32" fmla="*/ 0 w 21600"/>
                <a:gd name="T33" fmla="*/ 0 h 21600"/>
                <a:gd name="T34" fmla="*/ 0 w 21600"/>
                <a:gd name="T35" fmla="*/ 0 h 21600"/>
                <a:gd name="T36" fmla="*/ 0 w 21600"/>
                <a:gd name="T37" fmla="*/ 0 h 21600"/>
                <a:gd name="T38" fmla="*/ 0 w 21600"/>
                <a:gd name="T39" fmla="*/ 0 h 21600"/>
                <a:gd name="T40" fmla="*/ 0 w 21600"/>
                <a:gd name="T41" fmla="*/ 0 h 21600"/>
                <a:gd name="T42" fmla="*/ 0 w 21600"/>
                <a:gd name="T43" fmla="*/ 0 h 21600"/>
                <a:gd name="T44" fmla="*/ 0 w 21600"/>
                <a:gd name="T45" fmla="*/ 0 h 21600"/>
                <a:gd name="T46" fmla="*/ 0 w 21600"/>
                <a:gd name="T47" fmla="*/ 0 h 21600"/>
                <a:gd name="T48" fmla="*/ 0 w 21600"/>
                <a:gd name="T49" fmla="*/ 0 h 21600"/>
                <a:gd name="T50" fmla="*/ 0 w 21600"/>
                <a:gd name="T51" fmla="*/ 0 h 21600"/>
                <a:gd name="T52" fmla="*/ 0 w 21600"/>
                <a:gd name="T53" fmla="*/ 0 h 21600"/>
                <a:gd name="T54" fmla="*/ 0 w 21600"/>
                <a:gd name="T55" fmla="*/ 0 h 21600"/>
                <a:gd name="T56" fmla="*/ 0 w 21600"/>
                <a:gd name="T57" fmla="*/ 0 h 21600"/>
                <a:gd name="T58" fmla="*/ 0 w 21600"/>
                <a:gd name="T59" fmla="*/ 0 h 21600"/>
                <a:gd name="T60" fmla="*/ 0 w 21600"/>
                <a:gd name="T61" fmla="*/ 0 h 21600"/>
                <a:gd name="T62" fmla="*/ 0 w 21600"/>
                <a:gd name="T63" fmla="*/ 0 h 21600"/>
                <a:gd name="T64" fmla="*/ 0 w 21600"/>
                <a:gd name="T65" fmla="*/ 0 h 21600"/>
                <a:gd name="T66" fmla="*/ 0 w 21600"/>
                <a:gd name="T67" fmla="*/ 0 h 21600"/>
                <a:gd name="T68" fmla="*/ 0 w 21600"/>
                <a:gd name="T69" fmla="*/ 0 h 21600"/>
                <a:gd name="T70" fmla="*/ 0 w 21600"/>
                <a:gd name="T71" fmla="*/ 0 h 21600"/>
                <a:gd name="T72" fmla="*/ 0 w 21600"/>
                <a:gd name="T73" fmla="*/ 0 h 21600"/>
                <a:gd name="T74" fmla="*/ 0 w 21600"/>
                <a:gd name="T75" fmla="*/ 0 h 21600"/>
                <a:gd name="T76" fmla="*/ 0 w 21600"/>
                <a:gd name="T77" fmla="*/ 0 h 21600"/>
                <a:gd name="T78" fmla="*/ 0 w 21600"/>
                <a:gd name="T79" fmla="*/ 0 h 21600"/>
                <a:gd name="T80" fmla="*/ 0 w 21600"/>
                <a:gd name="T81" fmla="*/ 0 h 21600"/>
                <a:gd name="T82" fmla="*/ 0 w 21600"/>
                <a:gd name="T83" fmla="*/ 0 h 21600"/>
                <a:gd name="T84" fmla="*/ 0 w 21600"/>
                <a:gd name="T85" fmla="*/ 0 h 21600"/>
                <a:gd name="T86" fmla="*/ 0 w 21600"/>
                <a:gd name="T87" fmla="*/ 0 h 21600"/>
                <a:gd name="T88" fmla="*/ 0 w 21600"/>
                <a:gd name="T89" fmla="*/ 0 h 21600"/>
                <a:gd name="T90" fmla="*/ 0 w 21600"/>
                <a:gd name="T91" fmla="*/ 0 h 21600"/>
                <a:gd name="T92" fmla="*/ 0 w 21600"/>
                <a:gd name="T93" fmla="*/ 0 h 21600"/>
                <a:gd name="T94" fmla="*/ 0 w 21600"/>
                <a:gd name="T95" fmla="*/ 0 h 21600"/>
                <a:gd name="T96" fmla="*/ 0 w 21600"/>
                <a:gd name="T97" fmla="*/ 0 h 21600"/>
                <a:gd name="T98" fmla="*/ 0 w 21600"/>
                <a:gd name="T99" fmla="*/ 0 h 21600"/>
                <a:gd name="T100" fmla="*/ 0 w 21600"/>
                <a:gd name="T101" fmla="*/ 0 h 21600"/>
                <a:gd name="T102" fmla="*/ 0 w 21600"/>
                <a:gd name="T103" fmla="*/ 0 h 216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1600"/>
                <a:gd name="T157" fmla="*/ 0 h 21600"/>
                <a:gd name="T158" fmla="*/ 21600 w 21600"/>
                <a:gd name="T159" fmla="*/ 21600 h 216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1600" h="21600">
                  <a:moveTo>
                    <a:pt x="0" y="2326"/>
                  </a:moveTo>
                  <a:lnTo>
                    <a:pt x="0" y="3102"/>
                  </a:lnTo>
                  <a:lnTo>
                    <a:pt x="602" y="5428"/>
                  </a:lnTo>
                  <a:lnTo>
                    <a:pt x="1205" y="9194"/>
                  </a:lnTo>
                  <a:lnTo>
                    <a:pt x="2410" y="10745"/>
                  </a:lnTo>
                  <a:lnTo>
                    <a:pt x="4217" y="11409"/>
                  </a:lnTo>
                  <a:lnTo>
                    <a:pt x="4819" y="11409"/>
                  </a:lnTo>
                  <a:lnTo>
                    <a:pt x="4819" y="12960"/>
                  </a:lnTo>
                  <a:lnTo>
                    <a:pt x="4819" y="15286"/>
                  </a:lnTo>
                  <a:lnTo>
                    <a:pt x="7229" y="17502"/>
                  </a:lnTo>
                  <a:lnTo>
                    <a:pt x="8433" y="18277"/>
                  </a:lnTo>
                  <a:lnTo>
                    <a:pt x="9208" y="18942"/>
                  </a:lnTo>
                  <a:lnTo>
                    <a:pt x="10241" y="21378"/>
                  </a:lnTo>
                  <a:lnTo>
                    <a:pt x="11273" y="21600"/>
                  </a:lnTo>
                  <a:lnTo>
                    <a:pt x="12306" y="21600"/>
                  </a:lnTo>
                  <a:lnTo>
                    <a:pt x="13167" y="21378"/>
                  </a:lnTo>
                  <a:lnTo>
                    <a:pt x="14371" y="20603"/>
                  </a:lnTo>
                  <a:lnTo>
                    <a:pt x="15662" y="20271"/>
                  </a:lnTo>
                  <a:lnTo>
                    <a:pt x="16523" y="19606"/>
                  </a:lnTo>
                  <a:lnTo>
                    <a:pt x="17383" y="19052"/>
                  </a:lnTo>
                  <a:lnTo>
                    <a:pt x="17986" y="18277"/>
                  </a:lnTo>
                  <a:lnTo>
                    <a:pt x="18588" y="17502"/>
                  </a:lnTo>
                  <a:lnTo>
                    <a:pt x="18588" y="13735"/>
                  </a:lnTo>
                  <a:lnTo>
                    <a:pt x="19190" y="12185"/>
                  </a:lnTo>
                  <a:lnTo>
                    <a:pt x="19190" y="10745"/>
                  </a:lnTo>
                  <a:lnTo>
                    <a:pt x="19793" y="10191"/>
                  </a:lnTo>
                  <a:lnTo>
                    <a:pt x="20395" y="9194"/>
                  </a:lnTo>
                  <a:lnTo>
                    <a:pt x="21600" y="8418"/>
                  </a:lnTo>
                  <a:lnTo>
                    <a:pt x="21600" y="6868"/>
                  </a:lnTo>
                  <a:lnTo>
                    <a:pt x="20998" y="5428"/>
                  </a:lnTo>
                  <a:lnTo>
                    <a:pt x="20395" y="4652"/>
                  </a:lnTo>
                  <a:lnTo>
                    <a:pt x="19793" y="4652"/>
                  </a:lnTo>
                  <a:lnTo>
                    <a:pt x="18588" y="3102"/>
                  </a:lnTo>
                  <a:lnTo>
                    <a:pt x="17986" y="2326"/>
                  </a:lnTo>
                  <a:lnTo>
                    <a:pt x="16781" y="2326"/>
                  </a:lnTo>
                  <a:lnTo>
                    <a:pt x="14974" y="2326"/>
                  </a:lnTo>
                  <a:lnTo>
                    <a:pt x="14371" y="1551"/>
                  </a:lnTo>
                  <a:lnTo>
                    <a:pt x="13769" y="0"/>
                  </a:lnTo>
                  <a:lnTo>
                    <a:pt x="12048" y="0"/>
                  </a:lnTo>
                  <a:lnTo>
                    <a:pt x="11445" y="1551"/>
                  </a:lnTo>
                  <a:lnTo>
                    <a:pt x="10241" y="775"/>
                  </a:lnTo>
                  <a:lnTo>
                    <a:pt x="9638" y="775"/>
                  </a:lnTo>
                  <a:lnTo>
                    <a:pt x="9036" y="775"/>
                  </a:lnTo>
                  <a:lnTo>
                    <a:pt x="7831" y="775"/>
                  </a:lnTo>
                  <a:lnTo>
                    <a:pt x="7229" y="1551"/>
                  </a:lnTo>
                  <a:lnTo>
                    <a:pt x="6024" y="775"/>
                  </a:lnTo>
                  <a:lnTo>
                    <a:pt x="4217" y="0"/>
                  </a:lnTo>
                  <a:lnTo>
                    <a:pt x="3614" y="0"/>
                  </a:lnTo>
                  <a:lnTo>
                    <a:pt x="3012" y="775"/>
                  </a:lnTo>
                  <a:lnTo>
                    <a:pt x="1807" y="1551"/>
                  </a:lnTo>
                  <a:lnTo>
                    <a:pt x="0" y="2326"/>
                  </a:lnTo>
                </a:path>
              </a:pathLst>
            </a:custGeom>
            <a:solidFill>
              <a:srgbClr val="B6BF00"/>
            </a:solidFill>
            <a:ln w="6350" cap="flat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431" name="Rectangle 77"/>
            <p:cNvSpPr>
              <a:spLocks/>
            </p:cNvSpPr>
            <p:nvPr/>
          </p:nvSpPr>
          <p:spPr bwMode="auto">
            <a:xfrm>
              <a:off x="1050" y="54"/>
              <a:ext cx="284" cy="1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0" tIns="38100" rIns="38100" bIns="38100"/>
            <a:lstStyle/>
            <a:p>
              <a:pPr algn="ctr" eaLnBrk="0" hangingPunct="0"/>
              <a:r>
                <a:rPr lang="en-US" sz="1000" b="1">
                  <a:solidFill>
                    <a:srgbClr val="FFFFFF"/>
                  </a:solidFill>
                  <a:sym typeface="Arial" pitchFamily="34" charset="0"/>
                </a:rPr>
                <a:t>LT</a:t>
              </a:r>
            </a:p>
          </p:txBody>
        </p:sp>
      </p:grpSp>
      <p:sp>
        <p:nvSpPr>
          <p:cNvPr id="17414" name="TextBox 165"/>
          <p:cNvSpPr txBox="1">
            <a:spLocks noChangeArrowheads="1"/>
          </p:cNvSpPr>
          <p:nvPr/>
        </p:nvSpPr>
        <p:spPr bwMode="auto">
          <a:xfrm>
            <a:off x="333375" y="4383088"/>
            <a:ext cx="4048125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>
              <a:buClr>
                <a:schemeClr val="tx2"/>
              </a:buClr>
              <a:buFont typeface="Arial" pitchFamily="34" charset="0"/>
              <a:buChar char="•"/>
            </a:pPr>
            <a:r>
              <a:rPr lang="en-US" sz="1600" dirty="0" smtClean="0"/>
              <a:t>1440 </a:t>
            </a:r>
            <a:r>
              <a:rPr lang="sk-SK" sz="1600" dirty="0" smtClean="0"/>
              <a:t>zamestnancov</a:t>
            </a:r>
            <a:endParaRPr lang="en-US" sz="1600" dirty="0"/>
          </a:p>
          <a:p>
            <a:pPr marL="177800" indent="-177800">
              <a:buClr>
                <a:schemeClr val="tx2"/>
              </a:buClr>
              <a:buFont typeface="Arial" pitchFamily="34" charset="0"/>
              <a:buChar char="•"/>
            </a:pPr>
            <a:r>
              <a:rPr lang="en-US" sz="1600" dirty="0" smtClean="0"/>
              <a:t>9 </a:t>
            </a:r>
            <a:r>
              <a:rPr lang="sk-SK" sz="1600" dirty="0" smtClean="0"/>
              <a:t>krajín</a:t>
            </a:r>
            <a:endParaRPr lang="en-US" sz="1600" dirty="0"/>
          </a:p>
          <a:p>
            <a:pPr marL="177800" indent="-177800">
              <a:buClr>
                <a:schemeClr val="tx2"/>
              </a:buClr>
              <a:buFont typeface="Arial" pitchFamily="34" charset="0"/>
              <a:buChar char="•"/>
            </a:pPr>
            <a:r>
              <a:rPr lang="en-US" sz="1600" dirty="0" smtClean="0"/>
              <a:t>3 </a:t>
            </a:r>
            <a:r>
              <a:rPr lang="en-US" sz="1600" dirty="0"/>
              <a:t>delivery </a:t>
            </a:r>
            <a:r>
              <a:rPr lang="en-US" sz="1600" dirty="0" err="1" smtClean="0"/>
              <a:t>ce</a:t>
            </a:r>
            <a:r>
              <a:rPr lang="sk-SK" sz="1600" dirty="0" smtClean="0"/>
              <a:t>ntrá</a:t>
            </a:r>
            <a:r>
              <a:rPr lang="en-US" sz="1600" dirty="0" smtClean="0"/>
              <a:t> (North/Central/ South</a:t>
            </a:r>
            <a:r>
              <a:rPr lang="en-US" sz="1600" dirty="0"/>
              <a:t>)</a:t>
            </a:r>
          </a:p>
          <a:p>
            <a:pPr marL="177800" indent="-177800">
              <a:buClr>
                <a:schemeClr val="tx2"/>
              </a:buClr>
              <a:buFont typeface="Arial" pitchFamily="34" charset="0"/>
              <a:buChar char="•"/>
            </a:pPr>
            <a:r>
              <a:rPr lang="en-US" sz="1600" dirty="0" smtClean="0"/>
              <a:t>14 </a:t>
            </a:r>
            <a:r>
              <a:rPr lang="sk-SK" sz="1600" dirty="0" smtClean="0"/>
              <a:t>jazykov</a:t>
            </a:r>
            <a:endParaRPr lang="en-US" sz="1600" dirty="0"/>
          </a:p>
          <a:p>
            <a:pPr marL="177800" indent="-177800">
              <a:buClr>
                <a:schemeClr val="tx2"/>
              </a:buClr>
              <a:buFont typeface="Arial" pitchFamily="34" charset="0"/>
              <a:buChar char="•"/>
            </a:pPr>
            <a:r>
              <a:rPr lang="en-US" sz="1600" dirty="0" smtClean="0"/>
              <a:t>Delivery </a:t>
            </a:r>
            <a:r>
              <a:rPr lang="sk-SK" sz="1600" dirty="0" smtClean="0"/>
              <a:t>kapacity</a:t>
            </a:r>
            <a:r>
              <a:rPr lang="en-US" sz="1600" dirty="0" smtClean="0"/>
              <a:t> </a:t>
            </a:r>
            <a:r>
              <a:rPr lang="sk-SK" sz="1600" dirty="0" smtClean="0"/>
              <a:t>v</a:t>
            </a:r>
            <a:r>
              <a:rPr lang="en-US" sz="1600" dirty="0" smtClean="0"/>
              <a:t> 9 </a:t>
            </a:r>
            <a:r>
              <a:rPr lang="sk-SK" sz="1600" dirty="0" smtClean="0"/>
              <a:t>krajinách</a:t>
            </a:r>
            <a:endParaRPr lang="en-US" sz="1600" dirty="0"/>
          </a:p>
          <a:p>
            <a:pPr marL="177800" indent="-177800">
              <a:buClr>
                <a:schemeClr val="tx2"/>
              </a:buClr>
              <a:buFont typeface="Arial" pitchFamily="34" charset="0"/>
              <a:buChar char="•"/>
            </a:pPr>
            <a:r>
              <a:rPr lang="sk-SK" sz="1600" dirty="0" smtClean="0"/>
              <a:t>Lokálni a medzinárodni zákazníci</a:t>
            </a:r>
            <a:endParaRPr lang="en-US" sz="1600" dirty="0"/>
          </a:p>
          <a:p>
            <a:pPr marL="88900" indent="-88900">
              <a:buClr>
                <a:schemeClr val="tx2"/>
              </a:buClr>
              <a:buFont typeface="Arial" pitchFamily="34" charset="0"/>
              <a:buChar char="•"/>
            </a:pPr>
            <a:endParaRPr lang="en-US" sz="1600" dirty="0"/>
          </a:p>
        </p:txBody>
      </p:sp>
      <p:sp>
        <p:nvSpPr>
          <p:cNvPr id="169" name="Eine Ecke des Rechtecks schneiden 299"/>
          <p:cNvSpPr/>
          <p:nvPr>
            <p:custDataLst>
              <p:tags r:id="rId4"/>
            </p:custDataLst>
          </p:nvPr>
        </p:nvSpPr>
        <p:spPr bwMode="auto">
          <a:xfrm flipV="1">
            <a:off x="4630738" y="4317999"/>
            <a:ext cx="4146550" cy="1838251"/>
          </a:xfrm>
          <a:prstGeom prst="snip1Rect">
            <a:avLst>
              <a:gd name="adj" fmla="val 17958"/>
            </a:avLst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lIns="36000" tIns="72000" rIns="36000" bIns="36000"/>
          <a:lstStyle/>
          <a:p>
            <a:pPr marL="179388" indent="-179388" eaLnBrk="0" hangingPunct="0">
              <a:lnSpc>
                <a:spcPct val="85000"/>
              </a:lnSpc>
              <a:spcBef>
                <a:spcPct val="35000"/>
              </a:spcBef>
              <a:buClr>
                <a:schemeClr val="tx2"/>
              </a:buClr>
              <a:buFontTx/>
              <a:buChar char="•"/>
              <a:defRPr/>
            </a:pPr>
            <a:endParaRPr lang="de-AT" altLang="en-US" sz="1200" dirty="0"/>
          </a:p>
        </p:txBody>
      </p:sp>
      <p:sp>
        <p:nvSpPr>
          <p:cNvPr id="37" name="TextBox 11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37088" y="3995738"/>
            <a:ext cx="1995488" cy="323850"/>
          </a:xfrm>
          <a:prstGeom prst="rect">
            <a:avLst/>
          </a:prstGeom>
          <a:solidFill>
            <a:srgbClr val="A04693"/>
          </a:solidFill>
          <a:ln w="0">
            <a:noFill/>
            <a:miter lim="800000"/>
            <a:headEnd/>
            <a:tailEnd/>
          </a:ln>
        </p:spPr>
        <p:txBody>
          <a:bodyPr lIns="72000" tIns="72000" rIns="72000" bIns="72000" anchor="ctr">
            <a:spAutoFit/>
          </a:bodyPr>
          <a:lstStyle/>
          <a:p>
            <a:pPr algn="ctr" eaLnBrk="0" hangingPunct="0">
              <a:lnSpc>
                <a:spcPct val="85000"/>
              </a:lnSpc>
              <a:spcBef>
                <a:spcPct val="35000"/>
              </a:spcBef>
              <a:buClr>
                <a:schemeClr val="bg1"/>
              </a:buClr>
            </a:pPr>
            <a:r>
              <a:rPr lang="en-GB" sz="1400" b="1">
                <a:solidFill>
                  <a:srgbClr val="FFFFFF"/>
                </a:solidFill>
                <a:cs typeface="Times New Roman" pitchFamily="18" charset="0"/>
              </a:rPr>
              <a:t>Austria</a:t>
            </a:r>
            <a:endParaRPr lang="en-GB" sz="120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40" name="TextBox 12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34963" y="4002167"/>
            <a:ext cx="2005012" cy="328533"/>
          </a:xfrm>
          <a:prstGeom prst="rect">
            <a:avLst/>
          </a:prstGeom>
          <a:solidFill>
            <a:srgbClr val="B6BF00"/>
          </a:solidFill>
          <a:ln w="0">
            <a:noFill/>
            <a:miter lim="800000"/>
            <a:headEnd/>
            <a:tailEnd/>
          </a:ln>
        </p:spPr>
        <p:txBody>
          <a:bodyPr lIns="72000" tIns="72000" rIns="72000" bIns="72000" anchor="b">
            <a:spAutoFit/>
          </a:bodyPr>
          <a:lstStyle/>
          <a:p>
            <a:pPr algn="ctr" eaLnBrk="0" hangingPunct="0">
              <a:lnSpc>
                <a:spcPct val="85000"/>
              </a:lnSpc>
              <a:spcBef>
                <a:spcPct val="35000"/>
              </a:spcBef>
              <a:buClr>
                <a:schemeClr val="bg1"/>
              </a:buClr>
            </a:pPr>
            <a:r>
              <a:rPr lang="en-GB" sz="1400" b="1" dirty="0" smtClean="0">
                <a:solidFill>
                  <a:srgbClr val="FFFFFF"/>
                </a:solidFill>
                <a:cs typeface="Times New Roman" pitchFamily="18" charset="0"/>
              </a:rPr>
              <a:t>Eastern </a:t>
            </a:r>
            <a:r>
              <a:rPr lang="en-GB" sz="1400" b="1" dirty="0">
                <a:solidFill>
                  <a:srgbClr val="FFFFFF"/>
                </a:solidFill>
                <a:cs typeface="Times New Roman" pitchFamily="18" charset="0"/>
              </a:rPr>
              <a:t>Europe</a:t>
            </a:r>
            <a:endParaRPr lang="en-GB" sz="1200" dirty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41" name="TextBox 165"/>
          <p:cNvSpPr txBox="1">
            <a:spLocks noChangeArrowheads="1"/>
          </p:cNvSpPr>
          <p:nvPr/>
        </p:nvSpPr>
        <p:spPr bwMode="auto">
          <a:xfrm>
            <a:off x="4664075" y="4383088"/>
            <a:ext cx="4048125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indent="-177800">
              <a:buClr>
                <a:schemeClr val="tx2"/>
              </a:buClr>
              <a:buFont typeface="Arial" pitchFamily="34" charset="0"/>
              <a:buChar char="•"/>
            </a:pPr>
            <a:r>
              <a:rPr lang="sk-SK" sz="1600" dirty="0" smtClean="0"/>
              <a:t>Centrála pre región</a:t>
            </a:r>
            <a:r>
              <a:rPr lang="en-US" sz="1600" dirty="0" smtClean="0"/>
              <a:t> CSC Austria-Eastern Europe</a:t>
            </a:r>
          </a:p>
          <a:p>
            <a:pPr marL="177800" indent="-177800">
              <a:buClr>
                <a:schemeClr val="tx2"/>
              </a:buClr>
              <a:buFont typeface="Arial" pitchFamily="34" charset="0"/>
              <a:buChar char="•"/>
            </a:pPr>
            <a:r>
              <a:rPr lang="de-AT" sz="1600" dirty="0" smtClean="0"/>
              <a:t>340 </a:t>
            </a:r>
            <a:r>
              <a:rPr lang="sk-SK" sz="1600" dirty="0" smtClean="0"/>
              <a:t>zamestnancov</a:t>
            </a:r>
            <a:endParaRPr lang="de-AT" sz="1600" dirty="0" smtClean="0"/>
          </a:p>
          <a:p>
            <a:pPr marL="177800" indent="-177800">
              <a:buClr>
                <a:schemeClr val="tx2"/>
              </a:buClr>
              <a:buFont typeface="Arial" pitchFamily="34" charset="0"/>
              <a:buChar char="•"/>
            </a:pPr>
            <a:r>
              <a:rPr lang="sk-SK" sz="1600" dirty="0" smtClean="0"/>
              <a:t>Koncentrácia </a:t>
            </a:r>
            <a:r>
              <a:rPr lang="sk-SK" sz="1600" dirty="0" smtClean="0"/>
              <a:t>na veľké projekty </a:t>
            </a:r>
            <a:r>
              <a:rPr lang="de-AT" sz="1600" dirty="0" smtClean="0"/>
              <a:t>Top 200 </a:t>
            </a:r>
            <a:r>
              <a:rPr lang="sk-SK" sz="1600" dirty="0" smtClean="0"/>
              <a:t>spoločností</a:t>
            </a:r>
            <a:endParaRPr lang="de-AT" sz="1600" dirty="0" smtClean="0"/>
          </a:p>
          <a:p>
            <a:pPr marL="177800" indent="-177800">
              <a:buClr>
                <a:schemeClr val="tx2"/>
              </a:buClr>
              <a:buFont typeface="Arial" pitchFamily="34" charset="0"/>
              <a:buChar char="•"/>
            </a:pPr>
            <a:r>
              <a:rPr lang="sk-SK" sz="1600" dirty="0" smtClean="0"/>
              <a:t>Množstvo dlhodobých zákazníkov</a:t>
            </a:r>
            <a:endParaRPr lang="en-US" sz="1600" dirty="0"/>
          </a:p>
          <a:p>
            <a:pPr marL="88900" indent="-88900">
              <a:buClr>
                <a:schemeClr val="tx2"/>
              </a:buClr>
              <a:buFont typeface="Arial" pitchFamily="34" charset="0"/>
              <a:buChar char="•"/>
            </a:pPr>
            <a:endParaRPr lang="en-US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7154" name="think-cell Slide" r:id="rId33" imgW="0" imgH="0" progId="">
              <p:embed/>
            </p:oleObj>
          </a:graphicData>
        </a:graphic>
      </p:graphicFrame>
      <p:pic>
        <p:nvPicPr>
          <p:cNvPr id="3075" name="Picture 61" descr="WSM Final Feb 3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4" cstate="print"/>
          <a:srcRect l="70152" t="38203" r="18057" b="8859"/>
          <a:stretch>
            <a:fillRect/>
          </a:stretch>
        </p:blipFill>
        <p:spPr bwMode="auto">
          <a:xfrm>
            <a:off x="5346700" y="2459038"/>
            <a:ext cx="1493838" cy="3109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6" name="Picture 8" descr="C:\ANIVEK\Clients\CSC\roman-columns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35" cstate="print"/>
          <a:srcRect l="27052" t="8246" r="1247"/>
          <a:stretch>
            <a:fillRect/>
          </a:stretch>
        </p:blipFill>
        <p:spPr bwMode="auto">
          <a:xfrm>
            <a:off x="830263" y="2459038"/>
            <a:ext cx="1493837" cy="307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7" name="Picture 61" descr="WSM Final Feb 3.jp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6" cstate="print"/>
          <a:srcRect l="65034" t="50987" r="19778" b="34206"/>
          <a:stretch>
            <a:fillRect/>
          </a:stretch>
        </p:blipFill>
        <p:spPr bwMode="auto">
          <a:xfrm>
            <a:off x="3841750" y="2459038"/>
            <a:ext cx="1493838" cy="313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8" name="Picture 28" descr="WSM Final Feb 3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37" cstate="print"/>
          <a:srcRect l="18243" t="39301" r="72054" b="22704"/>
          <a:stretch>
            <a:fillRect/>
          </a:stretch>
        </p:blipFill>
        <p:spPr bwMode="auto">
          <a:xfrm>
            <a:off x="2335213" y="2459038"/>
            <a:ext cx="1493837" cy="274002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pic>
        <p:nvPicPr>
          <p:cNvPr id="3079" name="Grafik 54" descr="registratur.jp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8" cstate="print"/>
          <a:srcRect t="24867" b="23128"/>
          <a:stretch>
            <a:fillRect/>
          </a:stretch>
        </p:blipFill>
        <p:spPr bwMode="auto">
          <a:xfrm>
            <a:off x="6851650" y="2459038"/>
            <a:ext cx="1495425" cy="272891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sp>
        <p:nvSpPr>
          <p:cNvPr id="3080" name="Rectangle 6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30263" y="2478088"/>
            <a:ext cx="1493837" cy="2762250"/>
          </a:xfrm>
          <a:prstGeom prst="rect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tIns="108000" anchorCtr="1"/>
          <a:lstStyle/>
          <a:p>
            <a:pPr algn="ctr" eaLnBrk="0" hangingPunct="0">
              <a:lnSpc>
                <a:spcPct val="85000"/>
              </a:lnSpc>
              <a:spcBef>
                <a:spcPct val="25000"/>
              </a:spcBef>
            </a:pPr>
            <a:endParaRPr lang="en-GB" sz="1400" b="1">
              <a:solidFill>
                <a:schemeClr val="bg1"/>
              </a:solidFill>
            </a:endParaRPr>
          </a:p>
        </p:txBody>
      </p:sp>
      <p:sp>
        <p:nvSpPr>
          <p:cNvPr id="3081" name="Rectangle 6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5213" y="2478088"/>
            <a:ext cx="1493837" cy="2762250"/>
          </a:xfrm>
          <a:prstGeom prst="rect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tIns="108000" anchorCtr="1"/>
          <a:lstStyle/>
          <a:p>
            <a:pPr algn="ctr" eaLnBrk="0" hangingPunct="0">
              <a:lnSpc>
                <a:spcPct val="85000"/>
              </a:lnSpc>
              <a:spcBef>
                <a:spcPct val="25000"/>
              </a:spcBef>
            </a:pPr>
            <a:endParaRPr lang="en-US" sz="1400" b="1">
              <a:solidFill>
                <a:srgbClr val="FFFFFF"/>
              </a:solidFill>
            </a:endParaRPr>
          </a:p>
        </p:txBody>
      </p:sp>
      <p:sp>
        <p:nvSpPr>
          <p:cNvPr id="3082" name="Rectangle 6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841750" y="2478088"/>
            <a:ext cx="1493838" cy="2762250"/>
          </a:xfrm>
          <a:prstGeom prst="rect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tIns="108000" anchorCtr="1"/>
          <a:lstStyle/>
          <a:p>
            <a:pPr algn="ctr" eaLnBrk="0" hangingPunct="0">
              <a:lnSpc>
                <a:spcPct val="85000"/>
              </a:lnSpc>
              <a:spcBef>
                <a:spcPct val="25000"/>
              </a:spcBef>
            </a:pPr>
            <a:endParaRPr lang="en-GB" sz="1400" b="1">
              <a:solidFill>
                <a:schemeClr val="bg1"/>
              </a:solidFill>
            </a:endParaRPr>
          </a:p>
        </p:txBody>
      </p:sp>
      <p:sp>
        <p:nvSpPr>
          <p:cNvPr id="3083" name="Rectangle 6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346700" y="2478088"/>
            <a:ext cx="1493838" cy="2762250"/>
          </a:xfrm>
          <a:prstGeom prst="rect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tIns="108000" anchorCtr="1"/>
          <a:lstStyle/>
          <a:p>
            <a:pPr algn="ctr" eaLnBrk="0" hangingPunct="0">
              <a:lnSpc>
                <a:spcPct val="85000"/>
              </a:lnSpc>
              <a:spcBef>
                <a:spcPct val="25000"/>
              </a:spcBef>
            </a:pPr>
            <a:endParaRPr lang="en-US" sz="1400" b="1">
              <a:solidFill>
                <a:srgbClr val="FFFFFF"/>
              </a:solidFill>
            </a:endParaRPr>
          </a:p>
        </p:txBody>
      </p:sp>
      <p:sp>
        <p:nvSpPr>
          <p:cNvPr id="3084" name="Rectangle 6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851650" y="2478088"/>
            <a:ext cx="1495425" cy="2762250"/>
          </a:xfrm>
          <a:prstGeom prst="rect">
            <a:avLst/>
          </a:prstGeom>
          <a:noFill/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tIns="108000" anchorCtr="1"/>
          <a:lstStyle/>
          <a:p>
            <a:pPr algn="ctr" eaLnBrk="0" hangingPunct="0">
              <a:lnSpc>
                <a:spcPct val="85000"/>
              </a:lnSpc>
              <a:spcBef>
                <a:spcPct val="25000"/>
              </a:spcBef>
            </a:pPr>
            <a:endParaRPr lang="en-GB" sz="1400" b="1">
              <a:solidFill>
                <a:schemeClr val="bg1"/>
              </a:solidFill>
            </a:endParaRPr>
          </a:p>
        </p:txBody>
      </p:sp>
      <p:sp>
        <p:nvSpPr>
          <p:cNvPr id="3085" name="Rectangle 6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30263" y="1233377"/>
            <a:ext cx="1493837" cy="1244711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tIns="108000" anchorCtr="1"/>
          <a:lstStyle/>
          <a:p>
            <a:pPr algn="ctr" eaLnBrk="0" hangingPunct="0">
              <a:lnSpc>
                <a:spcPct val="85000"/>
              </a:lnSpc>
              <a:spcBef>
                <a:spcPct val="25000"/>
              </a:spcBef>
            </a:pPr>
            <a:endParaRPr lang="sk-SK" sz="1400" b="1" dirty="0" smtClean="0">
              <a:solidFill>
                <a:schemeClr val="bg1"/>
              </a:solidFill>
            </a:endParaRPr>
          </a:p>
          <a:p>
            <a:pPr algn="ctr" eaLnBrk="0" hangingPunct="0">
              <a:lnSpc>
                <a:spcPct val="85000"/>
              </a:lnSpc>
              <a:spcBef>
                <a:spcPct val="25000"/>
              </a:spcBef>
            </a:pPr>
            <a:r>
              <a:rPr lang="sk-SK" sz="1400" b="1" dirty="0" smtClean="0">
                <a:solidFill>
                  <a:schemeClr val="bg1"/>
                </a:solidFill>
              </a:rPr>
              <a:t>Verejná správa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3086" name="Rectangle 6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335213" y="1244009"/>
            <a:ext cx="1493837" cy="1234079"/>
          </a:xfrm>
          <a:prstGeom prst="rect">
            <a:avLst/>
          </a:prstGeom>
          <a:solidFill>
            <a:srgbClr val="850057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tIns="108000" anchorCtr="1"/>
          <a:lstStyle/>
          <a:p>
            <a:pPr algn="ctr" eaLnBrk="0" hangingPunct="0">
              <a:lnSpc>
                <a:spcPct val="85000"/>
              </a:lnSpc>
              <a:spcBef>
                <a:spcPct val="25000"/>
              </a:spcBef>
            </a:pPr>
            <a:endParaRPr lang="sk-SK" sz="1400" b="1" dirty="0" smtClean="0">
              <a:solidFill>
                <a:srgbClr val="FFFFFF"/>
              </a:solidFill>
            </a:endParaRPr>
          </a:p>
          <a:p>
            <a:pPr algn="ctr" eaLnBrk="0" hangingPunct="0">
              <a:lnSpc>
                <a:spcPct val="85000"/>
              </a:lnSpc>
              <a:spcBef>
                <a:spcPct val="25000"/>
              </a:spcBef>
            </a:pPr>
            <a:r>
              <a:rPr lang="sk-SK" sz="1400" b="1" dirty="0" smtClean="0">
                <a:solidFill>
                  <a:srgbClr val="FFFFFF"/>
                </a:solidFill>
              </a:rPr>
              <a:t>Bankovníctvo </a:t>
            </a:r>
          </a:p>
          <a:p>
            <a:pPr algn="ctr" eaLnBrk="0" hangingPunct="0">
              <a:lnSpc>
                <a:spcPct val="85000"/>
              </a:lnSpc>
              <a:spcBef>
                <a:spcPct val="25000"/>
              </a:spcBef>
            </a:pPr>
            <a:r>
              <a:rPr lang="sk-SK" sz="1400" b="1" dirty="0" smtClean="0">
                <a:solidFill>
                  <a:srgbClr val="FFFFFF"/>
                </a:solidFill>
              </a:rPr>
              <a:t>a finančný sektor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3087" name="Rectangle 6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841750" y="1254643"/>
            <a:ext cx="1493838" cy="1223446"/>
          </a:xfrm>
          <a:prstGeom prst="rect">
            <a:avLst/>
          </a:prstGeom>
          <a:solidFill>
            <a:srgbClr val="FFC000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tIns="108000" anchorCtr="1"/>
          <a:lstStyle/>
          <a:p>
            <a:pPr algn="ctr" eaLnBrk="0" hangingPunct="0">
              <a:lnSpc>
                <a:spcPct val="85000"/>
              </a:lnSpc>
              <a:spcBef>
                <a:spcPct val="25000"/>
              </a:spcBef>
            </a:pPr>
            <a:endParaRPr lang="sk-SK" sz="1400" b="1" dirty="0" smtClean="0">
              <a:solidFill>
                <a:schemeClr val="bg1"/>
              </a:solidFill>
            </a:endParaRPr>
          </a:p>
          <a:p>
            <a:pPr algn="ctr" eaLnBrk="0" hangingPunct="0">
              <a:lnSpc>
                <a:spcPct val="85000"/>
              </a:lnSpc>
              <a:spcBef>
                <a:spcPct val="25000"/>
              </a:spcBef>
            </a:pPr>
            <a:r>
              <a:rPr lang="sk-SK" sz="1400" b="1" dirty="0" smtClean="0">
                <a:solidFill>
                  <a:schemeClr val="bg1"/>
                </a:solidFill>
              </a:rPr>
              <a:t>Výrobný premysel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3088" name="Rectangle 6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346700" y="1254642"/>
            <a:ext cx="1493838" cy="1223446"/>
          </a:xfrm>
          <a:prstGeom prst="rect">
            <a:avLst/>
          </a:prstGeom>
          <a:solidFill>
            <a:srgbClr val="557630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tIns="108000" anchorCtr="1"/>
          <a:lstStyle/>
          <a:p>
            <a:pPr algn="ctr" eaLnBrk="0" hangingPunct="0">
              <a:lnSpc>
                <a:spcPct val="85000"/>
              </a:lnSpc>
              <a:spcBef>
                <a:spcPct val="25000"/>
              </a:spcBef>
            </a:pPr>
            <a:endParaRPr lang="sk-SK" sz="1400" b="1" dirty="0" smtClean="0">
              <a:solidFill>
                <a:srgbClr val="FFFFFF"/>
              </a:solidFill>
            </a:endParaRPr>
          </a:p>
          <a:p>
            <a:pPr algn="ctr" eaLnBrk="0" hangingPunct="0">
              <a:lnSpc>
                <a:spcPct val="85000"/>
              </a:lnSpc>
              <a:spcBef>
                <a:spcPct val="25000"/>
              </a:spcBef>
            </a:pPr>
            <a:r>
              <a:rPr lang="sk-SK" sz="1400" b="1" dirty="0" smtClean="0">
                <a:solidFill>
                  <a:srgbClr val="FFFFFF"/>
                </a:solidFill>
              </a:rPr>
              <a:t>Zdravotníctvo a sektor sociálnych služieb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3089" name="Rectangle 6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851650" y="1254642"/>
            <a:ext cx="1495425" cy="1223446"/>
          </a:xfrm>
          <a:prstGeom prst="rect">
            <a:avLst/>
          </a:prstGeom>
          <a:solidFill>
            <a:srgbClr val="B6BF00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tIns="108000" anchorCtr="1"/>
          <a:lstStyle/>
          <a:p>
            <a:pPr algn="ctr" eaLnBrk="0" hangingPunct="0">
              <a:lnSpc>
                <a:spcPct val="85000"/>
              </a:lnSpc>
              <a:spcBef>
                <a:spcPct val="25000"/>
              </a:spcBef>
            </a:pPr>
            <a:endParaRPr lang="sk-SK" sz="1400" b="1" dirty="0" smtClean="0">
              <a:solidFill>
                <a:schemeClr val="bg1"/>
              </a:solidFill>
            </a:endParaRPr>
          </a:p>
          <a:p>
            <a:pPr algn="ctr" eaLnBrk="0" hangingPunct="0">
              <a:lnSpc>
                <a:spcPct val="85000"/>
              </a:lnSpc>
              <a:spcBef>
                <a:spcPct val="25000"/>
              </a:spcBef>
            </a:pPr>
            <a:r>
              <a:rPr lang="en-GB" sz="1400" b="1" dirty="0" err="1" smtClean="0">
                <a:solidFill>
                  <a:schemeClr val="bg1"/>
                </a:solidFill>
              </a:rPr>
              <a:t>Techn</a:t>
            </a:r>
            <a:r>
              <a:rPr lang="sk-SK" sz="1400" b="1" dirty="0" smtClean="0">
                <a:solidFill>
                  <a:schemeClr val="bg1"/>
                </a:solidFill>
              </a:rPr>
              <a:t>ológie,</a:t>
            </a:r>
            <a:r>
              <a:rPr lang="en-GB" sz="1400" b="1" dirty="0" smtClean="0">
                <a:solidFill>
                  <a:schemeClr val="bg1"/>
                </a:solidFill>
              </a:rPr>
              <a:t> </a:t>
            </a:r>
            <a:r>
              <a:rPr lang="sk-SK" sz="1400" b="1" dirty="0" smtClean="0">
                <a:solidFill>
                  <a:schemeClr val="bg1"/>
                </a:solidFill>
              </a:rPr>
              <a:t>spotrebný priemysel</a:t>
            </a:r>
            <a:r>
              <a:rPr lang="en-GB" sz="1400" b="1" dirty="0" smtClean="0">
                <a:solidFill>
                  <a:schemeClr val="bg1"/>
                </a:solidFill>
              </a:rPr>
              <a:t> </a:t>
            </a:r>
            <a:r>
              <a:rPr lang="sk-SK" sz="1400" b="1" dirty="0" smtClean="0">
                <a:solidFill>
                  <a:schemeClr val="bg1"/>
                </a:solidFill>
              </a:rPr>
              <a:t>        a</a:t>
            </a:r>
            <a:r>
              <a:rPr lang="en-GB" sz="1400" b="1" dirty="0" smtClean="0">
                <a:solidFill>
                  <a:schemeClr val="bg1"/>
                </a:solidFill>
              </a:rPr>
              <a:t> </a:t>
            </a:r>
            <a:r>
              <a:rPr lang="sk-SK" sz="1400" b="1" dirty="0" smtClean="0">
                <a:solidFill>
                  <a:schemeClr val="bg1"/>
                </a:solidFill>
              </a:rPr>
              <a:t>utility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3090" name="Rectangle 2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>
          <a:xfrm>
            <a:off x="344488" y="457200"/>
            <a:ext cx="8531225" cy="785813"/>
          </a:xfrm>
        </p:spPr>
        <p:txBody>
          <a:bodyPr/>
          <a:lstStyle/>
          <a:p>
            <a:r>
              <a:rPr lang="sk-SK" dirty="0" smtClean="0"/>
              <a:t>V regióne</a:t>
            </a:r>
            <a:r>
              <a:rPr lang="en-GB" dirty="0" smtClean="0"/>
              <a:t> Austria a Eastern Europe, </a:t>
            </a:r>
            <a:r>
              <a:rPr lang="sk-SK" dirty="0" smtClean="0"/>
              <a:t>je </a:t>
            </a:r>
            <a:r>
              <a:rPr lang="en-GB" dirty="0" smtClean="0"/>
              <a:t>CSC </a:t>
            </a:r>
            <a:r>
              <a:rPr lang="sk-SK" dirty="0" smtClean="0"/>
              <a:t>organizovaná </a:t>
            </a:r>
            <a:r>
              <a:rPr lang="en-GB" dirty="0" err="1" smtClean="0"/>
              <a:t>verti</a:t>
            </a:r>
            <a:r>
              <a:rPr lang="sk-SK" dirty="0" smtClean="0"/>
              <a:t>kálne, podľa</a:t>
            </a:r>
            <a:r>
              <a:rPr lang="en-GB" dirty="0" smtClean="0"/>
              <a:t> </a:t>
            </a:r>
            <a:r>
              <a:rPr lang="sk-SK" dirty="0" smtClean="0"/>
              <a:t>oblastí a riešení</a:t>
            </a:r>
            <a:endParaRPr lang="en-GB" dirty="0" smtClean="0"/>
          </a:p>
        </p:txBody>
      </p:sp>
      <p:sp>
        <p:nvSpPr>
          <p:cNvPr id="3091" name="Rectangle 6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7875588" y="5246688"/>
            <a:ext cx="908050" cy="234950"/>
          </a:xfrm>
          <a:prstGeom prst="rect">
            <a:avLst/>
          </a:prstGeom>
          <a:solidFill>
            <a:srgbClr val="777777"/>
          </a:solidFill>
          <a:ln w="19050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eaLnBrk="0" hangingPunct="0"/>
            <a:endParaRPr lang="de-DE"/>
          </a:p>
        </p:txBody>
      </p:sp>
      <p:sp>
        <p:nvSpPr>
          <p:cNvPr id="3092" name="Rectangle 7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98463" y="5246688"/>
            <a:ext cx="906462" cy="234950"/>
          </a:xfrm>
          <a:prstGeom prst="rect">
            <a:avLst/>
          </a:prstGeom>
          <a:solidFill>
            <a:srgbClr val="777777"/>
          </a:solidFill>
          <a:ln w="19050">
            <a:noFill/>
            <a:miter lim="800000"/>
            <a:headEnd/>
            <a:tailEnd/>
          </a:ln>
        </p:spPr>
        <p:txBody>
          <a:bodyPr lIns="27432" tIns="27432" rIns="27432" bIns="27432" anchor="ctr"/>
          <a:lstStyle/>
          <a:p>
            <a:pPr algn="ctr" eaLnBrk="0" hangingPunct="0"/>
            <a:endParaRPr lang="de-DE"/>
          </a:p>
        </p:txBody>
      </p:sp>
      <p:sp>
        <p:nvSpPr>
          <p:cNvPr id="3093" name="Oval 8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98463" y="4818063"/>
            <a:ext cx="8385175" cy="1360487"/>
          </a:xfrm>
          <a:prstGeom prst="ellipse">
            <a:avLst/>
          </a:prstGeom>
          <a:gradFill rotWithShape="1">
            <a:gsLst>
              <a:gs pos="0">
                <a:srgbClr val="777777"/>
              </a:gs>
              <a:gs pos="50000">
                <a:srgbClr val="989898"/>
              </a:gs>
              <a:gs pos="100000">
                <a:srgbClr val="777777"/>
              </a:gs>
            </a:gsLst>
            <a:lin ang="0" scaled="1"/>
          </a:gradFill>
          <a:ln w="19050">
            <a:noFill/>
            <a:round/>
            <a:headEnd/>
            <a:tailEnd/>
          </a:ln>
        </p:spPr>
        <p:txBody>
          <a:bodyPr lIns="27432" tIns="27432" rIns="27432" bIns="27432" anchor="ctr"/>
          <a:lstStyle/>
          <a:p>
            <a:pPr algn="ctr" eaLnBrk="0" hangingPunct="0"/>
            <a:endParaRPr lang="de-DE"/>
          </a:p>
        </p:txBody>
      </p:sp>
      <p:sp>
        <p:nvSpPr>
          <p:cNvPr id="3094" name="Oval 9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90525" y="4524375"/>
            <a:ext cx="8385175" cy="1360488"/>
          </a:xfrm>
          <a:prstGeom prst="ellipse">
            <a:avLst/>
          </a:pr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lIns="27432" tIns="27432" rIns="27432" bIns="27432" anchor="ctr"/>
          <a:lstStyle/>
          <a:p>
            <a:pPr algn="ctr" eaLnBrk="0" hangingPunct="0"/>
            <a:endParaRPr lang="de-DE"/>
          </a:p>
        </p:txBody>
      </p:sp>
      <p:pic>
        <p:nvPicPr>
          <p:cNvPr id="3095" name="Picture 10" descr="World Map in Oval 1"/>
          <p:cNvPicPr>
            <a:picLocks noChangeArrowheads="1"/>
          </p:cNvPicPr>
          <p:nvPr>
            <p:custDataLst>
              <p:tags r:id="rId22"/>
            </p:custDataLst>
          </p:nvPr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368300" y="4557713"/>
            <a:ext cx="8443913" cy="132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96" name="WordArt 11"/>
          <p:cNvSpPr>
            <a:spLocks noChangeArrowheads="1" noChangeShapeType="1" noTextEdit="1"/>
          </p:cNvSpPr>
          <p:nvPr>
            <p:custDataLst>
              <p:tags r:id="rId23"/>
            </p:custDataLst>
          </p:nvPr>
        </p:nvSpPr>
        <p:spPr bwMode="auto">
          <a:xfrm>
            <a:off x="414338" y="5240338"/>
            <a:ext cx="8351837" cy="831850"/>
          </a:xfrm>
          <a:prstGeom prst="rect">
            <a:avLst/>
          </a:prstGeom>
        </p:spPr>
        <p:txBody>
          <a:bodyPr spcFirstLastPara="1" wrap="none" fromWordArt="1">
            <a:prstTxWarp prst="textArchDown">
              <a:avLst>
                <a:gd name="adj" fmla="val 1065536"/>
              </a:avLst>
            </a:prstTxWarp>
          </a:bodyPr>
          <a:lstStyle/>
          <a:p>
            <a:pPr algn="ctr"/>
            <a:r>
              <a:rPr lang="en-US" sz="3600" kern="10" dirty="0">
                <a:ln w="9525">
                  <a:noFill/>
                  <a:round/>
                  <a:headEnd/>
                  <a:tailEnd/>
                </a:ln>
                <a:solidFill>
                  <a:schemeClr val="bg1"/>
                </a:solidFill>
                <a:latin typeface="Arial"/>
                <a:cs typeface="Arial"/>
              </a:rPr>
              <a:t>WORLD SOURCING</a:t>
            </a:r>
          </a:p>
        </p:txBody>
      </p:sp>
      <p:sp>
        <p:nvSpPr>
          <p:cNvPr id="3097" name="WordArt 12"/>
          <p:cNvSpPr>
            <a:spLocks noChangeArrowheads="1" noChangeShapeType="1" noTextEdit="1"/>
          </p:cNvSpPr>
          <p:nvPr>
            <p:custDataLst>
              <p:tags r:id="rId24"/>
            </p:custDataLst>
          </p:nvPr>
        </p:nvSpPr>
        <p:spPr bwMode="auto">
          <a:xfrm>
            <a:off x="287338" y="4127500"/>
            <a:ext cx="8588375" cy="1422400"/>
          </a:xfrm>
          <a:prstGeom prst="rect">
            <a:avLst/>
          </a:prstGeom>
        </p:spPr>
        <p:txBody>
          <a:bodyPr spcFirstLastPara="1" wrap="none" fromWordArt="1">
            <a:prstTxWarp prst="textArchDown">
              <a:avLst>
                <a:gd name="adj" fmla="val 1906093"/>
              </a:avLst>
            </a:prstTxWarp>
          </a:bodyPr>
          <a:lstStyle/>
          <a:p>
            <a:pPr algn="ctr"/>
            <a:r>
              <a:rPr lang="en-US" sz="4000" b="1" kern="10" dirty="0">
                <a:ln w="9525">
                  <a:noFill/>
                  <a:round/>
                  <a:headEnd/>
                  <a:tailEnd/>
                </a:ln>
                <a:solidFill>
                  <a:srgbClr val="BB650E"/>
                </a:solidFill>
                <a:latin typeface="Arial"/>
                <a:cs typeface="Arial"/>
              </a:rPr>
              <a:t>MSS/ OUTSOURCING</a:t>
            </a:r>
          </a:p>
        </p:txBody>
      </p:sp>
      <p:sp>
        <p:nvSpPr>
          <p:cNvPr id="3098" name="WordArt 17"/>
          <p:cNvSpPr>
            <a:spLocks noChangeArrowheads="1" noChangeShapeType="1" noTextEdit="1"/>
          </p:cNvSpPr>
          <p:nvPr>
            <p:custDataLst>
              <p:tags r:id="rId25"/>
            </p:custDataLst>
          </p:nvPr>
        </p:nvSpPr>
        <p:spPr bwMode="auto">
          <a:xfrm>
            <a:off x="385763" y="4183063"/>
            <a:ext cx="8351837" cy="1076325"/>
          </a:xfrm>
          <a:prstGeom prst="rect">
            <a:avLst/>
          </a:prstGeom>
        </p:spPr>
        <p:txBody>
          <a:bodyPr spcFirstLastPara="1" wrap="none" fromWordArt="1">
            <a:prstTxWarp prst="textArchDown">
              <a:avLst>
                <a:gd name="adj" fmla="val 1307826"/>
              </a:avLst>
            </a:prstTxWarp>
          </a:bodyPr>
          <a:lstStyle/>
          <a:p>
            <a:pPr algn="ctr"/>
            <a:r>
              <a:rPr lang="en-US" sz="3600" kern="10" dirty="0">
                <a:ln w="9525">
                  <a:noFill/>
                  <a:round/>
                  <a:headEnd/>
                  <a:tailEnd/>
                </a:ln>
                <a:latin typeface="Arial"/>
                <a:cs typeface="Arial"/>
              </a:rPr>
              <a:t>GBS/ BUSINESS SOLUTIONS</a:t>
            </a:r>
          </a:p>
        </p:txBody>
      </p:sp>
      <p:sp>
        <p:nvSpPr>
          <p:cNvPr id="35" name="Arc 25"/>
          <p:cNvSpPr/>
          <p:nvPr>
            <p:custDataLst>
              <p:tags r:id="rId26"/>
            </p:custDataLst>
          </p:nvPr>
        </p:nvSpPr>
        <p:spPr bwMode="auto">
          <a:xfrm>
            <a:off x="393700" y="4152900"/>
            <a:ext cx="8366125" cy="1382713"/>
          </a:xfrm>
          <a:prstGeom prst="arc">
            <a:avLst>
              <a:gd name="adj1" fmla="val 21332021"/>
              <a:gd name="adj2" fmla="val 1897407"/>
            </a:avLst>
          </a:prstGeom>
          <a:noFill/>
          <a:ln w="38100" cap="flat" cmpd="sng" algn="ctr">
            <a:solidFill>
              <a:srgbClr val="BB650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0" hangingPunct="0">
              <a:defRPr/>
            </a:pPr>
            <a:endParaRPr lang="de-DE"/>
          </a:p>
        </p:txBody>
      </p:sp>
      <p:sp>
        <p:nvSpPr>
          <p:cNvPr id="36" name="Arc 42"/>
          <p:cNvSpPr/>
          <p:nvPr>
            <p:custDataLst>
              <p:tags r:id="rId27"/>
            </p:custDataLst>
          </p:nvPr>
        </p:nvSpPr>
        <p:spPr bwMode="auto">
          <a:xfrm flipH="1">
            <a:off x="368300" y="4152900"/>
            <a:ext cx="8366125" cy="1382713"/>
          </a:xfrm>
          <a:prstGeom prst="arc">
            <a:avLst>
              <a:gd name="adj1" fmla="val 21303626"/>
              <a:gd name="adj2" fmla="val 1873185"/>
            </a:avLst>
          </a:prstGeom>
          <a:noFill/>
          <a:ln w="38100" cap="flat" cmpd="sng" algn="ctr">
            <a:solidFill>
              <a:srgbClr val="BB650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0" hangingPunct="0">
              <a:defRPr/>
            </a:pPr>
            <a:endParaRPr lang="de-DE"/>
          </a:p>
        </p:txBody>
      </p:sp>
      <p:sp>
        <p:nvSpPr>
          <p:cNvPr id="44" name="Arc 24"/>
          <p:cNvSpPr/>
          <p:nvPr>
            <p:custDataLst>
              <p:tags r:id="rId28"/>
            </p:custDataLst>
          </p:nvPr>
        </p:nvSpPr>
        <p:spPr bwMode="auto">
          <a:xfrm>
            <a:off x="381000" y="3897313"/>
            <a:ext cx="8366125" cy="1382712"/>
          </a:xfrm>
          <a:prstGeom prst="arc">
            <a:avLst>
              <a:gd name="adj1" fmla="val 21332112"/>
              <a:gd name="adj2" fmla="val 1637124"/>
            </a:avLst>
          </a:prstGeom>
          <a:noFill/>
          <a:ln w="190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0" hangingPunct="0">
              <a:defRPr/>
            </a:pPr>
            <a:endParaRPr lang="de-DE"/>
          </a:p>
        </p:txBody>
      </p:sp>
      <p:sp>
        <p:nvSpPr>
          <p:cNvPr id="45" name="Arc 41"/>
          <p:cNvSpPr/>
          <p:nvPr>
            <p:custDataLst>
              <p:tags r:id="rId29"/>
            </p:custDataLst>
          </p:nvPr>
        </p:nvSpPr>
        <p:spPr bwMode="auto">
          <a:xfrm flipH="1">
            <a:off x="368300" y="3897313"/>
            <a:ext cx="8366125" cy="1382712"/>
          </a:xfrm>
          <a:prstGeom prst="arc">
            <a:avLst>
              <a:gd name="adj1" fmla="val 21303459"/>
              <a:gd name="adj2" fmla="val 1637124"/>
            </a:avLst>
          </a:prstGeom>
          <a:noFill/>
          <a:ln w="190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0" hangingPunct="0">
              <a:defRPr/>
            </a:pPr>
            <a:endParaRPr lang="de-DE"/>
          </a:p>
        </p:txBody>
      </p:sp>
      <p:cxnSp>
        <p:nvCxnSpPr>
          <p:cNvPr id="3103" name="Straight Connector 119"/>
          <p:cNvCxnSpPr>
            <a:cxnSpLocks noChangeShapeType="1"/>
          </p:cNvCxnSpPr>
          <p:nvPr>
            <p:custDataLst>
              <p:tags r:id="rId30"/>
            </p:custDataLst>
          </p:nvPr>
        </p:nvCxnSpPr>
        <p:spPr bwMode="auto">
          <a:xfrm>
            <a:off x="333375" y="312738"/>
            <a:ext cx="8442325" cy="1587"/>
          </a:xfrm>
          <a:prstGeom prst="line">
            <a:avLst/>
          </a:prstGeom>
          <a:noFill/>
          <a:ln w="9525" algn="ctr">
            <a:solidFill>
              <a:srgbClr val="777777"/>
            </a:solidFill>
            <a:round/>
            <a:headEnd/>
            <a:tailEnd/>
          </a:ln>
        </p:spPr>
      </p:cxn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name="think-cell Slide" r:id="rId12" imgW="360" imgH="360" progId="">
              <p:embed/>
            </p:oleObj>
          </a:graphicData>
        </a:graphic>
      </p:graphicFrame>
      <p:sp>
        <p:nvSpPr>
          <p:cNvPr id="32" name="Rectangle 3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algn="ctr" eaLnBrk="0" hangingPunct="0">
              <a:defRPr/>
            </a:pPr>
            <a:endParaRPr lang="en-US" sz="1400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052" name="Title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223838" y="422275"/>
            <a:ext cx="8455025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44563" eaLnBrk="0" hangingPunct="0">
              <a:lnSpc>
                <a:spcPct val="90000"/>
              </a:lnSpc>
              <a:spcBef>
                <a:spcPct val="40000"/>
              </a:spcBef>
            </a:pPr>
            <a:r>
              <a:rPr lang="en-GB" sz="2200" b="1" dirty="0" smtClean="0">
                <a:solidFill>
                  <a:srgbClr val="777777"/>
                </a:solidFill>
              </a:rPr>
              <a:t>CSC Austria </a:t>
            </a:r>
            <a:r>
              <a:rPr lang="sk-SK" sz="2200" b="1" dirty="0" smtClean="0">
                <a:solidFill>
                  <a:srgbClr val="777777"/>
                </a:solidFill>
              </a:rPr>
              <a:t>a</a:t>
            </a:r>
            <a:r>
              <a:rPr lang="en-GB" sz="2200" b="1" dirty="0" smtClean="0">
                <a:solidFill>
                  <a:srgbClr val="777777"/>
                </a:solidFill>
              </a:rPr>
              <a:t> Eastern Europe – </a:t>
            </a:r>
            <a:r>
              <a:rPr lang="sk-SK" sz="2200" b="1" dirty="0" smtClean="0">
                <a:solidFill>
                  <a:srgbClr val="777777"/>
                </a:solidFill>
              </a:rPr>
              <a:t>fakty</a:t>
            </a:r>
            <a:r>
              <a:rPr lang="en-GB" sz="2200" b="1" dirty="0" smtClean="0">
                <a:solidFill>
                  <a:srgbClr val="777777"/>
                </a:solidFill>
              </a:rPr>
              <a:t> </a:t>
            </a:r>
            <a:r>
              <a:rPr lang="sk-SK" sz="2200" b="1" dirty="0" smtClean="0">
                <a:solidFill>
                  <a:srgbClr val="777777"/>
                </a:solidFill>
              </a:rPr>
              <a:t>a</a:t>
            </a:r>
            <a:r>
              <a:rPr lang="en-GB" sz="2200" b="1" dirty="0" smtClean="0">
                <a:solidFill>
                  <a:srgbClr val="777777"/>
                </a:solidFill>
              </a:rPr>
              <a:t> </a:t>
            </a:r>
            <a:r>
              <a:rPr lang="sk-SK" sz="2200" b="1" dirty="0" smtClean="0">
                <a:solidFill>
                  <a:srgbClr val="777777"/>
                </a:solidFill>
              </a:rPr>
              <a:t>čísla                                 </a:t>
            </a:r>
            <a:r>
              <a:rPr lang="sk-SK" sz="2200" dirty="0" smtClean="0">
                <a:solidFill>
                  <a:srgbClr val="777777"/>
                </a:solidFill>
              </a:rPr>
              <a:t>Prehľad </a:t>
            </a:r>
            <a:r>
              <a:rPr lang="sk-SK" sz="2200" dirty="0" smtClean="0">
                <a:solidFill>
                  <a:srgbClr val="777777"/>
                </a:solidFill>
              </a:rPr>
              <a:t>podľa generovaných príjmov</a:t>
            </a:r>
            <a:r>
              <a:rPr lang="en-GB" sz="2000" b="1" dirty="0" smtClean="0">
                <a:solidFill>
                  <a:srgbClr val="777777"/>
                </a:solidFill>
              </a:rPr>
              <a:t/>
            </a:r>
            <a:br>
              <a:rPr lang="en-GB" sz="2000" b="1" dirty="0" smtClean="0">
                <a:solidFill>
                  <a:srgbClr val="777777"/>
                </a:solidFill>
              </a:rPr>
            </a:br>
            <a:endParaRPr lang="en-GB" sz="2000" dirty="0">
              <a:solidFill>
                <a:srgbClr val="777777"/>
              </a:solidFill>
            </a:endParaRPr>
          </a:p>
        </p:txBody>
      </p:sp>
      <p:cxnSp>
        <p:nvCxnSpPr>
          <p:cNvPr id="2053" name="Straight Connector 14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>
            <a:off x="333375" y="312738"/>
            <a:ext cx="8442325" cy="1587"/>
          </a:xfrm>
          <a:prstGeom prst="line">
            <a:avLst/>
          </a:prstGeom>
          <a:noFill/>
          <a:ln w="9525" algn="ctr">
            <a:solidFill>
              <a:srgbClr val="777777"/>
            </a:solidFill>
            <a:round/>
            <a:headEnd/>
            <a:tailEnd/>
          </a:ln>
        </p:spPr>
      </p:cxnSp>
      <p:sp>
        <p:nvSpPr>
          <p:cNvPr id="2055" name="Eine Ecke des Rechtecks schneiden 29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V="1">
            <a:off x="4741863" y="1838325"/>
            <a:ext cx="4141787" cy="3895725"/>
          </a:xfrm>
          <a:custGeom>
            <a:avLst/>
            <a:gdLst>
              <a:gd name="T0" fmla="*/ 4141787 w 4141787"/>
              <a:gd name="T1" fmla="*/ 1947873 h 3895725"/>
              <a:gd name="T2" fmla="*/ 2070904 w 4141787"/>
              <a:gd name="T3" fmla="*/ 3895725 h 3895725"/>
              <a:gd name="T4" fmla="*/ 0 w 4141787"/>
              <a:gd name="T5" fmla="*/ 1947873 h 3895725"/>
              <a:gd name="T6" fmla="*/ 2070904 w 4141787"/>
              <a:gd name="T7" fmla="*/ 0 h 3895725"/>
              <a:gd name="T8" fmla="*/ 0 60000 65536"/>
              <a:gd name="T9" fmla="*/ 0 60000 65536"/>
              <a:gd name="T10" fmla="*/ 0 60000 65536"/>
              <a:gd name="T11" fmla="*/ 0 60000 65536"/>
              <a:gd name="T12" fmla="*/ 0 w 4141787"/>
              <a:gd name="T13" fmla="*/ 325254 h 3895725"/>
              <a:gd name="T14" fmla="*/ 3816533 w 4141787"/>
              <a:gd name="T15" fmla="*/ 3895725 h 389572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141787" h="3895725">
                <a:moveTo>
                  <a:pt x="0" y="0"/>
                </a:moveTo>
                <a:lnTo>
                  <a:pt x="3491279" y="0"/>
                </a:lnTo>
                <a:lnTo>
                  <a:pt x="4141787" y="650508"/>
                </a:lnTo>
                <a:lnTo>
                  <a:pt x="4141787" y="3895725"/>
                </a:lnTo>
                <a:lnTo>
                  <a:pt x="0" y="3895725"/>
                </a:lnTo>
                <a:close/>
              </a:path>
            </a:pathLst>
          </a:custGeom>
          <a:solidFill>
            <a:srgbClr val="D9D9D9"/>
          </a:solidFill>
          <a:ln w="9525">
            <a:noFill/>
            <a:miter lim="800000"/>
            <a:headEnd/>
            <a:tailEnd/>
          </a:ln>
        </p:spPr>
        <p:txBody>
          <a:bodyPr lIns="36000" tIns="72000" rIns="36000" bIns="36000"/>
          <a:lstStyle/>
          <a:p>
            <a:endParaRPr lang="en-US"/>
          </a:p>
        </p:txBody>
      </p:sp>
      <p:sp>
        <p:nvSpPr>
          <p:cNvPr id="2056" name="TextBox 2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745038" y="1492250"/>
            <a:ext cx="4141787" cy="363538"/>
          </a:xfrm>
          <a:prstGeom prst="rect">
            <a:avLst/>
          </a:prstGeom>
          <a:solidFill>
            <a:srgbClr val="636466"/>
          </a:solidFill>
          <a:ln w="0">
            <a:noFill/>
            <a:miter lim="800000"/>
            <a:headEnd/>
            <a:tailEnd/>
          </a:ln>
        </p:spPr>
        <p:txBody>
          <a:bodyPr lIns="72000" tIns="72000" rIns="72000" bIns="72000" anchor="ctr">
            <a:spAutoFit/>
          </a:bodyPr>
          <a:lstStyle/>
          <a:p>
            <a:pPr algn="ctr" defTabSz="1306513" eaLnBrk="0" hangingPunct="0">
              <a:lnSpc>
                <a:spcPct val="90000"/>
              </a:lnSpc>
            </a:pPr>
            <a:r>
              <a:rPr lang="sk-SK" sz="1600" b="1" dirty="0" smtClean="0">
                <a:solidFill>
                  <a:schemeClr val="bg1"/>
                </a:solidFill>
              </a:rPr>
              <a:t>Podľa vertikál</a:t>
            </a:r>
            <a:endParaRPr lang="de-AT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15" name="Chart 14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4321175" y="2057400"/>
          <a:ext cx="510193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6" name="Eine Ecke des Rechtecks schneiden 299"/>
          <p:cNvSpPr/>
          <p:nvPr>
            <p:custDataLst>
              <p:tags r:id="rId8"/>
            </p:custDataLst>
          </p:nvPr>
        </p:nvSpPr>
        <p:spPr bwMode="auto">
          <a:xfrm flipV="1">
            <a:off x="292100" y="1838325"/>
            <a:ext cx="4143375" cy="3895725"/>
          </a:xfrm>
          <a:prstGeom prst="snip1Rect">
            <a:avLst>
              <a:gd name="adj" fmla="val 15231"/>
            </a:avLst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lIns="36000" tIns="72000" rIns="36000" bIns="36000"/>
          <a:lstStyle/>
          <a:p>
            <a:pPr marL="179388" indent="-179388" eaLnBrk="0" hangingPunct="0">
              <a:lnSpc>
                <a:spcPct val="85000"/>
              </a:lnSpc>
              <a:spcBef>
                <a:spcPct val="35000"/>
              </a:spcBef>
              <a:buClr>
                <a:schemeClr val="tx2"/>
              </a:buClr>
              <a:buFontTx/>
              <a:buChar char="•"/>
              <a:defRPr/>
            </a:pPr>
            <a:endParaRPr lang="de-DE" altLang="en-US" sz="1200"/>
          </a:p>
        </p:txBody>
      </p:sp>
      <p:sp>
        <p:nvSpPr>
          <p:cNvPr id="2059" name="TextBox 17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96863" y="1490663"/>
            <a:ext cx="4140200" cy="366712"/>
          </a:xfrm>
          <a:prstGeom prst="rect">
            <a:avLst/>
          </a:prstGeom>
          <a:solidFill>
            <a:srgbClr val="636466"/>
          </a:solidFill>
          <a:ln w="0">
            <a:noFill/>
            <a:miter lim="800000"/>
            <a:headEnd/>
            <a:tailEnd/>
          </a:ln>
        </p:spPr>
        <p:txBody>
          <a:bodyPr lIns="72000" tIns="72000" rIns="72000" bIns="72000" anchor="ctr">
            <a:spAutoFit/>
          </a:bodyPr>
          <a:lstStyle/>
          <a:p>
            <a:pPr algn="ctr" eaLnBrk="0" hangingPunct="0">
              <a:lnSpc>
                <a:spcPct val="90000"/>
              </a:lnSpc>
              <a:spcBef>
                <a:spcPts val="600"/>
              </a:spcBef>
            </a:pPr>
            <a:r>
              <a:rPr lang="sk-SK" sz="1600" b="1" dirty="0" smtClean="0">
                <a:solidFill>
                  <a:schemeClr val="bg1"/>
                </a:solidFill>
              </a:rPr>
              <a:t>Podľa kľúčových oblastí</a:t>
            </a:r>
            <a:endParaRPr lang="de-AT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19" name="Chart 18"/>
          <p:cNvGraphicFramePr>
            <a:graphicFrameLocks/>
          </p:cNvGraphicFramePr>
          <p:nvPr/>
        </p:nvGraphicFramePr>
        <p:xfrm>
          <a:off x="-1013415" y="1488558"/>
          <a:ext cx="6581554" cy="477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Eine Ecke des Rechtecks schneiden 38"/>
          <p:cNvSpPr/>
          <p:nvPr>
            <p:custDataLst>
              <p:tags r:id="rId1"/>
            </p:custDataLst>
          </p:nvPr>
        </p:nvSpPr>
        <p:spPr bwMode="auto">
          <a:xfrm flipV="1">
            <a:off x="628650" y="3667124"/>
            <a:ext cx="8175625" cy="2324100"/>
          </a:xfrm>
          <a:prstGeom prst="snip1Rect">
            <a:avLst>
              <a:gd name="adj" fmla="val 19049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0" hangingPunct="0">
              <a:defRPr/>
            </a:pPr>
            <a:endParaRPr lang="de-DE">
              <a:ea typeface="MS PGothic" pitchFamily="34" charset="-128"/>
              <a:cs typeface="+mn-cs"/>
            </a:endParaRPr>
          </a:p>
        </p:txBody>
      </p:sp>
      <p:cxnSp>
        <p:nvCxnSpPr>
          <p:cNvPr id="38915" name="Straight Connector 119"/>
          <p:cNvCxnSpPr>
            <a:cxnSpLocks noChangeShapeType="1"/>
          </p:cNvCxnSpPr>
          <p:nvPr>
            <p:custDataLst>
              <p:tags r:id="rId2"/>
            </p:custDataLst>
          </p:nvPr>
        </p:nvCxnSpPr>
        <p:spPr bwMode="auto">
          <a:xfrm>
            <a:off x="333375" y="312738"/>
            <a:ext cx="8442325" cy="1587"/>
          </a:xfrm>
          <a:prstGeom prst="line">
            <a:avLst/>
          </a:prstGeom>
          <a:noFill/>
          <a:ln w="9525" algn="ctr">
            <a:solidFill>
              <a:srgbClr val="777777"/>
            </a:solidFill>
            <a:round/>
            <a:headEnd/>
            <a:tailEnd/>
          </a:ln>
        </p:spPr>
      </p:cxnSp>
      <p:sp>
        <p:nvSpPr>
          <p:cNvPr id="38916" name="Rechteck 4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63538" y="3667125"/>
            <a:ext cx="265112" cy="2324100"/>
          </a:xfrm>
          <a:prstGeom prst="rect">
            <a:avLst/>
          </a:prstGeom>
          <a:solidFill>
            <a:srgbClr val="382658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 eaLnBrk="0" hangingPunct="0"/>
            <a:endParaRPr lang="de-DE"/>
          </a:p>
        </p:txBody>
      </p:sp>
      <p:grpSp>
        <p:nvGrpSpPr>
          <p:cNvPr id="38917" name="Group 21"/>
          <p:cNvGrpSpPr>
            <a:grpSpLocks/>
          </p:cNvGrpSpPr>
          <p:nvPr/>
        </p:nvGrpSpPr>
        <p:grpSpPr bwMode="auto">
          <a:xfrm>
            <a:off x="866775" y="4238625"/>
            <a:ext cx="7658100" cy="1417740"/>
            <a:chOff x="597244" y="4414567"/>
            <a:chExt cx="7658783" cy="1333501"/>
          </a:xfrm>
        </p:grpSpPr>
        <p:sp>
          <p:nvSpPr>
            <p:cNvPr id="23" name="Right Arrow 22"/>
            <p:cNvSpPr/>
            <p:nvPr/>
          </p:nvSpPr>
          <p:spPr bwMode="auto">
            <a:xfrm>
              <a:off x="6187727" y="4414567"/>
              <a:ext cx="2068300" cy="1333501"/>
            </a:xfrm>
            <a:prstGeom prst="rightArrow">
              <a:avLst>
                <a:gd name="adj1" fmla="val 70000"/>
                <a:gd name="adj2" fmla="val 50000"/>
              </a:avLst>
            </a:prstGeom>
            <a:gradFill flip="none" rotWithShape="1">
              <a:gsLst>
                <a:gs pos="0">
                  <a:srgbClr val="636466">
                    <a:shade val="30000"/>
                    <a:satMod val="115000"/>
                  </a:srgbClr>
                </a:gs>
                <a:gs pos="50000">
                  <a:srgbClr val="636466">
                    <a:shade val="67500"/>
                    <a:satMod val="115000"/>
                  </a:srgbClr>
                </a:gs>
                <a:gs pos="100000">
                  <a:srgbClr val="636466">
                    <a:shade val="100000"/>
                    <a:satMod val="115000"/>
                  </a:srgbClr>
                </a:gs>
              </a:gsLst>
              <a:lin ang="18900000" scaled="1"/>
              <a:tileRect/>
            </a:gradFill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/>
            <a:lstStyle/>
            <a:p>
              <a:pPr algn="ctr" eaLnBrk="0" hangingPunct="0">
                <a:defRPr/>
              </a:pPr>
              <a:endParaRPr lang="en-US" sz="1200">
                <a:ea typeface="MS PGothic" pitchFamily="34" charset="-128"/>
              </a:endParaRPr>
            </a:p>
          </p:txBody>
        </p:sp>
        <p:sp>
          <p:nvSpPr>
            <p:cNvPr id="24" name="Right Arrow 23"/>
            <p:cNvSpPr/>
            <p:nvPr/>
          </p:nvSpPr>
          <p:spPr bwMode="auto">
            <a:xfrm>
              <a:off x="4731778" y="4414567"/>
              <a:ext cx="2296149" cy="1333501"/>
            </a:xfrm>
            <a:prstGeom prst="rightArrow">
              <a:avLst>
                <a:gd name="adj1" fmla="val 70000"/>
                <a:gd name="adj2" fmla="val 50000"/>
              </a:avLst>
            </a:prstGeom>
            <a:gradFill flip="none" rotWithShape="1">
              <a:gsLst>
                <a:gs pos="0">
                  <a:srgbClr val="636466">
                    <a:shade val="30000"/>
                    <a:satMod val="115000"/>
                  </a:srgbClr>
                </a:gs>
                <a:gs pos="50000">
                  <a:srgbClr val="636466">
                    <a:shade val="67500"/>
                    <a:satMod val="115000"/>
                  </a:srgbClr>
                </a:gs>
                <a:gs pos="100000">
                  <a:srgbClr val="636466">
                    <a:shade val="100000"/>
                    <a:satMod val="115000"/>
                  </a:srgbClr>
                </a:gs>
              </a:gsLst>
              <a:lin ang="18900000" scaled="1"/>
              <a:tileRect/>
            </a:gradFill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/>
            <a:lstStyle/>
            <a:p>
              <a:pPr algn="ctr" eaLnBrk="0" hangingPunct="0">
                <a:defRPr/>
              </a:pPr>
              <a:endParaRPr lang="en-US" sz="1200">
                <a:ea typeface="MS PGothic" pitchFamily="34" charset="-128"/>
              </a:endParaRPr>
            </a:p>
          </p:txBody>
        </p:sp>
        <p:sp>
          <p:nvSpPr>
            <p:cNvPr id="25" name="Right Arrow 24"/>
            <p:cNvSpPr/>
            <p:nvPr/>
          </p:nvSpPr>
          <p:spPr bwMode="auto">
            <a:xfrm>
              <a:off x="3293502" y="4414567"/>
              <a:ext cx="2495550" cy="1333501"/>
            </a:xfrm>
            <a:prstGeom prst="rightArrow">
              <a:avLst>
                <a:gd name="adj1" fmla="val 70000"/>
                <a:gd name="adj2" fmla="val 50000"/>
              </a:avLst>
            </a:prstGeom>
            <a:gradFill flip="none" rotWithShape="1">
              <a:gsLst>
                <a:gs pos="0">
                  <a:srgbClr val="636466">
                    <a:shade val="30000"/>
                    <a:satMod val="115000"/>
                  </a:srgbClr>
                </a:gs>
                <a:gs pos="50000">
                  <a:srgbClr val="636466">
                    <a:shade val="67500"/>
                    <a:satMod val="115000"/>
                  </a:srgbClr>
                </a:gs>
                <a:gs pos="100000">
                  <a:srgbClr val="636466">
                    <a:shade val="100000"/>
                    <a:satMod val="115000"/>
                  </a:srgbClr>
                </a:gs>
              </a:gsLst>
              <a:lin ang="18900000" scaled="1"/>
              <a:tileRect/>
            </a:gradFill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/>
            <a:lstStyle/>
            <a:p>
              <a:pPr algn="ctr" eaLnBrk="0" hangingPunct="0">
                <a:defRPr/>
              </a:pPr>
              <a:endParaRPr lang="en-US" sz="1200">
                <a:ea typeface="MS PGothic" pitchFamily="34" charset="-128"/>
              </a:endParaRPr>
            </a:p>
          </p:txBody>
        </p:sp>
        <p:sp>
          <p:nvSpPr>
            <p:cNvPr id="26" name="Right Arrow 25"/>
            <p:cNvSpPr/>
            <p:nvPr/>
          </p:nvSpPr>
          <p:spPr bwMode="auto">
            <a:xfrm>
              <a:off x="2436253" y="4414567"/>
              <a:ext cx="2124074" cy="1333501"/>
            </a:xfrm>
            <a:prstGeom prst="rightArrow">
              <a:avLst>
                <a:gd name="adj1" fmla="val 70000"/>
                <a:gd name="adj2" fmla="val 50000"/>
              </a:avLst>
            </a:prstGeom>
            <a:gradFill flip="none" rotWithShape="1">
              <a:gsLst>
                <a:gs pos="0">
                  <a:srgbClr val="636466">
                    <a:shade val="30000"/>
                    <a:satMod val="115000"/>
                  </a:srgbClr>
                </a:gs>
                <a:gs pos="50000">
                  <a:srgbClr val="636466">
                    <a:shade val="67500"/>
                    <a:satMod val="115000"/>
                  </a:srgbClr>
                </a:gs>
                <a:gs pos="100000">
                  <a:srgbClr val="636466">
                    <a:shade val="100000"/>
                    <a:satMod val="115000"/>
                  </a:srgbClr>
                </a:gs>
              </a:gsLst>
              <a:lin ang="18900000" scaled="1"/>
              <a:tileRect/>
            </a:gradFill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/>
            <a:lstStyle/>
            <a:p>
              <a:pPr algn="ctr" eaLnBrk="0" hangingPunct="0">
                <a:defRPr/>
              </a:pPr>
              <a:endParaRPr lang="en-US" sz="1200">
                <a:ea typeface="MS PGothic" pitchFamily="34" charset="-128"/>
              </a:endParaRPr>
            </a:p>
          </p:txBody>
        </p:sp>
        <p:sp>
          <p:nvSpPr>
            <p:cNvPr id="27" name="Right Arrow 26"/>
            <p:cNvSpPr/>
            <p:nvPr/>
          </p:nvSpPr>
          <p:spPr bwMode="auto">
            <a:xfrm>
              <a:off x="1426603" y="4414567"/>
              <a:ext cx="1895474" cy="1333501"/>
            </a:xfrm>
            <a:prstGeom prst="rightArrow">
              <a:avLst>
                <a:gd name="adj1" fmla="val 70000"/>
                <a:gd name="adj2" fmla="val 50000"/>
              </a:avLst>
            </a:prstGeom>
            <a:gradFill flip="none" rotWithShape="1">
              <a:gsLst>
                <a:gs pos="0">
                  <a:srgbClr val="636466">
                    <a:shade val="30000"/>
                    <a:satMod val="115000"/>
                  </a:srgbClr>
                </a:gs>
                <a:gs pos="50000">
                  <a:srgbClr val="636466">
                    <a:shade val="67500"/>
                    <a:satMod val="115000"/>
                  </a:srgbClr>
                </a:gs>
                <a:gs pos="100000">
                  <a:srgbClr val="636466">
                    <a:shade val="100000"/>
                    <a:satMod val="115000"/>
                  </a:srgbClr>
                </a:gs>
              </a:gsLst>
              <a:lin ang="18900000" scaled="1"/>
              <a:tileRect/>
            </a:gradFill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/>
            <a:lstStyle/>
            <a:p>
              <a:pPr algn="ctr" eaLnBrk="0" hangingPunct="0">
                <a:defRPr/>
              </a:pPr>
              <a:endParaRPr lang="en-US" sz="1200">
                <a:ea typeface="MS PGothic" pitchFamily="34" charset="-128"/>
              </a:endParaRPr>
            </a:p>
          </p:txBody>
        </p:sp>
        <p:sp>
          <p:nvSpPr>
            <p:cNvPr id="28" name="Right Arrow 27"/>
            <p:cNvSpPr/>
            <p:nvPr/>
          </p:nvSpPr>
          <p:spPr bwMode="auto">
            <a:xfrm>
              <a:off x="597244" y="4414567"/>
              <a:ext cx="1486583" cy="1333501"/>
            </a:xfrm>
            <a:prstGeom prst="rightArrow">
              <a:avLst>
                <a:gd name="adj1" fmla="val 70000"/>
                <a:gd name="adj2" fmla="val 50000"/>
              </a:avLst>
            </a:prstGeom>
            <a:gradFill flip="none" rotWithShape="1">
              <a:gsLst>
                <a:gs pos="0">
                  <a:srgbClr val="636466">
                    <a:shade val="30000"/>
                    <a:satMod val="115000"/>
                  </a:srgbClr>
                </a:gs>
                <a:gs pos="50000">
                  <a:srgbClr val="636466">
                    <a:shade val="67500"/>
                    <a:satMod val="115000"/>
                  </a:srgbClr>
                </a:gs>
                <a:gs pos="100000">
                  <a:srgbClr val="636466">
                    <a:shade val="100000"/>
                    <a:satMod val="115000"/>
                  </a:srgbClr>
                </a:gs>
              </a:gsLst>
              <a:lin ang="18900000" scaled="1"/>
              <a:tileRect/>
            </a:gradFill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/>
            <a:lstStyle/>
            <a:p>
              <a:pPr algn="ctr" eaLnBrk="0" hangingPunct="0">
                <a:defRPr/>
              </a:pPr>
              <a:endParaRPr lang="en-US" sz="1200">
                <a:ea typeface="MS PGothic" pitchFamily="34" charset="-128"/>
              </a:endParaRPr>
            </a:p>
          </p:txBody>
        </p:sp>
        <p:sp>
          <p:nvSpPr>
            <p:cNvPr id="38944" name="TextBox 28"/>
            <p:cNvSpPr txBox="1">
              <a:spLocks noChangeArrowheads="1"/>
            </p:cNvSpPr>
            <p:nvPr/>
          </p:nvSpPr>
          <p:spPr bwMode="auto">
            <a:xfrm>
              <a:off x="871406" y="4873645"/>
              <a:ext cx="1040972" cy="236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en-GB" sz="1100" b="1">
                  <a:solidFill>
                    <a:schemeClr val="bg1"/>
                  </a:solidFill>
                </a:rPr>
                <a:t>Business </a:t>
              </a:r>
            </a:p>
            <a:p>
              <a:pPr eaLnBrk="0" hangingPunct="0"/>
              <a:r>
                <a:rPr lang="en-GB" sz="1100" b="1">
                  <a:solidFill>
                    <a:schemeClr val="bg1"/>
                  </a:solidFill>
                </a:rPr>
                <a:t>Consulting</a:t>
              </a:r>
            </a:p>
          </p:txBody>
        </p:sp>
        <p:sp>
          <p:nvSpPr>
            <p:cNvPr id="38945" name="TextBox 29"/>
            <p:cNvSpPr txBox="1">
              <a:spLocks noChangeArrowheads="1"/>
            </p:cNvSpPr>
            <p:nvPr/>
          </p:nvSpPr>
          <p:spPr bwMode="auto">
            <a:xfrm>
              <a:off x="2083277" y="4871354"/>
              <a:ext cx="1209782" cy="2351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en-GB" sz="1100" b="1">
                  <a:solidFill>
                    <a:schemeClr val="bg1"/>
                  </a:solidFill>
                </a:rPr>
                <a:t>Technology Consulting</a:t>
              </a:r>
            </a:p>
          </p:txBody>
        </p:sp>
        <p:sp>
          <p:nvSpPr>
            <p:cNvPr id="38946" name="TextBox 30"/>
            <p:cNvSpPr txBox="1">
              <a:spLocks noChangeArrowheads="1"/>
            </p:cNvSpPr>
            <p:nvPr/>
          </p:nvSpPr>
          <p:spPr bwMode="auto">
            <a:xfrm>
              <a:off x="3380919" y="4873645"/>
              <a:ext cx="849913" cy="236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en-GB" sz="1100" b="1">
                  <a:solidFill>
                    <a:schemeClr val="bg1"/>
                  </a:solidFill>
                </a:rPr>
                <a:t>Business </a:t>
              </a:r>
            </a:p>
            <a:p>
              <a:pPr eaLnBrk="0" hangingPunct="0"/>
              <a:r>
                <a:rPr lang="en-GB" sz="1100" b="1">
                  <a:solidFill>
                    <a:schemeClr val="bg1"/>
                  </a:solidFill>
                </a:rPr>
                <a:t>Solutions</a:t>
              </a:r>
            </a:p>
          </p:txBody>
        </p:sp>
        <p:sp>
          <p:nvSpPr>
            <p:cNvPr id="38947" name="TextBox 31"/>
            <p:cNvSpPr txBox="1">
              <a:spLocks noChangeArrowheads="1"/>
            </p:cNvSpPr>
            <p:nvPr/>
          </p:nvSpPr>
          <p:spPr bwMode="auto">
            <a:xfrm>
              <a:off x="5854164" y="4873645"/>
              <a:ext cx="1031778" cy="236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en-GB" sz="1100" b="1">
                  <a:solidFill>
                    <a:schemeClr val="bg1"/>
                  </a:solidFill>
                </a:rPr>
                <a:t>System </a:t>
              </a:r>
            </a:p>
            <a:p>
              <a:pPr eaLnBrk="0" hangingPunct="0"/>
              <a:r>
                <a:rPr lang="en-GB" sz="1100" b="1">
                  <a:solidFill>
                    <a:schemeClr val="bg1"/>
                  </a:solidFill>
                </a:rPr>
                <a:t>Integration</a:t>
              </a:r>
            </a:p>
          </p:txBody>
        </p:sp>
        <p:sp>
          <p:nvSpPr>
            <p:cNvPr id="38948" name="TextBox 32"/>
            <p:cNvSpPr txBox="1">
              <a:spLocks noChangeArrowheads="1"/>
            </p:cNvSpPr>
            <p:nvPr/>
          </p:nvSpPr>
          <p:spPr bwMode="auto">
            <a:xfrm>
              <a:off x="4563587" y="4868417"/>
              <a:ext cx="1207040" cy="236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en-GB" sz="1100" b="1">
                  <a:solidFill>
                    <a:schemeClr val="bg1"/>
                  </a:solidFill>
                </a:rPr>
                <a:t>System</a:t>
              </a:r>
            </a:p>
            <a:p>
              <a:pPr eaLnBrk="0" hangingPunct="0"/>
              <a:r>
                <a:rPr lang="en-GB" sz="1100" b="1">
                  <a:solidFill>
                    <a:schemeClr val="bg1"/>
                  </a:solidFill>
                </a:rPr>
                <a:t>Development</a:t>
              </a:r>
            </a:p>
          </p:txBody>
        </p:sp>
        <p:sp>
          <p:nvSpPr>
            <p:cNvPr id="38949" name="TextBox 33"/>
            <p:cNvSpPr txBox="1">
              <a:spLocks noChangeArrowheads="1"/>
            </p:cNvSpPr>
            <p:nvPr/>
          </p:nvSpPr>
          <p:spPr bwMode="auto">
            <a:xfrm>
              <a:off x="7047715" y="4926998"/>
              <a:ext cx="1207040" cy="1435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en-GB" sz="1100" b="1">
                  <a:solidFill>
                    <a:schemeClr val="bg1"/>
                  </a:solidFill>
                </a:rPr>
                <a:t>Outsourcing</a:t>
              </a:r>
            </a:p>
          </p:txBody>
        </p:sp>
      </p:grpSp>
      <p:sp>
        <p:nvSpPr>
          <p:cNvPr id="38918" name="TextBox 35"/>
          <p:cNvSpPr txBox="1">
            <a:spLocks noChangeArrowheads="1"/>
          </p:cNvSpPr>
          <p:nvPr/>
        </p:nvSpPr>
        <p:spPr bwMode="auto">
          <a:xfrm>
            <a:off x="762000" y="3806825"/>
            <a:ext cx="7015163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66688" indent="-166688" defTabSz="944563">
              <a:lnSpc>
                <a:spcPct val="90000"/>
              </a:lnSpc>
              <a:spcBef>
                <a:spcPts val="3000"/>
              </a:spcBef>
              <a:buClr>
                <a:schemeClr val="tx2"/>
              </a:buClr>
              <a:buFontTx/>
              <a:buChar char="•"/>
            </a:pPr>
            <a:r>
              <a:rPr lang="en-US" sz="1600" b="1" dirty="0" err="1" smtClean="0"/>
              <a:t>Komplexn</a:t>
            </a:r>
            <a:r>
              <a:rPr lang="sk-SK" sz="1600" b="1" dirty="0" smtClean="0"/>
              <a:t>é end-to-end </a:t>
            </a:r>
            <a:r>
              <a:rPr lang="sk-SK" sz="1600" b="1" dirty="0" smtClean="0"/>
              <a:t>riešenia</a:t>
            </a:r>
            <a:endParaRPr lang="en-GB" sz="1600" b="1" dirty="0"/>
          </a:p>
        </p:txBody>
      </p:sp>
      <p:sp>
        <p:nvSpPr>
          <p:cNvPr id="38919" name="Title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241300" y="414338"/>
            <a:ext cx="8455025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44563" eaLnBrk="0" hangingPunct="0">
              <a:lnSpc>
                <a:spcPct val="90000"/>
              </a:lnSpc>
              <a:spcBef>
                <a:spcPct val="40000"/>
              </a:spcBef>
            </a:pPr>
            <a:r>
              <a:rPr lang="sk-SK" sz="2200" b="1" dirty="0" smtClean="0">
                <a:solidFill>
                  <a:srgbClr val="777777"/>
                </a:solidFill>
              </a:rPr>
              <a:t>Čím sa </a:t>
            </a:r>
            <a:r>
              <a:rPr lang="en-US" sz="2200" b="1" dirty="0" smtClean="0">
                <a:solidFill>
                  <a:srgbClr val="777777"/>
                </a:solidFill>
              </a:rPr>
              <a:t>CSC </a:t>
            </a:r>
            <a:r>
              <a:rPr lang="sk-SK" sz="2200" b="1" dirty="0" smtClean="0">
                <a:solidFill>
                  <a:srgbClr val="777777"/>
                </a:solidFill>
              </a:rPr>
              <a:t>odlišuje</a:t>
            </a:r>
            <a:r>
              <a:rPr lang="en-US" sz="2200" b="1" dirty="0" smtClean="0">
                <a:solidFill>
                  <a:srgbClr val="777777"/>
                </a:solidFill>
              </a:rPr>
              <a:t>?</a:t>
            </a:r>
            <a:br>
              <a:rPr lang="en-US" sz="2200" b="1" dirty="0" smtClean="0">
                <a:solidFill>
                  <a:srgbClr val="777777"/>
                </a:solidFill>
              </a:rPr>
            </a:br>
            <a:r>
              <a:rPr lang="en-US" sz="2200" dirty="0" smtClean="0">
                <a:solidFill>
                  <a:srgbClr val="777777"/>
                </a:solidFill>
              </a:rPr>
              <a:t>CSC </a:t>
            </a:r>
            <a:r>
              <a:rPr lang="sk-SK" sz="2200" dirty="0" smtClean="0">
                <a:solidFill>
                  <a:srgbClr val="777777"/>
                </a:solidFill>
              </a:rPr>
              <a:t>ponúka komplexné end-to-end riešenia</a:t>
            </a:r>
            <a:r>
              <a:rPr lang="en-US" sz="2200" dirty="0">
                <a:solidFill>
                  <a:srgbClr val="777777"/>
                </a:solidFill>
              </a:rPr>
              <a:t/>
            </a:r>
            <a:br>
              <a:rPr lang="en-US" sz="2200" dirty="0">
                <a:solidFill>
                  <a:srgbClr val="777777"/>
                </a:solidFill>
              </a:rPr>
            </a:br>
            <a:r>
              <a:rPr lang="en-US" sz="2200" b="1" dirty="0">
                <a:solidFill>
                  <a:srgbClr val="777777"/>
                </a:solidFill>
              </a:rPr>
              <a:t/>
            </a:r>
            <a:br>
              <a:rPr lang="en-US" sz="2200" b="1" dirty="0">
                <a:solidFill>
                  <a:srgbClr val="777777"/>
                </a:solidFill>
              </a:rPr>
            </a:br>
            <a:endParaRPr lang="en-US" sz="2200" b="1" dirty="0">
              <a:solidFill>
                <a:srgbClr val="777777"/>
              </a:solidFill>
            </a:endParaRPr>
          </a:p>
        </p:txBody>
      </p:sp>
      <p:sp>
        <p:nvSpPr>
          <p:cNvPr id="29" name="Eine Ecke des Rechtecks schneiden 38"/>
          <p:cNvSpPr/>
          <p:nvPr>
            <p:custDataLst>
              <p:tags r:id="rId5"/>
            </p:custDataLst>
          </p:nvPr>
        </p:nvSpPr>
        <p:spPr bwMode="auto">
          <a:xfrm flipV="1">
            <a:off x="628650" y="1503363"/>
            <a:ext cx="8175625" cy="2011362"/>
          </a:xfrm>
          <a:prstGeom prst="snip1Rect">
            <a:avLst>
              <a:gd name="adj" fmla="val 21643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0" hangingPunct="0">
              <a:defRPr/>
            </a:pPr>
            <a:endParaRPr lang="de-DE">
              <a:ea typeface="MS PGothic" pitchFamily="34" charset="-128"/>
              <a:cs typeface="+mn-cs"/>
            </a:endParaRPr>
          </a:p>
        </p:txBody>
      </p:sp>
      <p:sp>
        <p:nvSpPr>
          <p:cNvPr id="38921" name="Rechteck 4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63538" y="1503363"/>
            <a:ext cx="265112" cy="2011362"/>
          </a:xfrm>
          <a:prstGeom prst="rect">
            <a:avLst/>
          </a:prstGeom>
          <a:solidFill>
            <a:srgbClr val="382658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 eaLnBrk="0" hangingPunct="0"/>
            <a:endParaRPr lang="de-DE"/>
          </a:p>
        </p:txBody>
      </p:sp>
      <p:sp>
        <p:nvSpPr>
          <p:cNvPr id="32" name="Rectangle 31"/>
          <p:cNvSpPr/>
          <p:nvPr/>
        </p:nvSpPr>
        <p:spPr>
          <a:xfrm>
            <a:off x="685800" y="1905233"/>
            <a:ext cx="7719646" cy="12865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6688" indent="-166688" defTabSz="944563">
              <a:lnSpc>
                <a:spcPct val="90000"/>
              </a:lnSpc>
              <a:spcBef>
                <a:spcPct val="40000"/>
              </a:spcBef>
              <a:buClr>
                <a:schemeClr val="tx2"/>
              </a:buClr>
              <a:buFontTx/>
              <a:buChar char="•"/>
              <a:defRPr/>
            </a:pPr>
            <a:r>
              <a:rPr lang="sk-SK" sz="1600" b="1" kern="0" dirty="0" smtClean="0">
                <a:ea typeface="MS PGothic" pitchFamily="34" charset="-128"/>
                <a:cs typeface="+mn-cs"/>
              </a:rPr>
              <a:t>V čom je</a:t>
            </a:r>
            <a:r>
              <a:rPr lang="en-US" sz="1600" b="1" kern="0" dirty="0" smtClean="0">
                <a:ea typeface="MS PGothic" pitchFamily="34" charset="-128"/>
                <a:cs typeface="+mn-cs"/>
              </a:rPr>
              <a:t> </a:t>
            </a:r>
            <a:r>
              <a:rPr lang="en-US" sz="1600" b="1" kern="0" dirty="0">
                <a:ea typeface="MS PGothic" pitchFamily="34" charset="-128"/>
                <a:cs typeface="+mn-cs"/>
              </a:rPr>
              <a:t>CSC </a:t>
            </a:r>
            <a:r>
              <a:rPr lang="sk-SK" sz="1600" b="1" kern="0" dirty="0" smtClean="0">
                <a:ea typeface="MS PGothic" pitchFamily="34" charset="-128"/>
                <a:cs typeface="+mn-cs"/>
              </a:rPr>
              <a:t>jedinečná</a:t>
            </a:r>
            <a:endParaRPr lang="en-US" sz="1600" b="1" kern="0" dirty="0">
              <a:ea typeface="MS PGothic" pitchFamily="34" charset="-128"/>
              <a:cs typeface="+mn-cs"/>
            </a:endParaRPr>
          </a:p>
          <a:p>
            <a:pPr marL="341313" lvl="1" indent="-173038" defTabSz="944563">
              <a:lnSpc>
                <a:spcPct val="90000"/>
              </a:lnSpc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–"/>
              <a:defRPr/>
            </a:pPr>
            <a:r>
              <a:rPr lang="en-US" sz="1600" kern="0" dirty="0" err="1" smtClean="0">
                <a:ea typeface="MS PGothic" pitchFamily="34" charset="-128"/>
                <a:cs typeface="+mn-cs"/>
              </a:rPr>
              <a:t>Technolog</a:t>
            </a:r>
            <a:r>
              <a:rPr lang="sk-SK" sz="1600" kern="0" dirty="0" smtClean="0">
                <a:ea typeface="MS PGothic" pitchFamily="34" charset="-128"/>
                <a:cs typeface="+mn-cs"/>
              </a:rPr>
              <a:t>icky </a:t>
            </a:r>
            <a:r>
              <a:rPr lang="en-US" sz="1600" kern="0" dirty="0" err="1" smtClean="0">
                <a:ea typeface="MS PGothic" pitchFamily="34" charset="-128"/>
                <a:cs typeface="+mn-cs"/>
              </a:rPr>
              <a:t>neutr</a:t>
            </a:r>
            <a:r>
              <a:rPr lang="sk-SK" sz="1600" kern="0" dirty="0" smtClean="0">
                <a:ea typeface="MS PGothic" pitchFamily="34" charset="-128"/>
                <a:cs typeface="+mn-cs"/>
              </a:rPr>
              <a:t>álny</a:t>
            </a:r>
            <a:r>
              <a:rPr lang="en-US" sz="1600" kern="0" dirty="0" smtClean="0">
                <a:ea typeface="MS PGothic" pitchFamily="34" charset="-128"/>
                <a:cs typeface="+mn-cs"/>
              </a:rPr>
              <a:t>, </a:t>
            </a:r>
            <a:r>
              <a:rPr lang="en-US" sz="1600" kern="0" dirty="0" err="1" smtClean="0">
                <a:ea typeface="MS PGothic" pitchFamily="34" charset="-128"/>
                <a:cs typeface="+mn-cs"/>
              </a:rPr>
              <a:t>obje</a:t>
            </a:r>
            <a:r>
              <a:rPr lang="sk-SK" sz="1600" kern="0" dirty="0" smtClean="0">
                <a:ea typeface="MS PGothic" pitchFamily="34" charset="-128"/>
                <a:cs typeface="+mn-cs"/>
              </a:rPr>
              <a:t>k</a:t>
            </a:r>
            <a:r>
              <a:rPr lang="en-US" sz="1600" kern="0" dirty="0" smtClean="0">
                <a:ea typeface="MS PGothic" pitchFamily="34" charset="-128"/>
                <a:cs typeface="+mn-cs"/>
              </a:rPr>
              <a:t>t</a:t>
            </a:r>
            <a:r>
              <a:rPr lang="sk-SK" sz="1600" kern="0" dirty="0" smtClean="0">
                <a:ea typeface="MS PGothic" pitchFamily="34" charset="-128"/>
                <a:cs typeface="+mn-cs"/>
              </a:rPr>
              <a:t>ívny</a:t>
            </a:r>
            <a:r>
              <a:rPr lang="en-US" sz="1600" kern="0" dirty="0" smtClean="0">
                <a:ea typeface="MS PGothic" pitchFamily="34" charset="-128"/>
                <a:cs typeface="+mn-cs"/>
              </a:rPr>
              <a:t>, </a:t>
            </a:r>
            <a:r>
              <a:rPr lang="sk-SK" sz="1600" kern="0" dirty="0" smtClean="0">
                <a:ea typeface="MS PGothic" pitchFamily="34" charset="-128"/>
                <a:cs typeface="+mn-cs"/>
              </a:rPr>
              <a:t>klient na prvom mieste prístup</a:t>
            </a:r>
            <a:endParaRPr lang="en-US" sz="1600" kern="0" dirty="0">
              <a:ea typeface="MS PGothic" pitchFamily="34" charset="-128"/>
              <a:cs typeface="+mn-cs"/>
            </a:endParaRPr>
          </a:p>
          <a:p>
            <a:pPr marL="341313" lvl="1" indent="-173038" defTabSz="944563">
              <a:lnSpc>
                <a:spcPct val="90000"/>
              </a:lnSpc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–"/>
              <a:defRPr/>
            </a:pPr>
            <a:r>
              <a:rPr lang="en-US" sz="1600" kern="0" dirty="0">
                <a:ea typeface="MS PGothic" pitchFamily="34" charset="-128"/>
                <a:cs typeface="+mn-cs"/>
              </a:rPr>
              <a:t>CSC </a:t>
            </a:r>
            <a:r>
              <a:rPr lang="sk-SK" sz="1600" kern="0" dirty="0" smtClean="0">
                <a:ea typeface="MS PGothic" pitchFamily="34" charset="-128"/>
                <a:cs typeface="+mn-cs"/>
              </a:rPr>
              <a:t>má rozsiahle špecifické znalosti a skúsenosti v rôznych oblastiach             a sektoroch</a:t>
            </a:r>
            <a:endParaRPr lang="en-US" sz="1600" kern="0" dirty="0">
              <a:ea typeface="MS PGothic" pitchFamily="34" charset="-128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Rectangle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8178" name="think-cell Slide" r:id="rId19" imgW="0" imgH="0" progId="">
              <p:embed/>
            </p:oleObj>
          </a:graphicData>
        </a:graphic>
      </p:graphicFrame>
      <p:sp>
        <p:nvSpPr>
          <p:cNvPr id="10244" name="Rectangle 68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dirty="0" smtClean="0"/>
              <a:t>CSC Austria a CSC Eastern Europe – Top </a:t>
            </a:r>
            <a:r>
              <a:rPr lang="sk-SK" dirty="0" smtClean="0"/>
              <a:t>klienti</a:t>
            </a:r>
            <a:endParaRPr lang="en-GB" dirty="0" smtClean="0"/>
          </a:p>
        </p:txBody>
      </p:sp>
      <p:cxnSp>
        <p:nvCxnSpPr>
          <p:cNvPr id="10245" name="Straight Connector 72"/>
          <p:cNvCxnSpPr>
            <a:cxnSpLocks noChangeShapeType="1"/>
          </p:cNvCxnSpPr>
          <p:nvPr>
            <p:custDataLst>
              <p:tags r:id="rId3"/>
            </p:custDataLst>
          </p:nvPr>
        </p:nvCxnSpPr>
        <p:spPr bwMode="auto">
          <a:xfrm>
            <a:off x="333375" y="312738"/>
            <a:ext cx="8442325" cy="1587"/>
          </a:xfrm>
          <a:prstGeom prst="line">
            <a:avLst/>
          </a:prstGeom>
          <a:noFill/>
          <a:ln w="9525" algn="ctr">
            <a:solidFill>
              <a:srgbClr val="777777"/>
            </a:solidFill>
            <a:round/>
            <a:headEnd/>
            <a:tailEnd/>
          </a:ln>
        </p:spPr>
      </p:cxnSp>
      <p:pic>
        <p:nvPicPr>
          <p:cNvPr id="10248" name="Picture 24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6591670" y="3017215"/>
            <a:ext cx="2035175" cy="430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50" name="Picture 32" descr="Czech_saving_bank_logo.gif"/>
          <p:cNvPicPr>
            <a:picLocks noChangeAspect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5431651" y="1092220"/>
            <a:ext cx="1931987" cy="10960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51" name="Picture 44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496260" y="5701016"/>
            <a:ext cx="1882775" cy="357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52" name="Picture 45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476176" y="4216438"/>
            <a:ext cx="1793875" cy="882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54" name="Picture 21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4278203" y="3793077"/>
            <a:ext cx="2047875" cy="494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Grafik 76" descr="bmf_n.gif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1347345" y="1394823"/>
            <a:ext cx="1938462" cy="598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Grafik 79" descr="BMLF_Lebensministerium_60px.gif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1644321" y="2120309"/>
            <a:ext cx="981325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41" descr="raiffeisen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2582716" y="3330501"/>
            <a:ext cx="775460" cy="79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21" descr="WEX_logo.JPG"/>
          <p:cNvPicPr>
            <a:picLocks noChangeAspect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3753478" y="5032154"/>
            <a:ext cx="1284446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34" descr="ÖBB-Logo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9" cstate="print"/>
          <a:srcRect l="-2521" t="15118" r="42834" b="35275"/>
          <a:stretch>
            <a:fillRect/>
          </a:stretch>
        </p:blipFill>
        <p:spPr bwMode="auto">
          <a:xfrm>
            <a:off x="7704587" y="4423067"/>
            <a:ext cx="1110396" cy="473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10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30" cstate="print"/>
          <a:srcRect l="12175" t="38889"/>
          <a:stretch>
            <a:fillRect/>
          </a:stretch>
        </p:blipFill>
        <p:spPr bwMode="auto">
          <a:xfrm>
            <a:off x="4138060" y="4521704"/>
            <a:ext cx="1952625" cy="34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26" descr="ASFINAG">
            <a:hlinkClick r:id="rId31" tooltip="ASFINAG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6230383" y="5061948"/>
            <a:ext cx="2054225" cy="29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Picture 27" descr="wgkk_co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7545683" y="1798083"/>
            <a:ext cx="1114409" cy="482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28" descr="AUVA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3346007" y="1504877"/>
            <a:ext cx="901700" cy="416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22" descr="Schlumberger_Logo.JPG"/>
          <p:cNvPicPr>
            <a:picLocks noChangeAspect="1"/>
          </p:cNvPicPr>
          <p:nvPr/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5276602" y="3117774"/>
            <a:ext cx="1127963" cy="62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21"/>
          <p:cNvPicPr>
            <a:picLocks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393116" y="3849463"/>
            <a:ext cx="1223962" cy="307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graphicFrame>
        <p:nvGraphicFramePr>
          <p:cNvPr id="31747" name="Object 4"/>
          <p:cNvGraphicFramePr>
            <a:graphicFrameLocks noChangeAspect="1"/>
          </p:cNvGraphicFramePr>
          <p:nvPr/>
        </p:nvGraphicFramePr>
        <p:xfrm>
          <a:off x="2368514" y="2905459"/>
          <a:ext cx="1008062" cy="319087"/>
        </p:xfrm>
        <a:graphic>
          <a:graphicData uri="http://schemas.openxmlformats.org/presentationml/2006/ole">
            <p:oleObj spid="_x0000_s178179" name="Bitmap Image" r:id="rId37" imgW="2076740" imgH="743054" progId="PBrush">
              <p:embed/>
            </p:oleObj>
          </a:graphicData>
        </a:graphic>
      </p:graphicFrame>
      <p:pic>
        <p:nvPicPr>
          <p:cNvPr id="32" name="Picture 19" descr="i_logo_austrian2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2933535" y="4134293"/>
            <a:ext cx="1205708" cy="485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Picture 17" descr="Dopravní podnik hlavního města Prahy"/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6415716" y="2364044"/>
            <a:ext cx="2317750" cy="47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2" descr="C:\Users\ostrycek\Pictures\SOC POIST logo.gif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380225" y="5167092"/>
            <a:ext cx="292417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Bild 3" descr="logo2C_2"/>
          <p:cNvPicPr>
            <a:picLocks noChangeAspect="1" noChangeArrowheads="1"/>
          </p:cNvPicPr>
          <p:nvPr/>
        </p:nvPicPr>
        <p:blipFill>
          <a:blip r:embed="rId41" cstate="email"/>
          <a:srcRect/>
          <a:stretch>
            <a:fillRect/>
          </a:stretch>
        </p:blipFill>
        <p:spPr bwMode="auto">
          <a:xfrm>
            <a:off x="2920593" y="5808699"/>
            <a:ext cx="795337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42" cstate="email"/>
          <a:srcRect/>
          <a:stretch>
            <a:fillRect/>
          </a:stretch>
        </p:blipFill>
        <p:spPr bwMode="auto">
          <a:xfrm>
            <a:off x="5357517" y="5197770"/>
            <a:ext cx="681037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11"/>
          <p:cNvPicPr>
            <a:picLocks noChangeAspect="1" noChangeArrowheads="1"/>
          </p:cNvPicPr>
          <p:nvPr/>
        </p:nvPicPr>
        <p:blipFill>
          <a:blip r:embed="rId43" cstate="email"/>
          <a:srcRect/>
          <a:stretch>
            <a:fillRect/>
          </a:stretch>
        </p:blipFill>
        <p:spPr bwMode="auto">
          <a:xfrm>
            <a:off x="6513919" y="3827722"/>
            <a:ext cx="1262035" cy="344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78180" name="Object 54"/>
          <p:cNvGraphicFramePr>
            <a:graphicFrameLocks noChangeAspect="1"/>
          </p:cNvGraphicFramePr>
          <p:nvPr/>
        </p:nvGraphicFramePr>
        <p:xfrm>
          <a:off x="3552973" y="3470606"/>
          <a:ext cx="615544" cy="463439"/>
        </p:xfrm>
        <a:graphic>
          <a:graphicData uri="http://schemas.openxmlformats.org/presentationml/2006/ole">
            <p:oleObj spid="_x0000_s178180" name="Photo Editor Photo" r:id="rId44" imgW="3057143" imgH="2295238" progId="">
              <p:embed/>
            </p:oleObj>
          </a:graphicData>
        </a:graphic>
      </p:graphicFrame>
      <p:pic>
        <p:nvPicPr>
          <p:cNvPr id="40" name="Picture 24" descr="dupontLogoOnWhite.gif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45" cstate="email"/>
          <a:srcRect/>
          <a:stretch>
            <a:fillRect/>
          </a:stretch>
        </p:blipFill>
        <p:spPr bwMode="auto">
          <a:xfrm>
            <a:off x="7980290" y="5539562"/>
            <a:ext cx="838846" cy="329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" name="Picture 22" descr="Motorola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46" cstate="email"/>
          <a:srcRect/>
          <a:stretch>
            <a:fillRect/>
          </a:stretch>
        </p:blipFill>
        <p:spPr bwMode="auto">
          <a:xfrm>
            <a:off x="7998982" y="3699097"/>
            <a:ext cx="650955" cy="436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2" descr="Cytolon AG | Matching the power of Stem Cells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47" cstate="email"/>
          <a:srcRect/>
          <a:stretch>
            <a:fillRect/>
          </a:stretch>
        </p:blipFill>
        <p:spPr bwMode="auto">
          <a:xfrm>
            <a:off x="7178491" y="1426499"/>
            <a:ext cx="1428997" cy="338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23" descr="40543_2199_1204560290.gif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48" cstate="email"/>
          <a:srcRect/>
          <a:stretch>
            <a:fillRect/>
          </a:stretch>
        </p:blipFill>
        <p:spPr bwMode="auto">
          <a:xfrm>
            <a:off x="1254641" y="3351290"/>
            <a:ext cx="1097295" cy="349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Picture 2" descr="http://ts3.mm.bing.net/images/thumbnail.aspx?q=4606653594928978&amp;id=2c77910f31f51a5d71d8f6702dde1597&amp;url=http%3a%2f%2fwww.statoil.com%2fen%2fNewsAndMedia%2fPressRoom%2fDownloads%2fstatoil_horizontal.png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49" cstate="email"/>
          <a:srcRect/>
          <a:stretch>
            <a:fillRect/>
          </a:stretch>
        </p:blipFill>
        <p:spPr bwMode="auto">
          <a:xfrm>
            <a:off x="299925" y="3185450"/>
            <a:ext cx="786374" cy="47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8182" name="AutoShape 6" descr="data:image/jpeg;base64,/9j/4AAQSkZJRgABAQAAAQABAAD/2wCEAAkGBhQQEBMREBEWFRMVFxUWFhcWFxUaFhodFhQVGBYUGxQdHikhGRkvHBYYIS8gJCcpLCw4Fh8xNTAqNSYrLCkBCQoKDgwOGg8PGjAkHyUyMi4uLiwsLDQ0KjIyLC81NCwsLC0sNC8sLC4sLC8vLSwsLCwsLCw0NC0vLCwsLCwsLP/AABEIAJ8BPgMBIgACEQEDEQH/xAAbAAEAAwEBAQEAAAAAAAAAAAAABQYHBAMCAf/EAEMQAAEDAgMDCAYGCQQDAAAAAAEAAgMEEQUSIQYxQQcTIlFhcYGRFDJyobGyM0KCksHRFRcjNFJUYnPSFlOT8DWi4f/EABoBAQACAwEAAAAAAAAAAAAAAAACAwEEBQb/xAA2EQABAwIDBQUFCQEBAAAAAAABAAIDBBEhMUEFEhNRYXGBkeHwFKGxwdEVIiMyNDVCUvEzYv/aAAwDAQACEQMRAD8A3FEREREREREREREREREREREREREREREREREREREREREREREREREREREREREREREREREREREREREREREREREREREREREREREREREREREREREREREREREREREREREREREREREREREREREREREREREREREREREREREREREREREREREVR2x2mno5WCMMLHtuMzSTcGzhe44FvmroIHTv3GZqqaZsLd92StyLMf1j1X8MX3Xf5J+seq6ovuu/yXQ+yKjp4rR+04OvgtORZvR7eVk0jYmNiLnkAdF3Hj627j4LRmXAGY3NtTuHabcFp1NI+nsH2xW1BUsnBLNF9Iq3im1mUlsAB/rO7wHHvUJJjk7jcyu8Db3Bcp9WxpsMVyqjb1NC7dbd3Zl4q/oqLTbSTsPr5h1OF/fvVowjHGVAt6rxvafiDxCnHUMkNtVfR7Xp6p24MHcjr2KSRFneJ7f1Ec8sbRHlY97Rdrr2a4gX6XYulTUslQSGaLfnqWQAF+q0RFAbJ7UCsjIfYTM9YDcRweB1cD1eIU+qZYnRPLHjEKyORsjQ5uRRFXNs9oJKNkbog27nEHMCdzb8CFzbGbUS1j5GyhlmtaRlBG8kcSVeKOQw8f8Aj52VRqmCXg6q2Is9xfbyoiqJY2iPKx7mi7XXsDbXpLj/AFj1XVF913+S2W7KqHAEWx6rXdtKFpIN/BacizH9Y9V1Rfdd/kvuLlCq3ODWtiu4gDoO3k2H1u1S+yKgcvFY+04OvgtLRVjbLaKWjbDzeQl+fNmBPqhu6xFt5XxsXtNLWOlEoZ0A0jKCN5de9yepanscnB4/8fOy2PamcXg6+V1akWeYrtvV088kLhF0HEDoO1G9p9biCCrhs5i/pVMyU2zG4eBuDgbH8/FZmopIWCR1rHkkVXHK8sGYUmiKE2sx40cGdtjI5wawHd1kkdVgfMLXjjdI8MbmVfI8RtLnZBTaKk7LbV1NXUCNwjDAC55DTew0ABzbySPerHtHi3otNJKLZgLMv/E7Qae/wV0lJJHKIjmVTHUsfGZBkFJos9wHbyZ9RGycs5t5ymzbEE6NN79dvNaEsVNLJTuDX6rMFQycEsRERay2EREREREREREREREREXNWYbFNbnY2vy3tmANr7966UWQ4tNwsEAixUb/pul/lovuN/JZxtjUwmcx08bGMju0ljQMzvrajeBu81eds8e9FpyGH9rJdrOsfxP8AAe8hZ1s9gxq6hsQvl9Z56mjee/gO9eh2Y1waaiVxsMsfEribQc0uEEYFzn9FbuTrAcrTVPGrrtj7G/Wd4nTuHapbazEixoiabF+rvZ6vE/BT0UQY0NaLNaAABuAAsAqVtO+9S/sDQPug/iV5zadU6Ul51w7AqtqE0dDuM1Nr9ufwsvLBsHNQ8i9mN9Y/gO1W2DAYGCwiae1wzH3rgwasjp6VrnuALi424k3I0HcAorE9p3y3bH0GdnrHvPDwXPYYomAuxJWjTOoqCna+UBz3C9szjl2fNdG0NNTMBDNJepm77Q3D4qBgnLHB7TZwNwV0UGFyTmzG6cXHRo8fwVlosHgpiDK9pk39MgAdoafiqQx0rt4CwXPbTS18vGY0Rt55DzPYpaiqOcja+xGYA2PDrWO49+9VH92T53LZYahrxdjg4brggju0WNY7+9VH92T53L2mw/zO7AvR7T/5Mxv154LyoK59PK2SM2e0314g7wR1ELX8FxhlVC2VnHRzeLSN7T/3XRU3HdmedooKmIftGwx84B9ZoYOl7QHmO4KA2Y2hdRzZtTG6wkaOI/iH9Q/McVt1MTK6Lfj/ADtw8voqaeR1HJuP/KfV/qrXyn/RQe275Vw8mP0s/sM+Yrq5R52yQU72EOa5xII3EFm9cvJj9LP7DPmKqYLbNIPr7ytcb149aK4T7NUz3F76eMucSSSNSTvKqHKBg8MEcJhiawuc4HKLXs1aEqTyn/RQe275VobOlkNQxpcbdvRbtdEwQOIAv2dVD7AYZFPLKJo2vAY0gOF7HNvV7h2ZpmOD208Yc0gghuoI3FU3kx+mm9hvzLRVPakr21Dmhxthr0Vezo2GAEgXx06qi8qG6n75PgxePJh69R7MfxevblQ3U/fJ8GLx5MPXqPZj+L1uD9s9f2Wsf3D1/VfvKVhVnR1LRv8A2b+8XLD5XHgF58muJ5ZJKcnR4zt726OHiLfdV0x3DBU08kXFzej2OGrT5gLIcOrXU87JQOlG4EjuNnN8rhZoz7VRuhOYy+X0WKoezVTZRkfRW2rLdvsV56qMYPRhGT7R1efgPsrQcWxhsNK+oBBGS7O0u9T3kLKcGw91VUsjJJzuu88bb3u77X8SqNkxBpdO/Jvo+5XbSlLg2FuZ9BX/AJP8J5mm5xw6cxzfZHqD4n7ShOUrFM0kdO06MGd3e7Ro8Bc/aV+e5sTCTZrGNv2ANH5BY3USvrKkkevNJoOrMbNHcBbyUtng1FQ6ofkPXuCjW/gwNgbr695XJJE5uUkEZgHN7rkAjxB8lsWzmKek00cv1iLP9pujvfr4qp8oGCNjhp3xjSMCE91uifMH7y8uTXFcsj6dx0eM7O9ujh4ix+yrqy1ZS8ZuY9eaqpb0tTwnZH15LQ0RF5pd9ERERERERERERERERF8SyhjS5xs1oJJO4AC5K+1SOUTH8rRSsOrrOk7B9VnjvPYB1rYpoDPIGD0FRUTCGMvKqW0WNGrndKfV9Vg6mjd48T3rQticB9Gp8zxaWSzndYH1We+57SVltPMWPa8AEtIIBFxcG4uOKsP6wav+Jn3B+a9PW0skkTYYbBq89SVEbJDLLclamqftdS5ZRJweLeLf/llWv9f1f+437jVoLKf0ukj5z1nxsfcDc4sBuB4nTtXl9obNkij+9bHKy26vc2lA6KPMYi/NUmGFz3BrRdx0AVmwzZICzpzc/wAA3eJ4+HvVfrqB8D8rxY8CNx7QV1wbSzsFs4d7QBPnvXn4ixh/EC8tQupqeQ+1sJI8B2j12K69GNvBrWjsAA/BUTGsQ5+Zzx6vqt7hx87nxXxW4tLNpI8kdQ0HkN/ipDAdnzKQ+QWjGtjvd2ez2q6SUzkMYMF0KytftRzaenbZvrPkAp7ZulMdO2+913Hx3e4BZVjv71Uf3ZPnK2lYtj371Uf3ZPnK9fsJu65zegXXr4RDBHGNMPctZ2f/AHSn/tR/IFQ9uNl/R38/EP2TzqB9Rx4eyeHVu6lfNn/3Sn/tR/IF11NM2Vjo3tDmuBBB4grThqnU1QXDK5uO9dKWnbPCGnO2CxZ+IOMLYCbsa8vb2XFnDu4+fWrXyY/Sz+wz5ioDaTAHUcxYblh1jd1jqP8AUNx8+Kn+TH6Wf2GfMV6Cscx1G5zMjj7wuHStc2qa1+Yw9y0NUnlP+ig9t3yq7Kk8p/0UHtu+Vee2b+pZ60K7lf8Ap3etVwcmP003sN+ZaKs65MfppvYb8y0VWbV/Uu7vgobN/Tjv+KovKhup++T4MXjyYevUezH8Xr25UN1P3yfBi8eTD16j2Y/i9dAftnr+y0j+4ev6rQFlW3eFczVlwHRl6Y79zx56/aWqqt7e4Vz1IXgdKI5x3bnjy1+yubs2fhTi+Rw9d636+Hiwm2YxVDrsfMlHBTa/s3OLu0D6MeAc4eAVq5NsJysfUuGr+gz2QekfF2n2VRKOkdLIyNg6T3Bo8Tv7uPgtqoaNsMTImeqxoaPAb+/iurtSRsMXCZ/Iknx+q5uzmOlk4j/4iyrvKFinNUvNg9KY5fsjV34D7Szele9rg+LMHN3Obe406xuU1tzinP1bgD0Yv2Y7x65+9cfZCu+w+GcxSMJHSk/aO+16o+6B5lZjeKGkaSLl2nb5LD2GsqSAbAa9nms5qMRqpGlkkkzmm1w7OQbG4071zYfWugmZK3exwNu7e3xFx4rb1lW3eF8zVucB0ZemO/c8eev2lOirmVDjFuBtx4+5Qq6N8DRJvX+S1GnnEjGvabtcA4HsIuF6Kp8nWK85TmEnpRHT2XXLffmHkrYvOVEJhldGdF3oJRLGHjVERFQrkREREREREREREXHNg8D3Fz4I3OO8ljST3khdiKTXFuRWC0HMLg/QNP8Ay8X/ABs/JP0DT/y8X/Gz8l3opcV/9j4qPDZyHguD9A0/8vF/xs/JdrGBoDWgAAAADQADcAOpfSKLnudmVkNa3IL4mga8ZXtDh1EXCjJNl4D9UjucVLIqnMa7MKmWmhm/6MB7Qo+mwCGM3EYJ63Xd8VIIiy1obkFOKGOIWjaAOgsi4pMFgcS50ERJJJJY0kk7yTbeu1FY1xbkVMtDswvmOMNAa0AACwA0AA3ADqX0iKKkvGpo2SgCSNrwNQHNBA7dV802HRREmOJjCd+VrRfyC6EUt51rXwUd0XvbFF4VVFHKAJY2vA3Zmg27rr3RYBINwskA4Fc9Nh0URJjiYwnQlrWi/kF0IiEkm5QADALwqqGOW3OxsfbdmaDa++1+5flLh8cV+aiYy+/K0C9t17LoRZ33W3b4LG6L3tii/HNBBBFwdCD8F+ooqS4abAqeJwfHBG1w3FrGgi4tobdS7kRSc5zjdxuotaG4AWXC7A6c6mniJO/9mz8l2gW0G5fqIXudmUDQMgi8KqgjltzsbH2vbM0Otffa+7cvdFgEg3CyQDgVzU2GxREmOJjCRYlrWg26tAulEQuJNygAGARERYWUREREREREREREXhW1YijfI71WNLj4C9l7qpcoeIhsUcF7c64ZiNSGNIJNu+3kVfTRcaVrOapnl4UZeunZDad9XzjZmta9uVwABF2uGh1J7Ne0KyLPXY/A2uppacuDMogkBa5oy6Bh1320+4FoSvrYdx4cG7ocMuXNU0ku+0tJuRrzVZqcdqZZ5YaKOMiGwe+Um1/4QB3Hy4ce7Z7G3VAkZLHzc0Tsrx9XjYtPVoetRtbs9MyeSooJ2tLzd8btWkjt1HmNLnXVe+DbUOc2obVMEctOMzwNxFibjU66dZ3hWyRsdF+EAcue8Drca3PJVse5sn4hIz7COnLBeGLbZGGtbCGtMTSxsriDcF+7W9hYWO7rVhxGpMUMkgFyxj3AHccrSbe5ZtT4nA+kqRMXc/O4yaMcQC03YM3Ve/g5WyhxT0jCnvJu4QyMf3tYRfxFj4q2ppAwMs21iGnr18bhVwVJeXXdmLjp0+C9NkNqPTGObIGiVmpDbgFp3OAJPcfDrXTT4091fJSkNyMjDwdc1zk0OtrdI8FVaeldBS0mIQi7o2lsrR9Zhe4e69vI/VUnhVUJcUmkiNw+ma5p7+bssy00e9I9g+7Y9xBH+hYjnfusa443HeCD/hXXX7TyvmdT0MQlez13uNo2nq4X8+B3rwk2jq6Ug1sDDESAZISTlv1gk/h47l+8nNvRX/7nOu5zrvYWv4fipraHL6JPzlsvNvvf2Tbxvayqfw45eBuAjInG56j5K1vEki42/Y52wsOn1XHtLtA6nhikgDXmV7WtLr5bOBIOh7vNeUFTiOdueGnDbjMQ517X1I132Vari/8ARdDcXdzwyg98mQd1rKyQVuIl7Q+mhDcwzEP1AvqR0t9lY6BscdgGnFwu48jpiq2zGR9yXZA2HUa4Lpocae+unpiG5ImtLSL5jmDSb6249SlqiobGxz3mzWgkk8AN6rWE/wDlqz2I/lYvfb/N6BJl62X7s4/Gy1nwtdMyMYXDfeAthsrmxPecbF3uJXLFtBWVV30dOxsVyA+Ym7rdQBH4967sFxyZ8pp6qnMcgGYObcxkd+tvM+ClMKy8xFzdsmRmW3VlFl91+bmpMnrZHZe/Kbe9RfLGSWBgAyGdx2nVZZG8APLyeeVj2Kv1O0800roaCFsmQ2fI82jB6hqL+fDdxXmdpamlc0V8LRG4252K5aD2i5/Dsuvbk9y+gty78z8/XfNpf7OVdu12X0KfPuyG3tXGT/2sr3cNs3A3ML2vjft8rWVI4jouNv42vbTsXJtdtK+kZE6JrXc44+tciwAOljxvvUvQYqyaBs7TZhbmJP1besD3WN+5UusvzOEZ9+dm/qzR5fdZfdbgFRHK+igBFLUOD8wBswfXbfcNw042b1lWGliMbWk2OOPMA2PfbEKAqJA8uAuMMORIuPNSmzW1rqupljyNEQaXMNjmsHBuuttb37F5x4/WTTTsp4oS2KQs6ZcDoSAd/YvzB6ZsWKzRsFmsp2NA7BzSj8HrKmOorfRqcSgzuzEvDbdJ9hqRdTMUZc5zGj8rSN44Y96gJJLND3HMg26Kw4Hj8kkr6apiEc7Bm6Ju1zeseY4n3FcVRtkW14p8reZDmxOfrfO4aa3ta+lrcCviCGaJ0+I1ga17Yy1kbTcAcAT1k2G/6x7FWGV8BoJI3ud6S+QzXyOtmB06Xs31/qKzFSxvcXBtxgMMQCcyOgWJKiRjQCbHE45kDIHqVo2OV5gp5ZmgEsaSAd1+F1wbJ7R+mREuAErDZ4F7a+q4A8PyK5K/EvScIfLxMXS9oEB3vBUQ2E0kdJiEQ6PNxsnaOLSAA7v3DvDe1URUzTE5jh9/esO0DLv+KvkqHCQOafu2uewnPu+CsFNjcslVVU7Qwc00GMkO1JAtm13XPCy99msdNVETIAyVjiyRvUQeo8LfAqJ2cmD8SrHNN2ubGQRuILWkFcW1tNJT1BdTkAVreacP67gZuy4O/tcpGnY9/BtYkNIPdj9e1REz2t4uYBII78Pop/Z/G31b5nBrRAx2SM65nEbze9reH1h1KcXHhOGtp4WQt3NFr9Z3ud4m5XYubM5hedwWGi3og4MG+cdUREVStRERERERERERERQceCPdXuqpS3I1mSJoJuOsnSw3u+8pxFYyQsvbUWUHsD7X0N1GbR4P6VTPiFg42LSdwcDcfiPFdWHRvbExspBkDQHEEkEgWvcgd66UTiOLNzS903Bv7+uSq5wCpppZX0UkfNyuLnMlB6LjvII/7u32XNPsfO6GUGVjp6h7TM83DQ1tyGt011t1brK4otkVsoxwvhjbE2yutc0kZwxtyvlfkvKmpxGxrG6NaA0dwFgq/TbNyR+msYWc1UB5jFzdrnNINxbQa8L+qFZUVDJnMvbX63Vz4mutfT6KMwPCjDSMglyuIaWutq03LtNRusVE7N7IupKqWTMDEWlrBc5rFzTrpwtbtVpRSFTIN8X/ADZqPs7Du/8AnJVqv2ZlZM6ooZRE9/rscLxuPXuNj4cTuXjJs5VVRArZ2CIEExxAjNbrJA/Hw3q1opiskAGVxrYX8VA0sZ525Xw8FBbR4C6eOCOHK0RSMdY3AytBFhYFTqIqHSOc0NOl/er2xhri4a/JQtDgr2V1RUktyStYGgE5uiGg3FrcOtS1RTtkY5jxdrgQQeIO9eiI+VzyCdLDwWGxtaCBrf3qpxbP1lLdlHOx0NyWslBu2/AED8u5d+C4LO2Uz1VQXyEZQxlxGB3aX8h4qdRXPq3uBBtc5mwue9VNpmNIIvhkLmwVYqdmJoZXTUEzY85u+N4vGT1jQ28uO+2i8zs1U1TmmvmaY2m/NRAgE9psPx8Fa0WRWSDlfnYX8fRWDSx9bcr4eCg8fwJ88lK6MtDYZA9wNxoCw2AA/p7FOIiodI5zQ06K9sYa4uGqhabBntxCWqJbkfGGAXOa4ybxa1uieKYBgr6eWqe8tImkL22JuBd2+436qaRTNQ8gtOoA8MlAQNBB6k+KhdqMHkq42Qsc1rC9pkJJvlHAADU8fAKYZGAA0CwAsB2DcF9IoGRxYGaD5qYYA4u1KqsGy0rKerp2uZzcpJh1d0bnUO000Dd19ymcPwvLSMp5QHWjDH23HSxspFFZJUvkGPO/fayrZAxmXK3ddVjZPZR9HLM5z2ua4BrLXvYEm7tNDu6+K7NosFfUSUzmFoEUoe7MTuBadLA66KbRZdVSOl4pz8rLAp2Nj4Yy87oiItZbCIiIiIiIiIiIiIiIiIiIiIiIiIiIiIiIiIiIiIiIiIiIiIiIiIiIiIiIiIiIiIiIiIiIiIiIiIiIiIiIiIiIiIiIiIiIiIiIiIiIiIiIiIiIiIiIiIiIiIiIiIiIiIiIiIiIiIiIiIiIiIiIiIiIiIiIiIiIiIiIiIiIiIiIi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184" name="AutoShape 8" descr="data:image/jpeg;base64,/9j/4AAQSkZJRgABAQAAAQABAAD/2wCEAAkGBhQQEBMREBEWFRMVFxUWFhcWFxUaFhodFhQVGBYUGxQdHikhGRkvHBYYIS8gJCcpLCw4Fh8xNTAqNSYrLCkBCQoKDgwOGg8PGjAkHyUyMi4uLiwsLDQ0KjIyLC81NCwsLC0sNC8sLC4sLC8vLSwsLCwsLCw0NC0vLCwsLCwsLP/AABEIAJ8BPgMBIgACEQEDEQH/xAAbAAEAAwEBAQEAAAAAAAAAAAAABQYHBAMCAf/EAEMQAAEDAgMDCAYGCQQDAAAAAAEAAgMEEQUSIQYxQQcTIlFhcYGRFDJyobGyM0KCksHRFRcjNFJUYnPSFlOT8DWi4f/EABoBAQACAwEAAAAAAAAAAAAAAAACAwEEBQb/xAA2EQABAwIDBQUFCQEBAAAAAAABAAIDBBEhMUEFEhNRYXGBkeHwFKGxwdEVIiMyNDVCUvEzYv/aAAwDAQACEQMRAD8A3FEREREREREREREREREREREREREREREREREREREREREREREREREREREREREREREREREREREREREREREREREREREREREREREREREREREREREREREREREREREREREREREREREREREREREREREREREREREREREREREREREREREREREVR2x2mno5WCMMLHtuMzSTcGzhe44FvmroIHTv3GZqqaZsLd92StyLMf1j1X8MX3Xf5J+seq6ovuu/yXQ+yKjp4rR+04OvgtORZvR7eVk0jYmNiLnkAdF3Hj627j4LRmXAGY3NtTuHabcFp1NI+nsH2xW1BUsnBLNF9Iq3im1mUlsAB/rO7wHHvUJJjk7jcyu8Db3Bcp9WxpsMVyqjb1NC7dbd3Zl4q/oqLTbSTsPr5h1OF/fvVowjHGVAt6rxvafiDxCnHUMkNtVfR7Xp6p24MHcjr2KSRFneJ7f1Ec8sbRHlY97Rdrr2a4gX6XYulTUslQSGaLfnqWQAF+q0RFAbJ7UCsjIfYTM9YDcRweB1cD1eIU+qZYnRPLHjEKyORsjQ5uRRFXNs9oJKNkbog27nEHMCdzb8CFzbGbUS1j5GyhlmtaRlBG8kcSVeKOQw8f8Aj52VRqmCXg6q2Is9xfbyoiqJY2iPKx7mi7XXsDbXpLj/AFj1XVF913+S2W7KqHAEWx6rXdtKFpIN/BacizH9Y9V1Rfdd/kvuLlCq3ODWtiu4gDoO3k2H1u1S+yKgcvFY+04OvgtLRVjbLaKWjbDzeQl+fNmBPqhu6xFt5XxsXtNLWOlEoZ0A0jKCN5de9yepanscnB4/8fOy2PamcXg6+V1akWeYrtvV088kLhF0HEDoO1G9p9biCCrhs5i/pVMyU2zG4eBuDgbH8/FZmopIWCR1rHkkVXHK8sGYUmiKE2sx40cGdtjI5wawHd1kkdVgfMLXjjdI8MbmVfI8RtLnZBTaKk7LbV1NXUCNwjDAC55DTew0ABzbySPerHtHi3otNJKLZgLMv/E7Qae/wV0lJJHKIjmVTHUsfGZBkFJos9wHbyZ9RGycs5t5ymzbEE6NN79dvNaEsVNLJTuDX6rMFQycEsRERay2EREREREREREREREREXNWYbFNbnY2vy3tmANr7966UWQ4tNwsEAixUb/pul/lovuN/JZxtjUwmcx08bGMju0ljQMzvrajeBu81eds8e9FpyGH9rJdrOsfxP8AAe8hZ1s9gxq6hsQvl9Z56mjee/gO9eh2Y1waaiVxsMsfEribQc0uEEYFzn9FbuTrAcrTVPGrrtj7G/Wd4nTuHapbazEixoiabF+rvZ6vE/BT0UQY0NaLNaAABuAAsAqVtO+9S/sDQPug/iV5zadU6Ul51w7AqtqE0dDuM1Nr9ufwsvLBsHNQ8i9mN9Y/gO1W2DAYGCwiae1wzH3rgwasjp6VrnuALi424k3I0HcAorE9p3y3bH0GdnrHvPDwXPYYomAuxJWjTOoqCna+UBz3C9szjl2fNdG0NNTMBDNJepm77Q3D4qBgnLHB7TZwNwV0UGFyTmzG6cXHRo8fwVlosHgpiDK9pk39MgAdoafiqQx0rt4CwXPbTS18vGY0Rt55DzPYpaiqOcja+xGYA2PDrWO49+9VH92T53LZYahrxdjg4brggju0WNY7+9VH92T53L2mw/zO7AvR7T/5Mxv154LyoK59PK2SM2e0314g7wR1ELX8FxhlVC2VnHRzeLSN7T/3XRU3HdmedooKmIftGwx84B9ZoYOl7QHmO4KA2Y2hdRzZtTG6wkaOI/iH9Q/McVt1MTK6Lfj/ADtw8voqaeR1HJuP/KfV/qrXyn/RQe275Vw8mP0s/sM+Yrq5R52yQU72EOa5xII3EFm9cvJj9LP7DPmKqYLbNIPr7ytcb149aK4T7NUz3F76eMucSSSNSTvKqHKBg8MEcJhiawuc4HKLXs1aEqTyn/RQe275VobOlkNQxpcbdvRbtdEwQOIAv2dVD7AYZFPLKJo2vAY0gOF7HNvV7h2ZpmOD208Yc0gghuoI3FU3kx+mm9hvzLRVPakr21Dmhxthr0Vezo2GAEgXx06qi8qG6n75PgxePJh69R7MfxevblQ3U/fJ8GLx5MPXqPZj+L1uD9s9f2Wsf3D1/VfvKVhVnR1LRv8A2b+8XLD5XHgF58muJ5ZJKcnR4zt726OHiLfdV0x3DBU08kXFzej2OGrT5gLIcOrXU87JQOlG4EjuNnN8rhZoz7VRuhOYy+X0WKoezVTZRkfRW2rLdvsV56qMYPRhGT7R1efgPsrQcWxhsNK+oBBGS7O0u9T3kLKcGw91VUsjJJzuu88bb3u77X8SqNkxBpdO/Jvo+5XbSlLg2FuZ9BX/AJP8J5mm5xw6cxzfZHqD4n7ShOUrFM0kdO06MGd3e7Ro8Bc/aV+e5sTCTZrGNv2ANH5BY3USvrKkkevNJoOrMbNHcBbyUtng1FQ6ofkPXuCjW/gwNgbr695XJJE5uUkEZgHN7rkAjxB8lsWzmKek00cv1iLP9pujvfr4qp8oGCNjhp3xjSMCE91uifMH7y8uTXFcsj6dx0eM7O9ujh4ix+yrqy1ZS8ZuY9eaqpb0tTwnZH15LQ0RF5pd9ERERERERERERERERF8SyhjS5xs1oJJO4AC5K+1SOUTH8rRSsOrrOk7B9VnjvPYB1rYpoDPIGD0FRUTCGMvKqW0WNGrndKfV9Vg6mjd48T3rQticB9Gp8zxaWSzndYH1We+57SVltPMWPa8AEtIIBFxcG4uOKsP6wav+Jn3B+a9PW0skkTYYbBq89SVEbJDLLclamqftdS5ZRJweLeLf/llWv9f1f+437jVoLKf0ukj5z1nxsfcDc4sBuB4nTtXl9obNkij+9bHKy26vc2lA6KPMYi/NUmGFz3BrRdx0AVmwzZICzpzc/wAA3eJ4+HvVfrqB8D8rxY8CNx7QV1wbSzsFs4d7QBPnvXn4ixh/EC8tQupqeQ+1sJI8B2j12K69GNvBrWjsAA/BUTGsQ5+Zzx6vqt7hx87nxXxW4tLNpI8kdQ0HkN/ipDAdnzKQ+QWjGtjvd2ez2q6SUzkMYMF0KytftRzaenbZvrPkAp7ZulMdO2+913Hx3e4BZVjv71Uf3ZPnK2lYtj371Uf3ZPnK9fsJu65zegXXr4RDBHGNMPctZ2f/AHSn/tR/IFQ9uNl/R38/EP2TzqB9Rx4eyeHVu6lfNn/3Sn/tR/IF11NM2Vjo3tDmuBBB4grThqnU1QXDK5uO9dKWnbPCGnO2CxZ+IOMLYCbsa8vb2XFnDu4+fWrXyY/Sz+wz5ioDaTAHUcxYblh1jd1jqP8AUNx8+Kn+TH6Wf2GfMV6Cscx1G5zMjj7wuHStc2qa1+Yw9y0NUnlP+ig9t3yq7Kk8p/0UHtu+Vee2b+pZ60K7lf8Ap3etVwcmP003sN+ZaKs65MfppvYb8y0VWbV/Uu7vgobN/Tjv+KovKhup++T4MXjyYevUezH8Xr25UN1P3yfBi8eTD16j2Y/i9dAftnr+y0j+4ev6rQFlW3eFczVlwHRl6Y79zx56/aWqqt7e4Vz1IXgdKI5x3bnjy1+yubs2fhTi+Rw9d636+Hiwm2YxVDrsfMlHBTa/s3OLu0D6MeAc4eAVq5NsJysfUuGr+gz2QekfF2n2VRKOkdLIyNg6T3Bo8Tv7uPgtqoaNsMTImeqxoaPAb+/iurtSRsMXCZ/Iknx+q5uzmOlk4j/4iyrvKFinNUvNg9KY5fsjV34D7Szele9rg+LMHN3Obe406xuU1tzinP1bgD0Yv2Y7x65+9cfZCu+w+GcxSMJHSk/aO+16o+6B5lZjeKGkaSLl2nb5LD2GsqSAbAa9nms5qMRqpGlkkkzmm1w7OQbG4071zYfWugmZK3exwNu7e3xFx4rb1lW3eF8zVucB0ZemO/c8eev2lOirmVDjFuBtx4+5Qq6N8DRJvX+S1GnnEjGvabtcA4HsIuF6Kp8nWK85TmEnpRHT2XXLffmHkrYvOVEJhldGdF3oJRLGHjVERFQrkREREREREREREXHNg8D3Fz4I3OO8ljST3khdiKTXFuRWC0HMLg/QNP8Ay8X/ABs/JP0DT/y8X/Gz8l3opcV/9j4qPDZyHguD9A0/8vF/xs/JdrGBoDWgAAAADQADcAOpfSKLnudmVkNa3IL4mga8ZXtDh1EXCjJNl4D9UjucVLIqnMa7MKmWmhm/6MB7Qo+mwCGM3EYJ63Xd8VIIiy1obkFOKGOIWjaAOgsi4pMFgcS50ERJJJJY0kk7yTbeu1FY1xbkVMtDswvmOMNAa0AACwA0AA3ADqX0iKKkvGpo2SgCSNrwNQHNBA7dV802HRREmOJjCd+VrRfyC6EUt51rXwUd0XvbFF4VVFHKAJY2vA3Zmg27rr3RYBINwskA4Fc9Nh0URJjiYwnQlrWi/kF0IiEkm5QADALwqqGOW3OxsfbdmaDa++1+5flLh8cV+aiYy+/K0C9t17LoRZ33W3b4LG6L3tii/HNBBBFwdCD8F+ooqS4abAqeJwfHBG1w3FrGgi4tobdS7kRSc5zjdxuotaG4AWXC7A6c6mniJO/9mz8l2gW0G5fqIXudmUDQMgi8KqgjltzsbH2vbM0Otffa+7cvdFgEg3CyQDgVzU2GxREmOJjCRYlrWg26tAulEQuJNygAGARERYWUREREREREREREXhW1YijfI71WNLj4C9l7qpcoeIhsUcF7c64ZiNSGNIJNu+3kVfTRcaVrOapnl4UZeunZDad9XzjZmta9uVwABF2uGh1J7Ne0KyLPXY/A2uppacuDMogkBa5oy6Bh1320+4FoSvrYdx4cG7ocMuXNU0ku+0tJuRrzVZqcdqZZ5YaKOMiGwe+Um1/4QB3Hy4ce7Z7G3VAkZLHzc0Tsrx9XjYtPVoetRtbs9MyeSooJ2tLzd8btWkjt1HmNLnXVe+DbUOc2obVMEctOMzwNxFibjU66dZ3hWyRsdF+EAcue8Drca3PJVse5sn4hIz7COnLBeGLbZGGtbCGtMTSxsriDcF+7W9hYWO7rVhxGpMUMkgFyxj3AHccrSbe5ZtT4nA+kqRMXc/O4yaMcQC03YM3Ve/g5WyhxT0jCnvJu4QyMf3tYRfxFj4q2ppAwMs21iGnr18bhVwVJeXXdmLjp0+C9NkNqPTGObIGiVmpDbgFp3OAJPcfDrXTT4091fJSkNyMjDwdc1zk0OtrdI8FVaeldBS0mIQi7o2lsrR9Zhe4e69vI/VUnhVUJcUmkiNw+ma5p7+bssy00e9I9g+7Y9xBH+hYjnfusa443HeCD/hXXX7TyvmdT0MQlez13uNo2nq4X8+B3rwk2jq6Ug1sDDESAZISTlv1gk/h47l+8nNvRX/7nOu5zrvYWv4fipraHL6JPzlsvNvvf2Tbxvayqfw45eBuAjInG56j5K1vEki42/Y52wsOn1XHtLtA6nhikgDXmV7WtLr5bOBIOh7vNeUFTiOdueGnDbjMQ517X1I132Vari/8ARdDcXdzwyg98mQd1rKyQVuIl7Q+mhDcwzEP1AvqR0t9lY6BscdgGnFwu48jpiq2zGR9yXZA2HUa4Lpocae+unpiG5ImtLSL5jmDSb6249SlqiobGxz3mzWgkk8AN6rWE/wDlqz2I/lYvfb/N6BJl62X7s4/Gy1nwtdMyMYXDfeAthsrmxPecbF3uJXLFtBWVV30dOxsVyA+Ym7rdQBH4967sFxyZ8pp6qnMcgGYObcxkd+tvM+ClMKy8xFzdsmRmW3VlFl91+bmpMnrZHZe/Kbe9RfLGSWBgAyGdx2nVZZG8APLyeeVj2Kv1O0800roaCFsmQ2fI82jB6hqL+fDdxXmdpamlc0V8LRG4252K5aD2i5/Dsuvbk9y+gty78z8/XfNpf7OVdu12X0KfPuyG3tXGT/2sr3cNs3A3ML2vjft8rWVI4jouNv42vbTsXJtdtK+kZE6JrXc44+tciwAOljxvvUvQYqyaBs7TZhbmJP1besD3WN+5UusvzOEZ9+dm/qzR5fdZfdbgFRHK+igBFLUOD8wBswfXbfcNw042b1lWGliMbWk2OOPMA2PfbEKAqJA8uAuMMORIuPNSmzW1rqupljyNEQaXMNjmsHBuuttb37F5x4/WTTTsp4oS2KQs6ZcDoSAd/YvzB6ZsWKzRsFmsp2NA7BzSj8HrKmOorfRqcSgzuzEvDbdJ9hqRdTMUZc5zGj8rSN44Y96gJJLND3HMg26Kw4Hj8kkr6apiEc7Bm6Ju1zeseY4n3FcVRtkW14p8reZDmxOfrfO4aa3ta+lrcCviCGaJ0+I1ga17Yy1kbTcAcAT1k2G/6x7FWGV8BoJI3ud6S+QzXyOtmB06Xs31/qKzFSxvcXBtxgMMQCcyOgWJKiRjQCbHE45kDIHqVo2OV5gp5ZmgEsaSAd1+F1wbJ7R+mREuAErDZ4F7a+q4A8PyK5K/EvScIfLxMXS9oEB3vBUQ2E0kdJiEQ6PNxsnaOLSAA7v3DvDe1URUzTE5jh9/esO0DLv+KvkqHCQOafu2uewnPu+CsFNjcslVVU7Qwc00GMkO1JAtm13XPCy99msdNVETIAyVjiyRvUQeo8LfAqJ2cmD8SrHNN2ubGQRuILWkFcW1tNJT1BdTkAVreacP67gZuy4O/tcpGnY9/BtYkNIPdj9e1REz2t4uYBII78Pop/Z/G31b5nBrRAx2SM65nEbze9reH1h1KcXHhOGtp4WQt3NFr9Z3ud4m5XYubM5hedwWGi3og4MG+cdUREVStRERERERERERERQceCPdXuqpS3I1mSJoJuOsnSw3u+8pxFYyQsvbUWUHsD7X0N1GbR4P6VTPiFg42LSdwcDcfiPFdWHRvbExspBkDQHEEkEgWvcgd66UTiOLNzS903Bv7+uSq5wCpppZX0UkfNyuLnMlB6LjvII/7u32XNPsfO6GUGVjp6h7TM83DQ1tyGt011t1brK4otkVsoxwvhjbE2yutc0kZwxtyvlfkvKmpxGxrG6NaA0dwFgq/TbNyR+msYWc1UB5jFzdrnNINxbQa8L+qFZUVDJnMvbX63Vz4mutfT6KMwPCjDSMglyuIaWutq03LtNRusVE7N7IupKqWTMDEWlrBc5rFzTrpwtbtVpRSFTIN8X/ADZqPs7Du/8AnJVqv2ZlZM6ooZRE9/rscLxuPXuNj4cTuXjJs5VVRArZ2CIEExxAjNbrJA/Hw3q1opiskAGVxrYX8VA0sZ525Xw8FBbR4C6eOCOHK0RSMdY3AytBFhYFTqIqHSOc0NOl/er2xhri4a/JQtDgr2V1RUktyStYGgE5uiGg3FrcOtS1RTtkY5jxdrgQQeIO9eiI+VzyCdLDwWGxtaCBrf3qpxbP1lLdlHOx0NyWslBu2/AED8u5d+C4LO2Uz1VQXyEZQxlxGB3aX8h4qdRXPq3uBBtc5mwue9VNpmNIIvhkLmwVYqdmJoZXTUEzY85u+N4vGT1jQ28uO+2i8zs1U1TmmvmaY2m/NRAgE9psPx8Fa0WRWSDlfnYX8fRWDSx9bcr4eCg8fwJ88lK6MtDYZA9wNxoCw2AA/p7FOIiodI5zQ06K9sYa4uGqhabBntxCWqJbkfGGAXOa4ybxa1uieKYBgr6eWqe8tImkL22JuBd2+436qaRTNQ8gtOoA8MlAQNBB6k+KhdqMHkq42Qsc1rC9pkJJvlHAADU8fAKYZGAA0CwAsB2DcF9IoGRxYGaD5qYYA4u1KqsGy0rKerp2uZzcpJh1d0bnUO000Dd19ymcPwvLSMp5QHWjDH23HSxspFFZJUvkGPO/fayrZAxmXK3ddVjZPZR9HLM5z2ua4BrLXvYEm7tNDu6+K7NosFfUSUzmFoEUoe7MTuBadLA66KbRZdVSOl4pz8rLAp2Nj4Yy87oiItZbCIiIiIiIiIiIiIiIiIiIiIiIiIiIiIiIiIiIiIiIiIiIiIiIiIiIiIiIiIiIiIiIiIiIiIiIiIiIiIiIiIiIiIiIiIiIiIiIiIiIiIiIiIiIiIiIiIiIiIiIiIiIiIiIiIiIiIiIiIiIiIiIiIiIiIiIiIiIiIiIiIiIiIiIi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78186" name="Picture 10" descr="http://www.kardiologiaprewencyjna.pl/images/Image/ZENTIVA_RGB_EN.JPG"/>
          <p:cNvPicPr>
            <a:picLocks noChangeAspect="1" noChangeArrowheads="1"/>
          </p:cNvPicPr>
          <p:nvPr/>
        </p:nvPicPr>
        <p:blipFill>
          <a:blip r:embed="rId50"/>
          <a:srcRect/>
          <a:stretch>
            <a:fillRect/>
          </a:stretch>
        </p:blipFill>
        <p:spPr bwMode="auto">
          <a:xfrm>
            <a:off x="6091797" y="4231759"/>
            <a:ext cx="1647228" cy="801354"/>
          </a:xfrm>
          <a:prstGeom prst="rect">
            <a:avLst/>
          </a:prstGeom>
          <a:noFill/>
        </p:spPr>
      </p:pic>
      <p:pic>
        <p:nvPicPr>
          <p:cNvPr id="47" name="Picture 12" descr="http://coatresa.com/archivos/Daikin.jpg"/>
          <p:cNvPicPr>
            <a:picLocks noChangeAspect="1" noChangeArrowheads="1"/>
          </p:cNvPicPr>
          <p:nvPr/>
        </p:nvPicPr>
        <p:blipFill>
          <a:blip r:embed="rId51"/>
          <a:srcRect/>
          <a:stretch>
            <a:fillRect/>
          </a:stretch>
        </p:blipFill>
        <p:spPr bwMode="auto">
          <a:xfrm>
            <a:off x="3077233" y="2298788"/>
            <a:ext cx="1373414" cy="296780"/>
          </a:xfrm>
          <a:prstGeom prst="rect">
            <a:avLst/>
          </a:prstGeom>
          <a:noFill/>
        </p:spPr>
      </p:pic>
      <p:pic>
        <p:nvPicPr>
          <p:cNvPr id="178190" name="Picture 14" descr="http://vsemismery2009.wz.cz/images/logo_mineralni-vody.gif"/>
          <p:cNvPicPr>
            <a:picLocks noChangeAspect="1" noChangeArrowheads="1"/>
          </p:cNvPicPr>
          <p:nvPr/>
        </p:nvPicPr>
        <p:blipFill>
          <a:blip r:embed="rId52"/>
          <a:srcRect/>
          <a:stretch>
            <a:fillRect/>
          </a:stretch>
        </p:blipFill>
        <p:spPr bwMode="auto">
          <a:xfrm>
            <a:off x="3579258" y="2806922"/>
            <a:ext cx="1905000" cy="447675"/>
          </a:xfrm>
          <a:prstGeom prst="rect">
            <a:avLst/>
          </a:prstGeom>
          <a:noFill/>
        </p:spPr>
      </p:pic>
      <p:pic>
        <p:nvPicPr>
          <p:cNvPr id="178192" name="Picture 16" descr="http://www.gastrotrend.cz/files/files/s_01_01_c_stock-450.jpg"/>
          <p:cNvPicPr>
            <a:picLocks noChangeAspect="1" noChangeArrowheads="1"/>
          </p:cNvPicPr>
          <p:nvPr/>
        </p:nvPicPr>
        <p:blipFill>
          <a:blip r:embed="rId53"/>
          <a:srcRect/>
          <a:stretch>
            <a:fillRect/>
          </a:stretch>
        </p:blipFill>
        <p:spPr bwMode="auto">
          <a:xfrm>
            <a:off x="311457" y="2083982"/>
            <a:ext cx="1238311" cy="927358"/>
          </a:xfrm>
          <a:prstGeom prst="rect">
            <a:avLst/>
          </a:prstGeom>
          <a:noFill/>
        </p:spPr>
      </p:pic>
      <p:pic>
        <p:nvPicPr>
          <p:cNvPr id="178194" name="Picture 18" descr="http://ceska-rafinerska.trade.cz/logo/62741772_.gif"/>
          <p:cNvPicPr>
            <a:picLocks noChangeAspect="1" noChangeArrowheads="1"/>
          </p:cNvPicPr>
          <p:nvPr/>
        </p:nvPicPr>
        <p:blipFill>
          <a:blip r:embed="rId54"/>
          <a:srcRect/>
          <a:stretch>
            <a:fillRect/>
          </a:stretch>
        </p:blipFill>
        <p:spPr bwMode="auto">
          <a:xfrm>
            <a:off x="5149333" y="2009553"/>
            <a:ext cx="1196163" cy="897122"/>
          </a:xfrm>
          <a:prstGeom prst="rect">
            <a:avLst/>
          </a:prstGeom>
          <a:noFill/>
        </p:spPr>
      </p:pic>
      <p:pic>
        <p:nvPicPr>
          <p:cNvPr id="178196" name="Picture 20" descr="http://www.which.co.uk/media/images/in-content/eon_logo-286086.jpg"/>
          <p:cNvPicPr>
            <a:picLocks noChangeAspect="1" noChangeArrowheads="1"/>
          </p:cNvPicPr>
          <p:nvPr/>
        </p:nvPicPr>
        <p:blipFill>
          <a:blip r:embed="rId55"/>
          <a:srcRect/>
          <a:stretch>
            <a:fillRect/>
          </a:stretch>
        </p:blipFill>
        <p:spPr bwMode="auto">
          <a:xfrm>
            <a:off x="2298036" y="4369982"/>
            <a:ext cx="1278564" cy="852376"/>
          </a:xfrm>
          <a:prstGeom prst="rect">
            <a:avLst/>
          </a:prstGeom>
          <a:noFill/>
        </p:spPr>
      </p:pic>
      <p:pic>
        <p:nvPicPr>
          <p:cNvPr id="2" name="Picture 6" descr="http://su.ntu.edu.sg/bpmentoring/picture%20file/image/bp%20company%20logo.JPG"/>
          <p:cNvPicPr>
            <a:picLocks noChangeAspect="1" noChangeArrowheads="1"/>
          </p:cNvPicPr>
          <p:nvPr/>
        </p:nvPicPr>
        <p:blipFill>
          <a:blip r:embed="rId56"/>
          <a:srcRect/>
          <a:stretch>
            <a:fillRect/>
          </a:stretch>
        </p:blipFill>
        <p:spPr bwMode="auto">
          <a:xfrm>
            <a:off x="4380614" y="1378713"/>
            <a:ext cx="1265273" cy="793432"/>
          </a:xfrm>
          <a:prstGeom prst="rect">
            <a:avLst/>
          </a:prstGeom>
          <a:noFill/>
        </p:spPr>
      </p:pic>
      <p:pic>
        <p:nvPicPr>
          <p:cNvPr id="3" name="Picture 8" descr="http://www.perfumesecrets.com/wp-content/themes/directorypress/thumbs/Estee-Lauder-logo.jpg"/>
          <p:cNvPicPr>
            <a:picLocks noChangeAspect="1" noChangeArrowheads="1"/>
          </p:cNvPicPr>
          <p:nvPr/>
        </p:nvPicPr>
        <p:blipFill>
          <a:blip r:embed="rId57"/>
          <a:srcRect/>
          <a:stretch>
            <a:fillRect/>
          </a:stretch>
        </p:blipFill>
        <p:spPr bwMode="auto">
          <a:xfrm>
            <a:off x="315063" y="1212111"/>
            <a:ext cx="1066799" cy="1066799"/>
          </a:xfrm>
          <a:prstGeom prst="rect">
            <a:avLst/>
          </a:prstGeom>
          <a:noFill/>
        </p:spPr>
      </p:pic>
      <p:pic>
        <p:nvPicPr>
          <p:cNvPr id="4" name="Picture 10" descr="http://www.wozimusic.com/web/aveverum/logos_skaliert/Volksbank_LOGO.jpg"/>
          <p:cNvPicPr>
            <a:picLocks noChangeAspect="1" noChangeArrowheads="1"/>
          </p:cNvPicPr>
          <p:nvPr/>
        </p:nvPicPr>
        <p:blipFill>
          <a:blip r:embed="rId58"/>
          <a:srcRect/>
          <a:stretch>
            <a:fillRect/>
          </a:stretch>
        </p:blipFill>
        <p:spPr bwMode="auto">
          <a:xfrm>
            <a:off x="6071190" y="5631617"/>
            <a:ext cx="1872734" cy="520204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9202" name="think-cell Slide" r:id="rId11" imgW="0" imgH="0" progId="">
              <p:embed/>
            </p:oleObj>
          </a:graphicData>
        </a:graphic>
      </p:graphicFrame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algn="ctr" eaLnBrk="0" hangingPunct="0">
              <a:defRPr/>
            </a:pPr>
            <a:endParaRPr lang="en-US" sz="1800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66713" y="455613"/>
            <a:ext cx="8408987" cy="785812"/>
          </a:xfrm>
        </p:spPr>
        <p:txBody>
          <a:bodyPr/>
          <a:lstStyle/>
          <a:p>
            <a:pPr>
              <a:defRPr/>
            </a:pPr>
            <a:r>
              <a:rPr lang="sk-SK" dirty="0" smtClean="0"/>
              <a:t>CSC pre zdravotníctvo a sociálny sektor v SR</a:t>
            </a:r>
            <a:endParaRPr lang="de-AT" b="0" dirty="0"/>
          </a:p>
        </p:txBody>
      </p:sp>
      <p:cxnSp>
        <p:nvCxnSpPr>
          <p:cNvPr id="6149" name="Straight Connector 11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>
            <a:off x="333375" y="312738"/>
            <a:ext cx="8442325" cy="1587"/>
          </a:xfrm>
          <a:prstGeom prst="line">
            <a:avLst/>
          </a:prstGeom>
          <a:noFill/>
          <a:ln w="9525" algn="ctr">
            <a:solidFill>
              <a:srgbClr val="777777"/>
            </a:solidFill>
            <a:round/>
            <a:headEnd/>
            <a:tailEnd/>
          </a:ln>
        </p:spPr>
      </p:cxnSp>
      <p:sp>
        <p:nvSpPr>
          <p:cNvPr id="6150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4325" y="1001713"/>
            <a:ext cx="847725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sk-SK" sz="1600" b="1" dirty="0" smtClean="0"/>
              <a:t>Dnes efetívna sociálna a zdravotná starostlivosť idú ruka v ruke so sofistikovanými technológiami</a:t>
            </a:r>
            <a:r>
              <a:rPr lang="en-US" sz="1600" b="1" dirty="0" smtClean="0"/>
              <a:t>. CSC </a:t>
            </a:r>
            <a:r>
              <a:rPr lang="sk-SK" sz="1600" b="1" dirty="0" smtClean="0"/>
              <a:t>poskytuje</a:t>
            </a:r>
            <a:r>
              <a:rPr lang="en-US" sz="1600" b="1" dirty="0" smtClean="0"/>
              <a:t> </a:t>
            </a:r>
            <a:r>
              <a:rPr lang="en-US" sz="1600" b="1" dirty="0"/>
              <a:t>IT </a:t>
            </a:r>
            <a:r>
              <a:rPr lang="sk-SK" sz="1600" b="1" dirty="0" smtClean="0"/>
              <a:t>riešenia v tejto oblasti viac ako 20 rokov...</a:t>
            </a:r>
            <a:endParaRPr lang="en-US" sz="1600" b="1" dirty="0"/>
          </a:p>
          <a:p>
            <a:endParaRPr lang="en-US" sz="1600" dirty="0"/>
          </a:p>
        </p:txBody>
      </p:sp>
      <p:sp>
        <p:nvSpPr>
          <p:cNvPr id="7" name="Eine Ecke des Rechtecks schneiden 299"/>
          <p:cNvSpPr/>
          <p:nvPr>
            <p:custDataLst>
              <p:tags r:id="rId6"/>
            </p:custDataLst>
          </p:nvPr>
        </p:nvSpPr>
        <p:spPr bwMode="auto">
          <a:xfrm flipV="1">
            <a:off x="1878013" y="4771818"/>
            <a:ext cx="6505575" cy="1257027"/>
          </a:xfrm>
          <a:prstGeom prst="snip1Rect">
            <a:avLst>
              <a:gd name="adj" fmla="val 15515"/>
            </a:avLst>
          </a:prstGeom>
          <a:solidFill>
            <a:schemeClr val="bg1">
              <a:lumMod val="95000"/>
            </a:schemeClr>
          </a:solidFill>
          <a:ln w="38100">
            <a:solidFill>
              <a:srgbClr val="382658"/>
            </a:solidFill>
            <a:miter lim="800000"/>
            <a:headEnd/>
            <a:tailEnd/>
          </a:ln>
          <a:effectLst/>
        </p:spPr>
        <p:txBody>
          <a:bodyPr lIns="36000" tIns="72000" rIns="36000" bIns="36000"/>
          <a:lstStyle/>
          <a:p>
            <a:pPr marL="179388" indent="-179388" eaLnBrk="0" hangingPunct="0">
              <a:lnSpc>
                <a:spcPct val="85000"/>
              </a:lnSpc>
              <a:spcBef>
                <a:spcPct val="35000"/>
              </a:spcBef>
              <a:buClr>
                <a:schemeClr val="tx2"/>
              </a:buClr>
              <a:buFontTx/>
              <a:buChar char="•"/>
              <a:defRPr/>
            </a:pPr>
            <a:endParaRPr lang="de-DE" altLang="en-US" sz="1200">
              <a:ea typeface="MS PGothic" pitchFamily="34" charset="-128"/>
              <a:cs typeface="+mn-cs"/>
            </a:endParaRPr>
          </a:p>
        </p:txBody>
      </p:sp>
      <p:sp>
        <p:nvSpPr>
          <p:cNvPr id="8" name="Eine Ecke des Rechtecks schneiden 299"/>
          <p:cNvSpPr/>
          <p:nvPr>
            <p:custDataLst>
              <p:tags r:id="rId7"/>
            </p:custDataLst>
          </p:nvPr>
        </p:nvSpPr>
        <p:spPr bwMode="auto">
          <a:xfrm flipV="1">
            <a:off x="1866900" y="3358768"/>
            <a:ext cx="6505575" cy="1296987"/>
          </a:xfrm>
          <a:prstGeom prst="snip1Rect">
            <a:avLst>
              <a:gd name="adj" fmla="val 15515"/>
            </a:avLst>
          </a:prstGeom>
          <a:solidFill>
            <a:schemeClr val="bg1">
              <a:lumMod val="95000"/>
            </a:schemeClr>
          </a:solidFill>
          <a:ln w="38100">
            <a:solidFill>
              <a:srgbClr val="382658"/>
            </a:solidFill>
            <a:miter lim="800000"/>
            <a:headEnd/>
            <a:tailEnd/>
          </a:ln>
          <a:effectLst/>
        </p:spPr>
        <p:txBody>
          <a:bodyPr lIns="36000" tIns="72000" rIns="36000" bIns="36000"/>
          <a:lstStyle/>
          <a:p>
            <a:pPr marL="179388" indent="-179388" eaLnBrk="0" hangingPunct="0">
              <a:lnSpc>
                <a:spcPct val="85000"/>
              </a:lnSpc>
              <a:spcBef>
                <a:spcPct val="35000"/>
              </a:spcBef>
              <a:buClr>
                <a:schemeClr val="tx2"/>
              </a:buClr>
              <a:buFontTx/>
              <a:buChar char="•"/>
              <a:defRPr/>
            </a:pPr>
            <a:endParaRPr lang="de-DE" altLang="en-US" sz="1200" dirty="0">
              <a:ea typeface="MS PGothic" pitchFamily="34" charset="-128"/>
              <a:cs typeface="+mn-cs"/>
            </a:endParaRPr>
          </a:p>
        </p:txBody>
      </p:sp>
      <p:sp>
        <p:nvSpPr>
          <p:cNvPr id="9" name="Eine Ecke des Rechtecks schneiden 299"/>
          <p:cNvSpPr/>
          <p:nvPr>
            <p:custDataLst>
              <p:tags r:id="rId8"/>
            </p:custDataLst>
          </p:nvPr>
        </p:nvSpPr>
        <p:spPr bwMode="auto">
          <a:xfrm flipV="1">
            <a:off x="1866900" y="1836738"/>
            <a:ext cx="6505575" cy="1420812"/>
          </a:xfrm>
          <a:prstGeom prst="snip1Rect">
            <a:avLst>
              <a:gd name="adj" fmla="val 15515"/>
            </a:avLst>
          </a:prstGeom>
          <a:solidFill>
            <a:schemeClr val="bg1">
              <a:lumMod val="95000"/>
            </a:schemeClr>
          </a:solidFill>
          <a:ln w="38100">
            <a:solidFill>
              <a:srgbClr val="382658"/>
            </a:solidFill>
            <a:miter lim="800000"/>
            <a:headEnd/>
            <a:tailEnd/>
          </a:ln>
          <a:effectLst/>
        </p:spPr>
        <p:txBody>
          <a:bodyPr lIns="36000" tIns="72000" rIns="36000" bIns="36000"/>
          <a:lstStyle/>
          <a:p>
            <a:pPr marL="179388" indent="-179388" eaLnBrk="0" hangingPunct="0">
              <a:lnSpc>
                <a:spcPct val="85000"/>
              </a:lnSpc>
              <a:spcBef>
                <a:spcPct val="35000"/>
              </a:spcBef>
              <a:buClr>
                <a:schemeClr val="tx2"/>
              </a:buClr>
              <a:buFontTx/>
              <a:buChar char="•"/>
              <a:defRPr/>
            </a:pPr>
            <a:endParaRPr lang="de-DE" altLang="en-US" sz="1200">
              <a:ea typeface="MS PGothic" pitchFamily="34" charset="-128"/>
              <a:cs typeface="+mn-cs"/>
            </a:endParaRPr>
          </a:p>
        </p:txBody>
      </p:sp>
      <p:pic>
        <p:nvPicPr>
          <p:cNvPr id="6154" name="Picture 61" descr="WSM Final Feb 3.jpg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2" cstate="email">
            <a:grayscl/>
          </a:blip>
          <a:srcRect/>
          <a:stretch>
            <a:fillRect/>
          </a:stretch>
        </p:blipFill>
        <p:spPr bwMode="auto">
          <a:xfrm>
            <a:off x="428625" y="1858963"/>
            <a:ext cx="1420813" cy="4140200"/>
          </a:xfrm>
          <a:prstGeom prst="rect">
            <a:avLst/>
          </a:prstGeom>
          <a:noFill/>
          <a:ln w="38100">
            <a:solidFill>
              <a:srgbClr val="382658"/>
            </a:solidFill>
            <a:miter lim="800000"/>
            <a:headEnd/>
            <a:tailEnd/>
          </a:ln>
        </p:spPr>
      </p:pic>
      <p:sp>
        <p:nvSpPr>
          <p:cNvPr id="6155" name="Rectangle 8"/>
          <p:cNvSpPr>
            <a:spLocks noChangeArrowheads="1"/>
          </p:cNvSpPr>
          <p:nvPr/>
        </p:nvSpPr>
        <p:spPr bwMode="auto">
          <a:xfrm>
            <a:off x="1866900" y="1789113"/>
            <a:ext cx="6751638" cy="144621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marL="112713" indent="-112713" eaLnBrk="0" hangingPunct="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</a:pPr>
            <a:r>
              <a:rPr lang="en-GB" sz="1600" b="1" dirty="0" err="1" smtClean="0"/>
              <a:t>Soci</a:t>
            </a:r>
            <a:r>
              <a:rPr lang="sk-SK" sz="1600" b="1" dirty="0" smtClean="0"/>
              <a:t>álna oblasť</a:t>
            </a:r>
            <a:endParaRPr lang="en-GB" sz="1600" b="1" dirty="0"/>
          </a:p>
          <a:p>
            <a:pPr marL="276225" lvl="1" indent="-152400" eaLnBrk="0" hangingPunct="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sk-SK" sz="1400" dirty="0" smtClean="0"/>
              <a:t>Systém nemocenského poistenia a lekárskej posudkovej činnosti</a:t>
            </a:r>
          </a:p>
          <a:p>
            <a:pPr marL="276225" lvl="1" indent="-152400" eaLnBrk="0" hangingPunct="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400" dirty="0" err="1" smtClean="0"/>
              <a:t>Systém</a:t>
            </a:r>
            <a:r>
              <a:rPr lang="en-US" sz="1400" dirty="0" smtClean="0"/>
              <a:t> </a:t>
            </a:r>
            <a:r>
              <a:rPr lang="en-US" sz="1400" dirty="0" err="1" smtClean="0"/>
              <a:t>finančného</a:t>
            </a:r>
            <a:r>
              <a:rPr lang="en-US" sz="1400" dirty="0" smtClean="0"/>
              <a:t> </a:t>
            </a:r>
            <a:r>
              <a:rPr lang="en-US" sz="1400" dirty="0" err="1" smtClean="0"/>
              <a:t>riadenia</a:t>
            </a:r>
            <a:endParaRPr lang="sk-SK" sz="1400" dirty="0" smtClean="0"/>
          </a:p>
          <a:p>
            <a:pPr marL="276225" lvl="1" indent="-152400" eaLnBrk="0" hangingPunct="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400" dirty="0" err="1" smtClean="0"/>
              <a:t>Zamedzenie</a:t>
            </a:r>
            <a:r>
              <a:rPr lang="en-US" sz="1400" dirty="0" smtClean="0"/>
              <a:t> </a:t>
            </a:r>
            <a:r>
              <a:rPr lang="en-US" sz="1400" dirty="0" err="1" smtClean="0"/>
              <a:t>zneužívania</a:t>
            </a:r>
            <a:r>
              <a:rPr lang="en-US" sz="1400" dirty="0" smtClean="0"/>
              <a:t> </a:t>
            </a:r>
            <a:r>
              <a:rPr lang="en-US" sz="1400" dirty="0" err="1" smtClean="0"/>
              <a:t>systému</a:t>
            </a:r>
            <a:r>
              <a:rPr lang="en-US" sz="1400" dirty="0" smtClean="0"/>
              <a:t> </a:t>
            </a:r>
            <a:r>
              <a:rPr lang="en-US" sz="1400" dirty="0" err="1" smtClean="0"/>
              <a:t>nemocenského</a:t>
            </a:r>
            <a:r>
              <a:rPr lang="en-US" sz="1400" dirty="0" smtClean="0"/>
              <a:t> </a:t>
            </a:r>
            <a:r>
              <a:rPr lang="en-US" sz="1400" dirty="0" err="1" smtClean="0"/>
              <a:t>poistenia</a:t>
            </a:r>
            <a:r>
              <a:rPr lang="en-US" sz="1400" dirty="0" smtClean="0"/>
              <a:t> a LPČ</a:t>
            </a:r>
            <a:endParaRPr lang="sk-SK" sz="1400" dirty="0" smtClean="0"/>
          </a:p>
          <a:p>
            <a:pPr marL="276225" lvl="1" indent="-152400" eaLnBrk="0" hangingPunct="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400" dirty="0" err="1" smtClean="0"/>
              <a:t>Elektronická</a:t>
            </a:r>
            <a:r>
              <a:rPr lang="en-US" sz="1400" dirty="0" smtClean="0"/>
              <a:t> PN</a:t>
            </a:r>
            <a:endParaRPr lang="sk-SK" sz="1400" dirty="0" smtClean="0"/>
          </a:p>
        </p:txBody>
      </p:sp>
      <p:sp>
        <p:nvSpPr>
          <p:cNvPr id="6156" name="Rectangle 13"/>
          <p:cNvSpPr>
            <a:spLocks noChangeArrowheads="1"/>
          </p:cNvSpPr>
          <p:nvPr/>
        </p:nvSpPr>
        <p:spPr bwMode="auto">
          <a:xfrm>
            <a:off x="1878013" y="3275615"/>
            <a:ext cx="6751637" cy="1468438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marL="112713" indent="-112713" eaLnBrk="0" hangingPunct="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</a:pPr>
            <a:r>
              <a:rPr lang="en-US" sz="1600" b="1" dirty="0" err="1" smtClean="0"/>
              <a:t>Poskytovatelia</a:t>
            </a:r>
            <a:r>
              <a:rPr lang="en-US" sz="1600" b="1" dirty="0" smtClean="0"/>
              <a:t> </a:t>
            </a:r>
            <a:r>
              <a:rPr lang="en-US" sz="1600" b="1" dirty="0" err="1" smtClean="0"/>
              <a:t>zdravotnej</a:t>
            </a:r>
            <a:r>
              <a:rPr lang="en-US" sz="1600" b="1" dirty="0" smtClean="0"/>
              <a:t> </a:t>
            </a:r>
            <a:r>
              <a:rPr lang="en-US" sz="1600" b="1" dirty="0" err="1" smtClean="0"/>
              <a:t>starostlivosti</a:t>
            </a:r>
            <a:endParaRPr lang="en-GB" sz="1600" b="1" dirty="0" smtClean="0"/>
          </a:p>
          <a:p>
            <a:pPr marL="276225" lvl="1" indent="-152400" eaLnBrk="0" hangingPunct="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GB" sz="1400" dirty="0" err="1" smtClean="0"/>
              <a:t>TeleMedic</a:t>
            </a:r>
            <a:r>
              <a:rPr lang="sk-SK" sz="1400" dirty="0" smtClean="0"/>
              <a:t>í</a:t>
            </a:r>
            <a:r>
              <a:rPr lang="en-GB" sz="1400" dirty="0" smtClean="0"/>
              <a:t>n</a:t>
            </a:r>
            <a:r>
              <a:rPr lang="sk-SK" sz="1400" dirty="0" smtClean="0"/>
              <a:t>a</a:t>
            </a:r>
            <a:r>
              <a:rPr lang="en-US" sz="1400" dirty="0" smtClean="0"/>
              <a:t> (</a:t>
            </a:r>
            <a:r>
              <a:rPr lang="en-US" sz="1400" dirty="0" err="1" smtClean="0"/>
              <a:t>astma</a:t>
            </a:r>
            <a:r>
              <a:rPr lang="en-US" sz="1400" dirty="0" smtClean="0"/>
              <a:t>, </a:t>
            </a:r>
            <a:r>
              <a:rPr lang="en-US" sz="1400" dirty="0" err="1" smtClean="0"/>
              <a:t>chro</a:t>
            </a:r>
            <a:r>
              <a:rPr lang="sk-SK" sz="1400" dirty="0" smtClean="0"/>
              <a:t>n</a:t>
            </a:r>
            <a:r>
              <a:rPr lang="en-US" sz="1400" dirty="0" err="1" smtClean="0"/>
              <a:t>ická</a:t>
            </a:r>
            <a:r>
              <a:rPr lang="en-US" sz="1400" dirty="0" smtClean="0"/>
              <a:t> </a:t>
            </a:r>
            <a:r>
              <a:rPr lang="en-US" sz="1400" dirty="0" err="1" smtClean="0"/>
              <a:t>obštrukčná</a:t>
            </a:r>
            <a:r>
              <a:rPr lang="en-US" sz="1400" dirty="0" smtClean="0"/>
              <a:t> </a:t>
            </a:r>
            <a:r>
              <a:rPr lang="en-US" sz="1400" dirty="0" err="1" smtClean="0"/>
              <a:t>choroba</a:t>
            </a:r>
            <a:r>
              <a:rPr lang="en-US" sz="1400" dirty="0" smtClean="0"/>
              <a:t> </a:t>
            </a:r>
            <a:r>
              <a:rPr lang="en-US" sz="1400" dirty="0" err="1" smtClean="0"/>
              <a:t>pľúc</a:t>
            </a:r>
            <a:r>
              <a:rPr lang="en-US" sz="1400" dirty="0" smtClean="0"/>
              <a:t>, ...)</a:t>
            </a:r>
            <a:endParaRPr lang="sk-SK" sz="1400" dirty="0" smtClean="0"/>
          </a:p>
          <a:p>
            <a:pPr marL="276225" lvl="1" indent="-152400" eaLnBrk="0" hangingPunct="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400" dirty="0" err="1" smtClean="0"/>
              <a:t>Integrácia</a:t>
            </a:r>
            <a:r>
              <a:rPr lang="en-US" sz="1400" dirty="0" smtClean="0"/>
              <a:t> </a:t>
            </a:r>
            <a:r>
              <a:rPr lang="en-US" sz="1400" dirty="0" err="1" smtClean="0"/>
              <a:t>informačných</a:t>
            </a:r>
            <a:r>
              <a:rPr lang="en-US" sz="1400" dirty="0" smtClean="0"/>
              <a:t> </a:t>
            </a:r>
            <a:r>
              <a:rPr lang="en-US" sz="1400" dirty="0" err="1" smtClean="0"/>
              <a:t>systémov</a:t>
            </a:r>
            <a:endParaRPr lang="sk-SK" sz="1400" dirty="0" smtClean="0"/>
          </a:p>
          <a:p>
            <a:pPr marL="276225" lvl="1" indent="-152400" eaLnBrk="0" hangingPunct="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</a:pPr>
            <a:endParaRPr lang="sk-SK" sz="1100" dirty="0" smtClean="0"/>
          </a:p>
          <a:p>
            <a:pPr marL="276225" lvl="1" indent="-152400" eaLnBrk="0" hangingPunct="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</a:pPr>
            <a:endParaRPr lang="en-GB" sz="1000" dirty="0"/>
          </a:p>
        </p:txBody>
      </p:sp>
      <p:sp>
        <p:nvSpPr>
          <p:cNvPr id="6157" name="Rectangle 15"/>
          <p:cNvSpPr>
            <a:spLocks noChangeArrowheads="1"/>
          </p:cNvSpPr>
          <p:nvPr/>
        </p:nvSpPr>
        <p:spPr bwMode="auto">
          <a:xfrm>
            <a:off x="1867502" y="4782031"/>
            <a:ext cx="6751637" cy="12160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marL="112713" indent="-112713" eaLnBrk="0" hangingPunct="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</a:pPr>
            <a:r>
              <a:rPr lang="en-US" sz="1600" b="1" dirty="0" err="1" smtClean="0"/>
              <a:t>Vývoj</a:t>
            </a:r>
            <a:r>
              <a:rPr lang="en-US" sz="1600" b="1" dirty="0" smtClean="0"/>
              <a:t>, </a:t>
            </a:r>
            <a:r>
              <a:rPr lang="en-US" sz="1600" b="1" dirty="0" err="1" smtClean="0"/>
              <a:t>výroba</a:t>
            </a:r>
            <a:r>
              <a:rPr lang="en-US" sz="1600" b="1" dirty="0" smtClean="0"/>
              <a:t> a </a:t>
            </a:r>
            <a:r>
              <a:rPr lang="en-US" sz="1600" b="1" dirty="0" err="1" smtClean="0"/>
              <a:t>predaj</a:t>
            </a:r>
            <a:r>
              <a:rPr lang="en-US" sz="1600" b="1" dirty="0" smtClean="0"/>
              <a:t> </a:t>
            </a:r>
            <a:r>
              <a:rPr lang="en-US" sz="1600" b="1" dirty="0" err="1" smtClean="0"/>
              <a:t>liečiv</a:t>
            </a:r>
            <a:r>
              <a:rPr lang="en-US" sz="1600" b="1" dirty="0" smtClean="0"/>
              <a:t> a </a:t>
            </a:r>
            <a:r>
              <a:rPr lang="en-US" sz="1600" b="1" dirty="0" err="1" smtClean="0"/>
              <a:t>farmaceutických</a:t>
            </a:r>
            <a:r>
              <a:rPr lang="en-US" sz="1600" b="1" dirty="0" smtClean="0"/>
              <a:t> </a:t>
            </a:r>
            <a:r>
              <a:rPr lang="en-US" sz="1600" b="1" dirty="0" err="1" smtClean="0"/>
              <a:t>substancií</a:t>
            </a:r>
            <a:endParaRPr lang="en-US" sz="1600" b="1" dirty="0" smtClean="0"/>
          </a:p>
          <a:p>
            <a:pPr marL="276225" lvl="1" indent="-152400" eaLnBrk="0" hangingPunct="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400" dirty="0" err="1" smtClean="0"/>
              <a:t>Systém</a:t>
            </a:r>
            <a:r>
              <a:rPr lang="en-US" sz="1400" dirty="0" smtClean="0"/>
              <a:t> </a:t>
            </a:r>
            <a:r>
              <a:rPr lang="sk-SK" sz="1400" dirty="0" smtClean="0"/>
              <a:t>pre</a:t>
            </a:r>
            <a:r>
              <a:rPr lang="en-US" sz="1400" dirty="0" smtClean="0"/>
              <a:t> </a:t>
            </a:r>
            <a:r>
              <a:rPr lang="en-US" sz="1400" dirty="0" err="1" smtClean="0"/>
              <a:t>správu</a:t>
            </a:r>
            <a:r>
              <a:rPr lang="en-US" sz="1400" dirty="0" smtClean="0"/>
              <a:t> </a:t>
            </a:r>
            <a:r>
              <a:rPr lang="en-US" sz="1400" dirty="0" err="1" smtClean="0"/>
              <a:t>dokumetov</a:t>
            </a:r>
            <a:endParaRPr lang="sk-SK" sz="1400" dirty="0" smtClean="0"/>
          </a:p>
          <a:p>
            <a:pPr marL="276225" lvl="1" indent="-152400" eaLnBrk="0" hangingPunct="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</a:pPr>
            <a:endParaRPr lang="sk-SK" sz="1100" dirty="0" smtClean="0"/>
          </a:p>
          <a:p>
            <a:pPr marL="276225" lvl="1" indent="-152400" eaLnBrk="0" hangingPunct="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</a:pPr>
            <a:endParaRPr lang="sk-SK" sz="1100" dirty="0" smtClean="0"/>
          </a:p>
          <a:p>
            <a:pPr marL="276225" lvl="1" indent="-152400" eaLnBrk="0" hangingPunct="0">
              <a:lnSpc>
                <a:spcPct val="95000"/>
              </a:lnSpc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</a:pPr>
            <a:endParaRPr lang="en-GB" sz="1100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009729" y="4170416"/>
            <a:ext cx="4746968" cy="626400"/>
          </a:xfrm>
        </p:spPr>
        <p:txBody>
          <a:bodyPr/>
          <a:lstStyle/>
          <a:p>
            <a:pPr algn="ctr"/>
            <a:r>
              <a:rPr lang="sk-SK" sz="2800" dirty="0" smtClean="0"/>
              <a:t>Ďakujeme za pozornosť</a:t>
            </a:r>
            <a:r>
              <a:rPr lang="en-US" sz="2800" dirty="0" smtClean="0"/>
              <a:t>!</a:t>
            </a:r>
            <a:endParaRPr lang="en-US" sz="28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9&quot;&gt;&lt;elem m_fUsage=&quot;2.43626306977623400000E+000&quot;&gt;&lt;m_ppcolschidx val=&quot;0&quot;/&gt;&lt;m_rgb r=&quot;38&quot; g=&quot;26&quot; b=&quot;58&quot;/&gt;&lt;/elem&gt;&lt;elem m_fUsage=&quot;2.39589417522705390000E+000&quot;&gt;&lt;m_ppcolschidx val=&quot;0&quot;/&gt;&lt;m_rgb r=&quot;85&quot; g=&quot;0&quot; b=&quot;57&quot;/&gt;&lt;/elem&gt;&lt;elem m_fUsage=&quot;1.43072045541803770000E+000&quot;&gt;&lt;m_ppcolschidx val=&quot;0&quot;/&gt;&lt;m_rgb r=&quot;93&quot; g=&quot;95&quot; b=&quot;98&quot;/&gt;&lt;/elem&gt;&lt;elem m_fUsage=&quot;1.25418658283290020000E+000&quot;&gt;&lt;m_ppcolschidx val=&quot;0&quot;/&gt;&lt;m_rgb r=&quot;ff&quot; g=&quot;cf&quot; b=&quot;1&quot;/&gt;&lt;/elem&gt;&lt;elem m_fUsage=&quot;1.12876792454961030000E+000&quot;&gt;&lt;m_ppcolschidx val=&quot;0&quot;/&gt;&lt;m_rgb r=&quot;88&quot; g=&quot;ba&quot; b=&quot;41&quot;/&gt;&lt;/elem&gt;&lt;elem m_fUsage=&quot;2.05891132094649100000E-001&quot;&gt;&lt;m_ppcolschidx val=&quot;0&quot;/&gt;&lt;m_rgb r=&quot;0&quot; g=&quot;3f&quot; b=&quot;60&quot;/&gt;&lt;/elem&gt;&lt;elem m_fUsage=&quot;1.85302018885184190000E-001&quot;&gt;&lt;m_ppcolschidx val=&quot;0&quot;/&gt;&lt;m_rgb r=&quot;58&quot; g=&quot;8b&quot; b=&quot;a3&quot;/&gt;&lt;/elem&gt;&lt;elem m_fUsage=&quot;1.66771816996665770000E-001&quot;&gt;&lt;m_ppcolschidx val=&quot;0&quot;/&gt;&lt;m_rgb r=&quot;0&quot; g=&quot;58&quot; b=&quot;82&quot;/&gt;&lt;/elem&gt;&lt;elem m_fUsage=&quot;1.50094635296999210000E-001&quot;&gt;&lt;m_ppcolschidx val=&quot;0&quot;/&gt;&lt;m_rgb r=&quot;63&quot; g=&quot;64&quot; b=&quot;66&quot;/&gt;&lt;/elem&gt;&lt;/m_vecMRU&gt;&lt;/m_mruColor&gt;&lt;m_mapectfillschemeMRU&gt;&lt;key val=&quot;3&quot;/&gt;&lt;elem&gt;&lt;m_nPartnerID val=&quot;530&quot;/&gt;&lt;m_nIndex val=&quot;2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2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cpzIo3X0ueMpERc6tm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qV9HQyoE2b6nLjTEI_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cpzIo3X0ueMpERc6tm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74XiEe_UeVbQvFvN93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qV9HQyoE2b6nLjTEI_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Uzk11b102qn25EHX6N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Uzk11b102qn25EHX6N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RuA1Zz0ECClVFItnsUH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lLP2cobk2addvS5arj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_MwAsIkKz_VXG0kJr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rQmrk.VESY2AF.vAJlr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njy9pKuEqkRd_iZODsP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.4baPYA0CsAePSW8S_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cSijfKcUOKNVfPzgVCK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ZnouDRZU2KyhVe3F9v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TX5bwu.kmzJIFcCQLS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x7agjwikOzBrfof5HF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LY9_3Q8UGGvvplSfrJ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s8mzzX4Uez8g9UVsb2D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m.PHt5nUK0AaN.hBDBT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x19d4p50yNMUpCbqd2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sR7ji48k6mcaKS4UGQU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BzQmS6b0G3wz30xo45v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tuVMmiA0G5M.NGNHmmI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AyC6v_CEqAok.emUR_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du7LX090y7jYO307yMB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wt334kCUWH.x3ntvlTc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dS8Q_Q1k28OObIS3cN9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NTGtJ3EkS6_oyKOuJX_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V.9keXpkq3wOJP_rO62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X4PB0Bu06.VJ0lDC2XH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u9Che23EmA13v0RKXY1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U9OZUyZk.iNjVrjP48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zpimRtECs1U1w2qkB8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cFyPd2Ikm3YnTScpACM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bvzmFwkmm2nm8fIVZf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KKw0UNVkSZr8tRwL2tN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nuYFpA20mazcQqI232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9Q8gyf2k2sBXhF5b4R.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C6bAhUoUq.wfssUWSyI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9n5yfBc0u2Su61wtwf7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vRt20xN0O2zoRLIqwqn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h0caBuX0CJEl1clGZw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n3CdMrSkCCRbE9Ialaw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8Mml1SIkiYznBIRCjk.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r73l6eGEKZbsaaJ2NUz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vAILpWA0euz4_ruo4Pb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hOHka.pEO_3BHZ69bq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ZYBHwUskWtG6n_T1hg5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m5vuVRhEqCbYVMBYzhm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6dyS3_s0qAi2MpyI6uw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74XiEe_UeVbQvFvN93j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ZYBHwUskWtG6n_T1hg5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6dyS3_s0qAi2MpyI6u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5qh3qJakiIj6J.JY2ft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0CUNNOo0qFopTodJ2Wr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qoj.9Vm0ytxCvOtcH0_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rRgq_3bUScFzwcrnHEE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xW25Fzm06Eys2JEMsA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4S4x8hwEOnhMFHJ728o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wnzh0KYESYgRyI7.HH1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pnvg58S027wzveuHRkW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BRVUKBWUiXrAa71UmaJ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T42LhcBEqphvGjxvEmm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mODl81rE2DwUuXc_Qi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bJzHvCFUeoS2d5pDlQz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FsP_tZWUCvkp0YonHCu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vUzjwj2EORhHyx8JYtI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VVzbr400.1GmmNpVT5C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tJ_GE44UymD39dnOGmY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YKCoIf3EK0tANeXRZSe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PFi2uK3kqpwQ9_c4ir1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2rgHLMJE2_3d77yUUUi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z10hT9DUCD.BljUhvf.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O0tLI19keQWyIcgzQN8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qV9HQyoE2b6nLjTEI_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yLIFWTME6l1jbtQ9unW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qV9HQyoE2b6nLjTEI_z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qV9HQyoE2b6nLjTEI_z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ZX4LRjhEebhvCi41EA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r5MyLToUq0Ok4ietx2yw"/>
</p:tagLst>
</file>

<file path=ppt/theme/theme1.xml><?xml version="1.0" encoding="utf-8"?>
<a:theme xmlns:a="http://schemas.openxmlformats.org/drawingml/2006/main" name="Template_1">
  <a:themeElements>
    <a:clrScheme name="Custom 25">
      <a:dk1>
        <a:srgbClr val="000000"/>
      </a:dk1>
      <a:lt1>
        <a:srgbClr val="FFFFFF"/>
      </a:lt1>
      <a:dk2>
        <a:srgbClr val="EE2525"/>
      </a:dk2>
      <a:lt2>
        <a:srgbClr val="969696"/>
      </a:lt2>
      <a:accent1>
        <a:srgbClr val="588BA3"/>
      </a:accent1>
      <a:accent2>
        <a:srgbClr val="003F60"/>
      </a:accent2>
      <a:accent3>
        <a:srgbClr val="FFFFFF"/>
      </a:accent3>
      <a:accent4>
        <a:srgbClr val="000000"/>
      </a:accent4>
      <a:accent5>
        <a:srgbClr val="588BA3"/>
      </a:accent5>
      <a:accent6>
        <a:srgbClr val="005882"/>
      </a:accent6>
      <a:hlink>
        <a:srgbClr val="588BA3"/>
      </a:hlink>
      <a:folHlink>
        <a:srgbClr val="588BA3"/>
      </a:folHlink>
    </a:clrScheme>
    <a:fontScheme name="CS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SLC08_Final 1">
        <a:dk1>
          <a:srgbClr val="000000"/>
        </a:dk1>
        <a:lt1>
          <a:srgbClr val="FFFFFF"/>
        </a:lt1>
        <a:dk2>
          <a:srgbClr val="CF001E"/>
        </a:dk2>
        <a:lt2>
          <a:srgbClr val="808080"/>
        </a:lt2>
        <a:accent1>
          <a:srgbClr val="2C7C58"/>
        </a:accent1>
        <a:accent2>
          <a:srgbClr val="1B51FF"/>
        </a:accent2>
        <a:accent3>
          <a:srgbClr val="FFFFFF"/>
        </a:accent3>
        <a:accent4>
          <a:srgbClr val="000000"/>
        </a:accent4>
        <a:accent5>
          <a:srgbClr val="ACBFB4"/>
        </a:accent5>
        <a:accent6>
          <a:srgbClr val="1749E7"/>
        </a:accent6>
        <a:hlink>
          <a:srgbClr val="660066"/>
        </a:hlink>
        <a:folHlink>
          <a:srgbClr val="FF8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C08_Final 2">
        <a:dk1>
          <a:srgbClr val="000000"/>
        </a:dk1>
        <a:lt1>
          <a:srgbClr val="FFFFFF"/>
        </a:lt1>
        <a:dk2>
          <a:srgbClr val="EA2839"/>
        </a:dk2>
        <a:lt2>
          <a:srgbClr val="F2AF00"/>
        </a:lt2>
        <a:accent1>
          <a:srgbClr val="B6BF00"/>
        </a:accent1>
        <a:accent2>
          <a:srgbClr val="557630"/>
        </a:accent2>
        <a:accent3>
          <a:srgbClr val="FFFFFF"/>
        </a:accent3>
        <a:accent4>
          <a:srgbClr val="000000"/>
        </a:accent4>
        <a:accent5>
          <a:srgbClr val="D7DCAA"/>
        </a:accent5>
        <a:accent6>
          <a:srgbClr val="4C6A2A"/>
        </a:accent6>
        <a:hlink>
          <a:srgbClr val="6AADE4"/>
        </a:hlink>
        <a:folHlink>
          <a:srgbClr val="0051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C08_Final 3">
        <a:dk1>
          <a:srgbClr val="000000"/>
        </a:dk1>
        <a:lt1>
          <a:srgbClr val="FFFFFF"/>
        </a:lt1>
        <a:dk2>
          <a:srgbClr val="EE2525"/>
        </a:dk2>
        <a:lt2>
          <a:srgbClr val="969696"/>
        </a:lt2>
        <a:accent1>
          <a:srgbClr val="6AADE4"/>
        </a:accent1>
        <a:accent2>
          <a:srgbClr val="124570"/>
        </a:accent2>
        <a:accent3>
          <a:srgbClr val="FFFFFF"/>
        </a:accent3>
        <a:accent4>
          <a:srgbClr val="000000"/>
        </a:accent4>
        <a:accent5>
          <a:srgbClr val="B9D3EF"/>
        </a:accent5>
        <a:accent6>
          <a:srgbClr val="0F3E65"/>
        </a:accent6>
        <a:hlink>
          <a:srgbClr val="B6BF00"/>
        </a:hlink>
        <a:folHlink>
          <a:srgbClr val="85005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C08_Final 4">
        <a:dk1>
          <a:srgbClr val="000000"/>
        </a:dk1>
        <a:lt1>
          <a:srgbClr val="FFFFFF"/>
        </a:lt1>
        <a:dk2>
          <a:srgbClr val="EE2525"/>
        </a:dk2>
        <a:lt2>
          <a:srgbClr val="969696"/>
        </a:lt2>
        <a:accent1>
          <a:srgbClr val="124570"/>
        </a:accent1>
        <a:accent2>
          <a:srgbClr val="6AADE4"/>
        </a:accent2>
        <a:accent3>
          <a:srgbClr val="FFFFFF"/>
        </a:accent3>
        <a:accent4>
          <a:srgbClr val="000000"/>
        </a:accent4>
        <a:accent5>
          <a:srgbClr val="AAB0BB"/>
        </a:accent5>
        <a:accent6>
          <a:srgbClr val="5F9CCF"/>
        </a:accent6>
        <a:hlink>
          <a:srgbClr val="850057"/>
        </a:hlink>
        <a:folHlink>
          <a:srgbClr val="B6B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C08_Final 5">
        <a:dk1>
          <a:srgbClr val="000000"/>
        </a:dk1>
        <a:lt1>
          <a:srgbClr val="FFFFFF"/>
        </a:lt1>
        <a:dk2>
          <a:srgbClr val="EE2525"/>
        </a:dk2>
        <a:lt2>
          <a:srgbClr val="969696"/>
        </a:lt2>
        <a:accent1>
          <a:srgbClr val="6AADE4"/>
        </a:accent1>
        <a:accent2>
          <a:srgbClr val="850057"/>
        </a:accent2>
        <a:accent3>
          <a:srgbClr val="FFFFFF"/>
        </a:accent3>
        <a:accent4>
          <a:srgbClr val="000000"/>
        </a:accent4>
        <a:accent5>
          <a:srgbClr val="B9D3EF"/>
        </a:accent5>
        <a:accent6>
          <a:srgbClr val="78004E"/>
        </a:accent6>
        <a:hlink>
          <a:srgbClr val="B6BF00"/>
        </a:hlink>
        <a:folHlink>
          <a:srgbClr val="12457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Deep Midnight">
      <a:srgbClr val="003F60"/>
    </a:custClr>
    <a:custClr name="CSC Midnight">
      <a:srgbClr val="005882"/>
    </a:custClr>
    <a:custClr name="Light Midnight">
      <a:srgbClr val="588BA3"/>
    </a:custClr>
    <a:custClr name="Dark Plum">
      <a:srgbClr val="382658"/>
    </a:custClr>
    <a:custClr name="CSC Plum">
      <a:srgbClr val="850057"/>
    </a:custClr>
    <a:custClr name="Dark Charcoal">
      <a:srgbClr val="636466"/>
    </a:custClr>
    <a:custClr name="CSC Charcoal">
      <a:srgbClr val="939598"/>
    </a:custClr>
    <a:custClr name="Asparagus">
      <a:srgbClr val="88BA41"/>
    </a:custClr>
    <a:custClr name="Sunset">
      <a:srgbClr val="FFCF01"/>
    </a:custClr>
    <a:custClr name="CSC Red">
      <a:srgbClr val="EE2525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emplate_1</Template>
  <TotalTime>106</TotalTime>
  <Words>366</Words>
  <Application>Microsoft Office PowerPoint</Application>
  <PresentationFormat>On-screen Show (4:3)</PresentationFormat>
  <Paragraphs>98</Paragraphs>
  <Slides>9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Template_1</vt:lpstr>
      <vt:lpstr>think-cell Slide</vt:lpstr>
      <vt:lpstr>Bitmap Image</vt:lpstr>
      <vt:lpstr>Photo Editor Photo</vt:lpstr>
      <vt:lpstr>ROBÍME ÚŽASNÉ VECI  CSC Slovensko</vt:lpstr>
      <vt:lpstr>Slide 2</vt:lpstr>
      <vt:lpstr>Slide 3</vt:lpstr>
      <vt:lpstr>V regióne Austria a Eastern Europe, je CSC organizovaná vertikálne, podľa oblastí a riešení</vt:lpstr>
      <vt:lpstr>Slide 5</vt:lpstr>
      <vt:lpstr>Slide 6</vt:lpstr>
      <vt:lpstr>CSC Austria a CSC Eastern Europe – Top klienti</vt:lpstr>
      <vt:lpstr>CSC pre zdravotníctvo a sociálny sektor v SR</vt:lpstr>
      <vt:lpstr>Ďakujeme za pozornosť!</vt:lpstr>
    </vt:vector>
  </TitlesOfParts>
  <Company>CS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IS ARIAL BOLD, CAPS, 24 POINT</dc:title>
  <dc:creator>Windows SOE Manager</dc:creator>
  <cp:lastModifiedBy>Windows SOE Manager</cp:lastModifiedBy>
  <cp:revision>96</cp:revision>
  <dcterms:created xsi:type="dcterms:W3CDTF">2012-04-16T09:09:18Z</dcterms:created>
  <dcterms:modified xsi:type="dcterms:W3CDTF">2012-12-12T20:55:09Z</dcterms:modified>
</cp:coreProperties>
</file>